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2" r:id="rId4"/>
  </p:sldMasterIdLst>
  <p:notesMasterIdLst>
    <p:notesMasterId r:id="rId52"/>
  </p:notesMasterIdLst>
  <p:handoutMasterIdLst>
    <p:handoutMasterId r:id="rId53"/>
  </p:handoutMasterIdLst>
  <p:sldIdLst>
    <p:sldId id="4708" r:id="rId5"/>
    <p:sldId id="352" r:id="rId6"/>
    <p:sldId id="4715" r:id="rId7"/>
    <p:sldId id="4716" r:id="rId8"/>
    <p:sldId id="4710" r:id="rId9"/>
    <p:sldId id="4711" r:id="rId10"/>
    <p:sldId id="4720" r:id="rId11"/>
    <p:sldId id="4713" r:id="rId12"/>
    <p:sldId id="4714" r:id="rId13"/>
    <p:sldId id="4697" r:id="rId14"/>
    <p:sldId id="4719" r:id="rId15"/>
    <p:sldId id="858" r:id="rId16"/>
    <p:sldId id="4645" r:id="rId17"/>
    <p:sldId id="268" r:id="rId18"/>
    <p:sldId id="4681" r:id="rId19"/>
    <p:sldId id="4598" r:id="rId20"/>
    <p:sldId id="4680" r:id="rId21"/>
    <p:sldId id="1122" r:id="rId22"/>
    <p:sldId id="1131" r:id="rId23"/>
    <p:sldId id="2917" r:id="rId24"/>
    <p:sldId id="2914" r:id="rId25"/>
    <p:sldId id="4682" r:id="rId26"/>
    <p:sldId id="4688" r:id="rId27"/>
    <p:sldId id="4683" r:id="rId28"/>
    <p:sldId id="4684" r:id="rId29"/>
    <p:sldId id="4703" r:id="rId30"/>
    <p:sldId id="4685" r:id="rId31"/>
    <p:sldId id="4686" r:id="rId32"/>
    <p:sldId id="4687" r:id="rId33"/>
    <p:sldId id="4702" r:id="rId34"/>
    <p:sldId id="4689" r:id="rId35"/>
    <p:sldId id="4690" r:id="rId36"/>
    <p:sldId id="4691" r:id="rId37"/>
    <p:sldId id="4692" r:id="rId38"/>
    <p:sldId id="4693" r:id="rId39"/>
    <p:sldId id="4694" r:id="rId40"/>
    <p:sldId id="4695" r:id="rId41"/>
    <p:sldId id="4696" r:id="rId42"/>
    <p:sldId id="4709" r:id="rId43"/>
    <p:sldId id="4698" r:id="rId44"/>
    <p:sldId id="4700" r:id="rId45"/>
    <p:sldId id="4701" r:id="rId46"/>
    <p:sldId id="4704" r:id="rId47"/>
    <p:sldId id="4705" r:id="rId48"/>
    <p:sldId id="4706" r:id="rId49"/>
    <p:sldId id="4641" r:id="rId50"/>
    <p:sldId id="4718" r:id="rId5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8EEBEA4-0454-8BBC-9A71-7BB31BD43355}" name="Roßkopf, Rebekka" initials="RR" userId="S::rebekka.rosskopf@intelizign.com::18dfce41-de44-49ab-b429-b48ec674744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B8FC2"/>
    <a:srgbClr val="0D73AB"/>
    <a:srgbClr val="084A6E"/>
    <a:srgbClr val="D9D9D9"/>
    <a:srgbClr val="063853"/>
    <a:srgbClr val="0E7FBE"/>
    <a:srgbClr val="5C8EC0"/>
    <a:srgbClr val="686C86"/>
    <a:srgbClr val="345E88"/>
    <a:srgbClr val="99B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E98BBC4-B757-4EDB-BD74-E0E46D8B0333}" v="87" dt="2024-12-13T06:24:37.602"/>
    <p1510:client id="{606B4D80-D79E-422F-975F-18E3F640A4C1}" v="1098" dt="2024-12-13T13:42:02.577"/>
  </p1510:revLst>
</p1510:revInfo>
</file>

<file path=ppt/tableStyles.xml><?xml version="1.0" encoding="utf-8"?>
<a:tblStyleLst xmlns:a="http://schemas.openxmlformats.org/drawingml/2006/main" def="{5C22544A-7EE6-4342-B048-85BDC9FD1C3A}"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 varScale="1">
        <p:scale>
          <a:sx n="102" d="100"/>
          <a:sy n="102" d="100"/>
        </p:scale>
        <p:origin x="296" y="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handoutMaster" Target="handoutMasters/handoutMaster1.xml"/><Relationship Id="rId58" Type="http://schemas.microsoft.com/office/2015/10/relationships/revisionInfo" Target="revisionInfo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theme" Target="theme/theme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microsoft.com/office/2018/10/relationships/authors" Target="author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tableStyles" Target="tableStyle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70ED72C-DE5F-D901-91F7-6952412E486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C86E9C-B4CD-3D2D-2638-09226A53656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CDA95A-EF8F-4ACE-BD6D-272A5E8EF331}" type="datetimeFigureOut">
              <a:rPr lang="en-US" smtClean="0"/>
              <a:t>12/13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014AEC-C047-828F-F937-179265529BE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58EFE5-76FC-7DDE-8C3C-F8F960279B7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EAA513-23C8-4DCF-873E-E2A9FDCC3B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105557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3E12D7-D798-49C6-B968-61F692C43317}" type="datetimeFigureOut">
              <a:rPr lang="en-US" smtClean="0"/>
              <a:t>12/1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DFD132-2044-4379-A188-0E4EB93D6A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4737954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77282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7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gi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Page_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2">
            <a:extLst>
              <a:ext uri="{FF2B5EF4-FFF2-40B4-BE49-F238E27FC236}">
                <a16:creationId xmlns:a16="http://schemas.microsoft.com/office/drawing/2014/main" id="{6CBCBCCB-7C51-E243-E6AB-F20557A42386}"/>
              </a:ext>
            </a:extLst>
          </p:cNvPr>
          <p:cNvSpPr/>
          <p:nvPr userDrawn="1"/>
        </p:nvSpPr>
        <p:spPr>
          <a:xfrm>
            <a:off x="6771601" y="0"/>
            <a:ext cx="5420399" cy="6858000"/>
          </a:xfrm>
          <a:custGeom>
            <a:avLst/>
            <a:gdLst/>
            <a:ahLst/>
            <a:cxnLst/>
            <a:rect l="l" t="t" r="r" b="b"/>
            <a:pathLst>
              <a:path w="8130599" h="10287000">
                <a:moveTo>
                  <a:pt x="0" y="0"/>
                </a:moveTo>
                <a:lnTo>
                  <a:pt x="8130599" y="0"/>
                </a:lnTo>
                <a:lnTo>
                  <a:pt x="8130599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l="-44950" r="-44950"/>
            </a:stretch>
          </a:blipFill>
        </p:spPr>
        <p:txBody>
          <a:bodyPr/>
          <a:lstStyle/>
          <a:p>
            <a:endParaRPr lang="en-IN" sz="1200"/>
          </a:p>
        </p:txBody>
      </p:sp>
      <p:grpSp>
        <p:nvGrpSpPr>
          <p:cNvPr id="14" name="Group 3">
            <a:extLst>
              <a:ext uri="{FF2B5EF4-FFF2-40B4-BE49-F238E27FC236}">
                <a16:creationId xmlns:a16="http://schemas.microsoft.com/office/drawing/2014/main" id="{E0F665CA-1891-34A5-C3E3-BEE8CEC175F3}"/>
              </a:ext>
            </a:extLst>
          </p:cNvPr>
          <p:cNvGrpSpPr/>
          <p:nvPr userDrawn="1"/>
        </p:nvGrpSpPr>
        <p:grpSpPr>
          <a:xfrm>
            <a:off x="0" y="0"/>
            <a:ext cx="6771601" cy="1945653"/>
            <a:chOff x="0" y="0"/>
            <a:chExt cx="3435960" cy="987239"/>
          </a:xfrm>
        </p:grpSpPr>
        <p:sp>
          <p:nvSpPr>
            <p:cNvPr id="15" name="Freeform 4">
              <a:extLst>
                <a:ext uri="{FF2B5EF4-FFF2-40B4-BE49-F238E27FC236}">
                  <a16:creationId xmlns:a16="http://schemas.microsoft.com/office/drawing/2014/main" id="{63065C40-BC94-CDFE-07A3-28ED19643F94}"/>
                </a:ext>
              </a:extLst>
            </p:cNvPr>
            <p:cNvSpPr/>
            <p:nvPr/>
          </p:nvSpPr>
          <p:spPr>
            <a:xfrm>
              <a:off x="0" y="0"/>
              <a:ext cx="3435960" cy="987239"/>
            </a:xfrm>
            <a:custGeom>
              <a:avLst/>
              <a:gdLst/>
              <a:ahLst/>
              <a:cxnLst/>
              <a:rect l="l" t="t" r="r" b="b"/>
              <a:pathLst>
                <a:path w="3435960" h="987239">
                  <a:moveTo>
                    <a:pt x="0" y="0"/>
                  </a:moveTo>
                  <a:lnTo>
                    <a:pt x="3435960" y="0"/>
                  </a:lnTo>
                  <a:lnTo>
                    <a:pt x="3435960" y="987239"/>
                  </a:lnTo>
                  <a:lnTo>
                    <a:pt x="0" y="987239"/>
                  </a:lnTo>
                  <a:close/>
                </a:path>
              </a:pathLst>
            </a:custGeom>
            <a:solidFill>
              <a:srgbClr val="F6F6F6"/>
            </a:solidFill>
          </p:spPr>
          <p:txBody>
            <a:bodyPr/>
            <a:lstStyle/>
            <a:p>
              <a:endParaRPr lang="en-IN" sz="1200"/>
            </a:p>
          </p:txBody>
        </p:sp>
      </p:grpSp>
      <p:grpSp>
        <p:nvGrpSpPr>
          <p:cNvPr id="16" name="Group 5">
            <a:extLst>
              <a:ext uri="{FF2B5EF4-FFF2-40B4-BE49-F238E27FC236}">
                <a16:creationId xmlns:a16="http://schemas.microsoft.com/office/drawing/2014/main" id="{FBBD4989-3045-8468-ACF5-06F00A08E8E0}"/>
              </a:ext>
            </a:extLst>
          </p:cNvPr>
          <p:cNvGrpSpPr/>
          <p:nvPr userDrawn="1"/>
        </p:nvGrpSpPr>
        <p:grpSpPr>
          <a:xfrm>
            <a:off x="1" y="448325"/>
            <a:ext cx="8185971" cy="1945653"/>
            <a:chOff x="0" y="0"/>
            <a:chExt cx="3233964" cy="1172027"/>
          </a:xfrm>
        </p:grpSpPr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BAB25AAC-7308-5608-7169-548D0A42EE5A}"/>
                </a:ext>
              </a:extLst>
            </p:cNvPr>
            <p:cNvSpPr/>
            <p:nvPr/>
          </p:nvSpPr>
          <p:spPr>
            <a:xfrm>
              <a:off x="0" y="0"/>
              <a:ext cx="3233964" cy="1172027"/>
            </a:xfrm>
            <a:custGeom>
              <a:avLst/>
              <a:gdLst/>
              <a:ahLst/>
              <a:cxnLst/>
              <a:rect l="l" t="t" r="r" b="b"/>
              <a:pathLst>
                <a:path w="3233964" h="1172027">
                  <a:moveTo>
                    <a:pt x="0" y="0"/>
                  </a:moveTo>
                  <a:lnTo>
                    <a:pt x="3233964" y="0"/>
                  </a:lnTo>
                  <a:lnTo>
                    <a:pt x="3233964" y="1172027"/>
                  </a:lnTo>
                  <a:lnTo>
                    <a:pt x="0" y="1172027"/>
                  </a:lnTo>
                  <a:close/>
                </a:path>
              </a:pathLst>
            </a:custGeom>
            <a:solidFill>
              <a:srgbClr val="063853"/>
            </a:solidFill>
          </p:spPr>
          <p:txBody>
            <a:bodyPr/>
            <a:lstStyle/>
            <a:p>
              <a:endParaRPr lang="en-IN" sz="1200"/>
            </a:p>
          </p:txBody>
        </p:sp>
        <p:sp>
          <p:nvSpPr>
            <p:cNvPr id="18" name="TextBox 7">
              <a:extLst>
                <a:ext uri="{FF2B5EF4-FFF2-40B4-BE49-F238E27FC236}">
                  <a16:creationId xmlns:a16="http://schemas.microsoft.com/office/drawing/2014/main" id="{DE26D597-4781-CE71-F041-72322B312692}"/>
                </a:ext>
              </a:extLst>
            </p:cNvPr>
            <p:cNvSpPr txBox="1"/>
            <p:nvPr/>
          </p:nvSpPr>
          <p:spPr>
            <a:xfrm>
              <a:off x="0" y="-38100"/>
              <a:ext cx="3233964" cy="1210127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1200"/>
            </a:p>
          </p:txBody>
        </p:sp>
      </p:grpSp>
      <p:sp>
        <p:nvSpPr>
          <p:cNvPr id="19" name="Freeform 8">
            <a:extLst>
              <a:ext uri="{FF2B5EF4-FFF2-40B4-BE49-F238E27FC236}">
                <a16:creationId xmlns:a16="http://schemas.microsoft.com/office/drawing/2014/main" id="{E261770E-9755-8D6B-D5FC-BD53CB8221C1}"/>
              </a:ext>
            </a:extLst>
          </p:cNvPr>
          <p:cNvSpPr/>
          <p:nvPr userDrawn="1"/>
        </p:nvSpPr>
        <p:spPr>
          <a:xfrm>
            <a:off x="511443" y="644940"/>
            <a:ext cx="5823297" cy="961192"/>
          </a:xfrm>
          <a:custGeom>
            <a:avLst/>
            <a:gdLst/>
            <a:ahLst/>
            <a:cxnLst/>
            <a:rect l="l" t="t" r="r" b="b"/>
            <a:pathLst>
              <a:path w="8734946" h="1441788">
                <a:moveTo>
                  <a:pt x="0" y="0"/>
                </a:moveTo>
                <a:lnTo>
                  <a:pt x="8734946" y="0"/>
                </a:lnTo>
                <a:lnTo>
                  <a:pt x="8734946" y="1441788"/>
                </a:lnTo>
                <a:lnTo>
                  <a:pt x="0" y="1441788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 l="-18" r="-18"/>
            </a:stretch>
          </a:blipFill>
        </p:spPr>
        <p:txBody>
          <a:bodyPr/>
          <a:lstStyle/>
          <a:p>
            <a:endParaRPr lang="en-IN" sz="1200"/>
          </a:p>
        </p:txBody>
      </p:sp>
      <p:sp>
        <p:nvSpPr>
          <p:cNvPr id="20" name="TextBox 9">
            <a:extLst>
              <a:ext uri="{FF2B5EF4-FFF2-40B4-BE49-F238E27FC236}">
                <a16:creationId xmlns:a16="http://schemas.microsoft.com/office/drawing/2014/main" id="{62854343-997C-0D39-F772-4BC25A8404EA}"/>
              </a:ext>
            </a:extLst>
          </p:cNvPr>
          <p:cNvSpPr txBox="1"/>
          <p:nvPr userDrawn="1"/>
        </p:nvSpPr>
        <p:spPr>
          <a:xfrm>
            <a:off x="693765" y="1645070"/>
            <a:ext cx="6199632" cy="37959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173"/>
              </a:lnSpc>
            </a:pPr>
            <a:r>
              <a:rPr lang="en-US" sz="2267">
                <a:solidFill>
                  <a:srgbClr val="FFFFFF"/>
                </a:solidFill>
                <a:latin typeface="Montserrat"/>
              </a:rPr>
              <a:t>Enablers of your digital enterprise goals</a:t>
            </a: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4470A023-6B83-F571-7AAE-FC2240D9BE6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7364" y="2687222"/>
            <a:ext cx="6264237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800"/>
            </a:lvl1pPr>
          </a:lstStyle>
          <a:p>
            <a:r>
              <a:rPr lang="de-DE"/>
              <a:t>Mastertitelformat Edit</a:t>
            </a:r>
            <a:endParaRPr lang="en-US"/>
          </a:p>
        </p:txBody>
      </p:sp>
      <p:sp>
        <p:nvSpPr>
          <p:cNvPr id="2" name="Untertitel 2">
            <a:extLst>
              <a:ext uri="{FF2B5EF4-FFF2-40B4-BE49-F238E27FC236}">
                <a16:creationId xmlns:a16="http://schemas.microsoft.com/office/drawing/2014/main" id="{C559B885-E7C8-E68C-1C41-13AFF81D39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7867" y="5198002"/>
            <a:ext cx="6224403" cy="397338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tx1"/>
                </a:solidFill>
                <a:latin typeface="Montserrat Medium" panose="000006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Name of Presenter </a:t>
            </a:r>
            <a:endParaRPr lang="en-US"/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F3BBFE08-56A9-2707-1A64-0CF6746A10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7682" y="5654272"/>
            <a:ext cx="6224588" cy="331787"/>
          </a:xfrm>
        </p:spPr>
        <p:txBody>
          <a:bodyPr>
            <a:noAutofit/>
          </a:bodyPr>
          <a:lstStyle>
            <a:lvl1pPr marL="0" indent="0">
              <a:buNone/>
              <a:defRPr sz="1800">
                <a:latin typeface="Montserrat "/>
              </a:defRPr>
            </a:lvl1pPr>
          </a:lstStyle>
          <a:p>
            <a:pPr lvl="0"/>
            <a:r>
              <a:rPr lang="de-DE"/>
              <a:t>Job title of Presenter</a:t>
            </a:r>
            <a:endParaRPr lang="en-US"/>
          </a:p>
        </p:txBody>
      </p:sp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C77E0D97-4B9A-22DA-3A33-D0AEA06C32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7364" y="6062145"/>
            <a:ext cx="6224906" cy="341313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14 March 2024</a:t>
            </a:r>
          </a:p>
        </p:txBody>
      </p:sp>
      <p:cxnSp>
        <p:nvCxnSpPr>
          <p:cNvPr id="7" name="Straight Connector 8">
            <a:extLst>
              <a:ext uri="{FF2B5EF4-FFF2-40B4-BE49-F238E27FC236}">
                <a16:creationId xmlns:a16="http://schemas.microsoft.com/office/drawing/2014/main" id="{890C6BE7-813B-ECB3-25D2-F428FF3FC917}"/>
              </a:ext>
            </a:extLst>
          </p:cNvPr>
          <p:cNvCxnSpPr>
            <a:cxnSpLocks/>
          </p:cNvCxnSpPr>
          <p:nvPr userDrawn="1"/>
        </p:nvCxnSpPr>
        <p:spPr>
          <a:xfrm>
            <a:off x="635661" y="5072795"/>
            <a:ext cx="192110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76948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with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B69DAD86-D6B2-7C10-BCF5-892E65DCC77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half" idx="13" hasCustomPrompt="1"/>
          </p:nvPr>
        </p:nvSpPr>
        <p:spPr>
          <a:xfrm>
            <a:off x="5217326" y="987424"/>
            <a:ext cx="6134885" cy="4881563"/>
          </a:xfrm>
        </p:spPr>
        <p:txBody>
          <a:bodyPr>
            <a:normAutofit/>
          </a:bodyPr>
          <a:lstStyle>
            <a:lvl1pPr>
              <a:defRPr sz="2000">
                <a:latin typeface="Montserrat "/>
              </a:defRPr>
            </a:lvl1pPr>
            <a:lvl2pPr>
              <a:defRPr sz="1800">
                <a:latin typeface="Montserrat "/>
              </a:defRPr>
            </a:lvl2pPr>
            <a:lvl3pPr>
              <a:defRPr sz="1600">
                <a:latin typeface="Montserrat "/>
              </a:defRPr>
            </a:lvl3pPr>
            <a:lvl4pPr>
              <a:defRPr sz="1400">
                <a:latin typeface="Montserrat "/>
              </a:defRPr>
            </a:lvl4pPr>
            <a:lvl5pPr>
              <a:defRPr sz="1400">
                <a:latin typeface="Montserrat "/>
              </a:defRPr>
            </a:lvl5pPr>
          </a:lstStyle>
          <a:p>
            <a:pPr lvl="0"/>
            <a:r>
              <a:rPr lang="de-DE"/>
              <a:t>Mastertextformat Edi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006F092-3DBD-4472-4FB6-E2A26FF711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987424"/>
            <a:ext cx="3932237" cy="106997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800"/>
            </a:lvl1pPr>
          </a:lstStyle>
          <a:p>
            <a:r>
              <a:rPr lang="de-DE"/>
              <a:t>Mastertitelformat Edit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9C00999-B863-A407-4FFD-F08FFA5EBA6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314004"/>
            <a:ext cx="3932237" cy="3554984"/>
          </a:xfrm>
        </p:spPr>
        <p:txBody>
          <a:bodyPr/>
          <a:lstStyle>
            <a:lvl1pPr marL="0" indent="0">
              <a:buNone/>
              <a:defRPr sz="1600">
                <a:latin typeface="Montserrat Medium" panose="000006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Edi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6C5851D-6C6E-A7CB-2633-B25FD8B6141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1A10AF1-6978-4570-A2E9-2586A940B807}" type="datetime3">
              <a:rPr lang="en-US" smtClean="0"/>
              <a:t>13 December 2024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9C0EAD8-7577-5B10-7255-D939E8D1CD1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Intelizign | All Rights Reserved | Confidentia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912ECB8-22D2-5AA0-C3A4-3E95D5A7E34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1777F8F-F1E5-401E-AA9F-B662DE13915E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8">
            <a:extLst>
              <a:ext uri="{FF2B5EF4-FFF2-40B4-BE49-F238E27FC236}">
                <a16:creationId xmlns:a16="http://schemas.microsoft.com/office/drawing/2014/main" id="{B207F1C5-7A16-2A0B-2DE6-EB0B5E16170F}"/>
              </a:ext>
            </a:extLst>
          </p:cNvPr>
          <p:cNvCxnSpPr/>
          <p:nvPr userDrawn="1"/>
        </p:nvCxnSpPr>
        <p:spPr>
          <a:xfrm>
            <a:off x="925033" y="2193059"/>
            <a:ext cx="365760" cy="0"/>
          </a:xfrm>
          <a:prstGeom prst="line">
            <a:avLst/>
          </a:prstGeom>
          <a:ln w="3175">
            <a:solidFill>
              <a:srgbClr val="0638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11905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_with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CFFBC46-2A8E-99DD-AEEC-BF091A9E2E62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839788" y="2314004"/>
            <a:ext cx="3932237" cy="3554984"/>
          </a:xfrm>
        </p:spPr>
        <p:txBody>
          <a:bodyPr/>
          <a:lstStyle>
            <a:lvl1pPr marL="0" indent="0">
              <a:buNone/>
              <a:defRPr sz="1600">
                <a:latin typeface="Montserrat Medium" panose="000006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Edi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D44C55-DBED-E065-4118-2A7EB5B885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987424"/>
            <a:ext cx="3932237" cy="1069975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800"/>
            </a:lvl1pPr>
          </a:lstStyle>
          <a:p>
            <a:r>
              <a:rPr lang="de-DE"/>
              <a:t>Mastertitelformat Edit</a:t>
            </a:r>
            <a:endParaRPr lang="en-US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4AE79E5-CF87-811B-5A87-AB8BC230719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latin typeface="Montserrat 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0580220-5A91-2F36-77D8-6710CEA2BD9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D08B980-8AEE-4844-8AF8-4608537854B4}" type="datetime3">
              <a:rPr lang="en-US" smtClean="0"/>
              <a:t>13 December 2024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053DA78-086C-3D3F-CF65-0E6A8358CD9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Intelizign | All Rights Reserved | Confidentia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F1B02BC-DFE7-76BD-DD14-48902156B1C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1777F8F-F1E5-401E-AA9F-B662DE13915E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8">
            <a:extLst>
              <a:ext uri="{FF2B5EF4-FFF2-40B4-BE49-F238E27FC236}">
                <a16:creationId xmlns:a16="http://schemas.microsoft.com/office/drawing/2014/main" id="{FCDE4803-C3C7-1CBF-9986-7FD3D5E75FA4}"/>
              </a:ext>
            </a:extLst>
          </p:cNvPr>
          <p:cNvCxnSpPr/>
          <p:nvPr userDrawn="1"/>
        </p:nvCxnSpPr>
        <p:spPr>
          <a:xfrm>
            <a:off x="925033" y="2193059"/>
            <a:ext cx="365760" cy="0"/>
          </a:xfrm>
          <a:prstGeom prst="line">
            <a:avLst/>
          </a:prstGeom>
          <a:ln w="3175">
            <a:solidFill>
              <a:srgbClr val="0638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58957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_without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130A0C3-88B2-50F6-D166-CFF342B6B12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8957CB-3378-4F1C-ADE7-16CAE3510B58}" type="datetime3">
              <a:rPr lang="en-US" smtClean="0"/>
              <a:t>13 December 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2E1FEF5-69A8-19FF-E859-CB95EE4BF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Intelizign | All Rights Reserved | Confidentia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11D22DA-C234-76B1-039A-AB8C9479F4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1777F8F-F1E5-401E-AA9F-B662DE1391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51FEFD3B-8FE0-9F74-7A38-62E732AD2D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lIns="0" tIns="91440" rIns="0" bIns="2194560" anchor="b"/>
          <a:lstStyle>
            <a:lvl1pPr algn="ctr" rtl="0">
              <a:buNone/>
              <a:defRPr sz="18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51666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_stripe_Content_with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5">
            <a:extLst>
              <a:ext uri="{FF2B5EF4-FFF2-40B4-BE49-F238E27FC236}">
                <a16:creationId xmlns:a16="http://schemas.microsoft.com/office/drawing/2014/main" id="{711F326A-A5A2-0542-A851-F0C44B37653A}"/>
              </a:ext>
            </a:extLst>
          </p:cNvPr>
          <p:cNvSpPr/>
          <p:nvPr userDrawn="1"/>
        </p:nvSpPr>
        <p:spPr>
          <a:xfrm>
            <a:off x="-18475" y="-1"/>
            <a:ext cx="2078094" cy="6858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6C5851D-6C6E-A7CB-2633-B25FD8B6141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BFFB7C4-C4F6-45E9-A3C7-AF0431A5A3F1}" type="datetime3">
              <a:rPr lang="en-US" smtClean="0"/>
              <a:t>13 December 2024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9C0EAD8-7577-5B10-7255-D939E8D1CD1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Intelizign | All Rights Reserved | Confidential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527C0C4F-ADEF-D506-B6CA-4DCCAD81317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2253340" y="1690688"/>
            <a:ext cx="9098872" cy="4408271"/>
          </a:xfrm>
        </p:spPr>
        <p:txBody>
          <a:bodyPr>
            <a:normAutofit/>
          </a:bodyPr>
          <a:lstStyle>
            <a:lvl1pPr>
              <a:defRPr sz="2000">
                <a:latin typeface="Montserrat "/>
              </a:defRPr>
            </a:lvl1pPr>
            <a:lvl2pPr>
              <a:defRPr sz="1800">
                <a:latin typeface="Montserrat "/>
              </a:defRPr>
            </a:lvl2pPr>
            <a:lvl3pPr>
              <a:defRPr sz="1600">
                <a:latin typeface="Montserrat "/>
              </a:defRPr>
            </a:lvl3pPr>
            <a:lvl4pPr>
              <a:defRPr sz="1400">
                <a:latin typeface="Montserrat "/>
              </a:defRPr>
            </a:lvl4pPr>
            <a:lvl5pPr>
              <a:defRPr sz="1400">
                <a:latin typeface="Montserrat "/>
              </a:defRPr>
            </a:lvl5pPr>
          </a:lstStyle>
          <a:p>
            <a:pPr lvl="0"/>
            <a:r>
              <a:rPr lang="de-DE"/>
              <a:t>Mastertextformat Edit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en-US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F30783E0-1A4A-6915-DC08-E4D5993F0E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53340" y="215038"/>
            <a:ext cx="7210256" cy="948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de-DE"/>
              <a:t>Mastertitelformat Edit</a:t>
            </a:r>
            <a:endParaRPr lang="en-US"/>
          </a:p>
        </p:txBody>
      </p:sp>
      <p:cxnSp>
        <p:nvCxnSpPr>
          <p:cNvPr id="2" name="Straight Connector 8">
            <a:extLst>
              <a:ext uri="{FF2B5EF4-FFF2-40B4-BE49-F238E27FC236}">
                <a16:creationId xmlns:a16="http://schemas.microsoft.com/office/drawing/2014/main" id="{5FBF0A40-A6B5-4BD5-5A16-65C7CDC55A3F}"/>
              </a:ext>
            </a:extLst>
          </p:cNvPr>
          <p:cNvCxnSpPr/>
          <p:nvPr userDrawn="1"/>
        </p:nvCxnSpPr>
        <p:spPr>
          <a:xfrm>
            <a:off x="2347440" y="1054395"/>
            <a:ext cx="365760" cy="0"/>
          </a:xfrm>
          <a:prstGeom prst="line">
            <a:avLst/>
          </a:prstGeom>
          <a:ln w="3175">
            <a:solidFill>
              <a:srgbClr val="0638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50756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_stripe_Content_with_Two_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>
            <a:extLst>
              <a:ext uri="{FF2B5EF4-FFF2-40B4-BE49-F238E27FC236}">
                <a16:creationId xmlns:a16="http://schemas.microsoft.com/office/drawing/2014/main" id="{D26AB52B-3B8A-4837-48D3-425E0DB32644}"/>
              </a:ext>
            </a:extLst>
          </p:cNvPr>
          <p:cNvSpPr/>
          <p:nvPr userDrawn="1"/>
        </p:nvSpPr>
        <p:spPr>
          <a:xfrm>
            <a:off x="-18475" y="-1"/>
            <a:ext cx="2078094" cy="6858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6C5851D-6C6E-A7CB-2633-B25FD8B6141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C25918-A018-4E85-8BAE-B583869E1A8A}" type="datetime3">
              <a:rPr lang="en-US" smtClean="0"/>
              <a:t>13 December 2024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9C0EAD8-7577-5B10-7255-D939E8D1CD1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Intelizign | All Rights Reserved | Confidential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527C0C4F-ADEF-D506-B6CA-4DCCAD81317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2253340" y="1690688"/>
            <a:ext cx="9098872" cy="4408271"/>
          </a:xfrm>
        </p:spPr>
        <p:txBody>
          <a:bodyPr>
            <a:normAutofit/>
          </a:bodyPr>
          <a:lstStyle>
            <a:lvl1pPr>
              <a:defRPr sz="2000">
                <a:latin typeface="Montserrat "/>
              </a:defRPr>
            </a:lvl1pPr>
            <a:lvl2pPr>
              <a:defRPr sz="1800">
                <a:latin typeface="Montserrat "/>
              </a:defRPr>
            </a:lvl2pPr>
            <a:lvl3pPr>
              <a:defRPr sz="1600">
                <a:latin typeface="Montserrat "/>
              </a:defRPr>
            </a:lvl3pPr>
            <a:lvl4pPr>
              <a:defRPr sz="1400">
                <a:latin typeface="Montserrat "/>
              </a:defRPr>
            </a:lvl4pPr>
            <a:lvl5pPr>
              <a:defRPr sz="1400">
                <a:latin typeface="Montserrat "/>
              </a:defRPr>
            </a:lvl5pPr>
          </a:lstStyle>
          <a:p>
            <a:pPr lvl="0"/>
            <a:r>
              <a:rPr lang="de-DE"/>
              <a:t>Mastertextformat Edit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en-US"/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5CAE8B9B-DDC4-947D-5E85-7223F837B82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80304" y="2256783"/>
            <a:ext cx="1438275" cy="1489075"/>
          </a:xfrm>
          <a:noFill/>
          <a:ln>
            <a:noFill/>
          </a:ln>
        </p:spPr>
        <p:txBody>
          <a:bodyPr>
            <a:no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 marL="1371600" indent="0">
              <a:buNone/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4"/>
            <a:r>
              <a:rPr lang="de-DE"/>
              <a:t> Ebene</a:t>
            </a:r>
            <a:endParaRPr lang="en-US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FB5C3D7-0ADE-BF7F-E25B-1A1A4EDCD8A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53" y="3763718"/>
            <a:ext cx="1925638" cy="1277938"/>
          </a:xfr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Edit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4C8C8FBA-C726-75D3-2862-AD0E7E8C95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53340" y="215038"/>
            <a:ext cx="7206544" cy="948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de-DE"/>
              <a:t>Mastertitelformat Edit</a:t>
            </a:r>
            <a:endParaRPr lang="en-US"/>
          </a:p>
        </p:txBody>
      </p:sp>
      <p:cxnSp>
        <p:nvCxnSpPr>
          <p:cNvPr id="3" name="Straight Connector 8">
            <a:extLst>
              <a:ext uri="{FF2B5EF4-FFF2-40B4-BE49-F238E27FC236}">
                <a16:creationId xmlns:a16="http://schemas.microsoft.com/office/drawing/2014/main" id="{C9AA3448-9303-10CE-AF9F-15F0C06D22E7}"/>
              </a:ext>
            </a:extLst>
          </p:cNvPr>
          <p:cNvCxnSpPr/>
          <p:nvPr userDrawn="1"/>
        </p:nvCxnSpPr>
        <p:spPr>
          <a:xfrm>
            <a:off x="2347440" y="1054395"/>
            <a:ext cx="365760" cy="0"/>
          </a:xfrm>
          <a:prstGeom prst="line">
            <a:avLst/>
          </a:prstGeom>
          <a:ln w="3175">
            <a:solidFill>
              <a:srgbClr val="0638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90653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8">
            <a:extLst>
              <a:ext uri="{FF2B5EF4-FFF2-40B4-BE49-F238E27FC236}">
                <a16:creationId xmlns:a16="http://schemas.microsoft.com/office/drawing/2014/main" id="{4991DE37-4E8D-96B9-D065-D9BD88F527FC}"/>
              </a:ext>
            </a:extLst>
          </p:cNvPr>
          <p:cNvSpPr/>
          <p:nvPr userDrawn="1"/>
        </p:nvSpPr>
        <p:spPr>
          <a:xfrm>
            <a:off x="-18475" y="-25960"/>
            <a:ext cx="4273800" cy="6883960"/>
          </a:xfrm>
          <a:prstGeom prst="rect">
            <a:avLst/>
          </a:prstGeom>
          <a:solidFill>
            <a:schemeClr val="tx2"/>
          </a:solidFill>
          <a:ln w="127000" cap="flat" cmpd="sng" algn="ctr">
            <a:noFill/>
            <a:prstDash val="solid"/>
            <a:miter lim="800000"/>
          </a:ln>
          <a:effectLst>
            <a:outerShdw blurRad="977900" dist="63500" dir="2700000" algn="tl" rotWithShape="0">
              <a:prstClr val="black">
                <a:alpha val="1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18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6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feld 29">
            <a:extLst>
              <a:ext uri="{FF2B5EF4-FFF2-40B4-BE49-F238E27FC236}">
                <a16:creationId xmlns:a16="http://schemas.microsoft.com/office/drawing/2014/main" id="{6087A06B-7897-9959-3686-F23214BACE5C}"/>
              </a:ext>
            </a:extLst>
          </p:cNvPr>
          <p:cNvSpPr txBox="1"/>
          <p:nvPr userDrawn="1"/>
        </p:nvSpPr>
        <p:spPr>
          <a:xfrm>
            <a:off x="1274618" y="2736502"/>
            <a:ext cx="164241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r>
              <a:rPr lang="en-US" sz="2800" b="1">
                <a:solidFill>
                  <a:prstClr val="white"/>
                </a:solidFill>
                <a:latin typeface="Montserrat SemiBold" panose="00000700000000000000" pitchFamily="2" charset="0"/>
                <a:cs typeface="Poppins" panose="00000500000000000000" pitchFamily="2" charset="0"/>
              </a:rPr>
              <a:t>Get in contact with us</a:t>
            </a:r>
            <a:endParaRPr lang="de-DE" sz="2800" b="1">
              <a:solidFill>
                <a:prstClr val="white"/>
              </a:solidFill>
              <a:latin typeface="Montserrat SemiBold" panose="000007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2" name="Graphic 1" descr="Marker outline">
            <a:extLst>
              <a:ext uri="{FF2B5EF4-FFF2-40B4-BE49-F238E27FC236}">
                <a16:creationId xmlns:a16="http://schemas.microsoft.com/office/drawing/2014/main" id="{DAFCDB13-0456-F143-5750-53E5EC77A0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33629" y="4129593"/>
            <a:ext cx="506634" cy="506634"/>
          </a:xfrm>
          <a:prstGeom prst="rect">
            <a:avLst/>
          </a:prstGeom>
        </p:spPr>
      </p:pic>
      <p:pic>
        <p:nvPicPr>
          <p:cNvPr id="3" name="Graphic 2" descr="Email outline">
            <a:extLst>
              <a:ext uri="{FF2B5EF4-FFF2-40B4-BE49-F238E27FC236}">
                <a16:creationId xmlns:a16="http://schemas.microsoft.com/office/drawing/2014/main" id="{94A7AF8C-96AE-C4D9-422D-92A578A263F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04384" y="4772752"/>
            <a:ext cx="365125" cy="365125"/>
          </a:xfrm>
          <a:prstGeom prst="rect">
            <a:avLst/>
          </a:prstGeom>
        </p:spPr>
      </p:pic>
      <p:pic>
        <p:nvPicPr>
          <p:cNvPr id="7" name="Graphic 6" descr="Speaker phone outline">
            <a:extLst>
              <a:ext uri="{FF2B5EF4-FFF2-40B4-BE49-F238E27FC236}">
                <a16:creationId xmlns:a16="http://schemas.microsoft.com/office/drawing/2014/main" id="{10C8A162-5D8C-B567-360D-4B8485436C7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91758" y="5297630"/>
            <a:ext cx="457200" cy="457200"/>
          </a:xfrm>
          <a:prstGeom prst="rect">
            <a:avLst/>
          </a:prstGeom>
        </p:spPr>
      </p:pic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BE427B04-4F2B-0831-95C4-75109981D9B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592945" y="4238010"/>
            <a:ext cx="2743199" cy="286370"/>
          </a:xfrm>
        </p:spPr>
        <p:txBody>
          <a:bodyPr>
            <a:noAutofit/>
          </a:bodyPr>
          <a:lstStyle>
            <a:lvl1pPr marL="0" indent="0">
              <a:buNone/>
              <a:defRPr sz="1200"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en-US"/>
              <a:t>Location, Country</a:t>
            </a:r>
          </a:p>
        </p:txBody>
      </p:sp>
      <p:sp>
        <p:nvSpPr>
          <p:cNvPr id="12" name="Content Placeholder 15">
            <a:extLst>
              <a:ext uri="{FF2B5EF4-FFF2-40B4-BE49-F238E27FC236}">
                <a16:creationId xmlns:a16="http://schemas.microsoft.com/office/drawing/2014/main" id="{E5CCE752-CCBC-596E-434F-D2E7C52590C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592943" y="4811880"/>
            <a:ext cx="2743200" cy="286370"/>
          </a:xfrm>
        </p:spPr>
        <p:txBody>
          <a:bodyPr>
            <a:noAutofit/>
          </a:bodyPr>
          <a:lstStyle>
            <a:lvl1pPr marL="0" indent="0">
              <a:buNone/>
              <a:defRPr sz="1200"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de-DE"/>
              <a:t>x</a:t>
            </a:r>
            <a:r>
              <a:rPr lang="en-US"/>
              <a:t>xx@intelizign.com</a:t>
            </a:r>
          </a:p>
        </p:txBody>
      </p:sp>
      <p:sp>
        <p:nvSpPr>
          <p:cNvPr id="13" name="Content Placeholder 15">
            <a:extLst>
              <a:ext uri="{FF2B5EF4-FFF2-40B4-BE49-F238E27FC236}">
                <a16:creationId xmlns:a16="http://schemas.microsoft.com/office/drawing/2014/main" id="{8EF6FEC6-B5B9-7A81-FF08-47DEB7319ED0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592945" y="5382035"/>
            <a:ext cx="2743198" cy="286370"/>
          </a:xfrm>
        </p:spPr>
        <p:txBody>
          <a:bodyPr>
            <a:noAutofit/>
          </a:bodyPr>
          <a:lstStyle>
            <a:lvl1pPr marL="0" indent="0">
              <a:buNone/>
              <a:defRPr sz="1200"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de-DE"/>
              <a:t>+</a:t>
            </a:r>
            <a:r>
              <a:rPr lang="en-US"/>
              <a:t> 49….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0359E16-BEB8-723A-6518-30CAC715D0A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44805" y="1230494"/>
            <a:ext cx="2039478" cy="2026983"/>
          </a:xfrm>
          <a:prstGeom prst="ellipse">
            <a:avLst/>
          </a:prstGeom>
          <a:ln w="28575">
            <a:solidFill>
              <a:schemeClr val="tx2"/>
            </a:solidFill>
          </a:ln>
        </p:spPr>
        <p:txBody>
          <a:bodyPr/>
          <a:lstStyle>
            <a:lvl1pPr>
              <a:defRPr>
                <a:latin typeface="Montserrat Medium" panose="000006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19" name="Datumsplatzhalter 4">
            <a:extLst>
              <a:ext uri="{FF2B5EF4-FFF2-40B4-BE49-F238E27FC236}">
                <a16:creationId xmlns:a16="http://schemas.microsoft.com/office/drawing/2014/main" id="{F4B1AE77-7901-BF39-2002-36308E669E1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2C516E3-B212-4198-B107-6F2B9E808073}" type="datetime3">
              <a:rPr lang="en-US" smtClean="0"/>
              <a:t>13 December 2024</a:t>
            </a:fld>
            <a:endParaRPr lang="en-US"/>
          </a:p>
        </p:txBody>
      </p:sp>
      <p:sp>
        <p:nvSpPr>
          <p:cNvPr id="20" name="Fußzeilenplatzhalter 5">
            <a:extLst>
              <a:ext uri="{FF2B5EF4-FFF2-40B4-BE49-F238E27FC236}">
                <a16:creationId xmlns:a16="http://schemas.microsoft.com/office/drawing/2014/main" id="{46209220-5846-FF6C-A7B4-8708C103421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Intelizign | All Rights Reserved | Confidential</a:t>
            </a:r>
          </a:p>
        </p:txBody>
      </p:sp>
      <p:sp>
        <p:nvSpPr>
          <p:cNvPr id="6" name="Content Placeholder 15">
            <a:extLst>
              <a:ext uri="{FF2B5EF4-FFF2-40B4-BE49-F238E27FC236}">
                <a16:creationId xmlns:a16="http://schemas.microsoft.com/office/drawing/2014/main" id="{448DC634-AAE5-E45D-B0A2-55E9C34FA57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592945" y="3618727"/>
            <a:ext cx="2743200" cy="286370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en-US"/>
              <a:t>First name Last Name</a:t>
            </a:r>
          </a:p>
        </p:txBody>
      </p:sp>
    </p:spTree>
    <p:extLst>
      <p:ext uri="{BB962C8B-B14F-4D97-AF65-F5344CB8AC3E}">
        <p14:creationId xmlns:p14="http://schemas.microsoft.com/office/powerpoint/2010/main" val="26707430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8">
            <a:extLst>
              <a:ext uri="{FF2B5EF4-FFF2-40B4-BE49-F238E27FC236}">
                <a16:creationId xmlns:a16="http://schemas.microsoft.com/office/drawing/2014/main" id="{4991DE37-4E8D-96B9-D065-D9BD88F527FC}"/>
              </a:ext>
            </a:extLst>
          </p:cNvPr>
          <p:cNvSpPr/>
          <p:nvPr userDrawn="1"/>
        </p:nvSpPr>
        <p:spPr>
          <a:xfrm>
            <a:off x="-18475" y="-25960"/>
            <a:ext cx="4273800" cy="6883960"/>
          </a:xfrm>
          <a:prstGeom prst="rect">
            <a:avLst/>
          </a:prstGeom>
          <a:solidFill>
            <a:schemeClr val="tx2"/>
          </a:solidFill>
          <a:ln w="127000" cap="flat" cmpd="sng" algn="ctr">
            <a:noFill/>
            <a:prstDash val="solid"/>
            <a:miter lim="800000"/>
          </a:ln>
          <a:effectLst>
            <a:outerShdw blurRad="977900" dist="63500" dir="2700000" algn="tl" rotWithShape="0">
              <a:prstClr val="black">
                <a:alpha val="1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18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6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4" name="Graphic 23" descr="Marker outline">
            <a:extLst>
              <a:ext uri="{FF2B5EF4-FFF2-40B4-BE49-F238E27FC236}">
                <a16:creationId xmlns:a16="http://schemas.microsoft.com/office/drawing/2014/main" id="{0C7F8037-7472-61D6-CCC1-FB9C766B7D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14430" y="4150319"/>
            <a:ext cx="506634" cy="506634"/>
          </a:xfrm>
          <a:prstGeom prst="rect">
            <a:avLst/>
          </a:prstGeom>
        </p:spPr>
      </p:pic>
      <p:pic>
        <p:nvPicPr>
          <p:cNvPr id="26" name="Graphic 25" descr="Email outline">
            <a:extLst>
              <a:ext uri="{FF2B5EF4-FFF2-40B4-BE49-F238E27FC236}">
                <a16:creationId xmlns:a16="http://schemas.microsoft.com/office/drawing/2014/main" id="{545B47F6-30A9-55FF-A72C-677BFAB9758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14897" y="4814899"/>
            <a:ext cx="365125" cy="365125"/>
          </a:xfrm>
          <a:prstGeom prst="rect">
            <a:avLst/>
          </a:prstGeom>
        </p:spPr>
      </p:pic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0594B24A-A89C-74BF-927B-5E219F0665E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375304" y="4251573"/>
            <a:ext cx="2482284" cy="286370"/>
          </a:xfrm>
        </p:spPr>
        <p:txBody>
          <a:bodyPr>
            <a:noAutofit/>
          </a:bodyPr>
          <a:lstStyle>
            <a:lvl1pPr marL="0" indent="0">
              <a:buNone/>
              <a:defRPr sz="1200"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en-US"/>
              <a:t>Location, Country</a:t>
            </a:r>
          </a:p>
        </p:txBody>
      </p:sp>
      <p:sp>
        <p:nvSpPr>
          <p:cNvPr id="17" name="Content Placeholder 15">
            <a:extLst>
              <a:ext uri="{FF2B5EF4-FFF2-40B4-BE49-F238E27FC236}">
                <a16:creationId xmlns:a16="http://schemas.microsoft.com/office/drawing/2014/main" id="{2233AEBB-FF06-EC2E-148E-C532BEFA55B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76863" y="4873451"/>
            <a:ext cx="2482284" cy="286370"/>
          </a:xfrm>
        </p:spPr>
        <p:txBody>
          <a:bodyPr>
            <a:noAutofit/>
          </a:bodyPr>
          <a:lstStyle>
            <a:lvl1pPr marL="0" indent="0">
              <a:buNone/>
              <a:defRPr sz="1200"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de-DE"/>
              <a:t>x</a:t>
            </a:r>
            <a:r>
              <a:rPr lang="en-US"/>
              <a:t>xx@intelizign.com</a:t>
            </a:r>
          </a:p>
        </p:txBody>
      </p:sp>
      <p:pic>
        <p:nvPicPr>
          <p:cNvPr id="23" name="Graphic 22" descr="Marker outline">
            <a:extLst>
              <a:ext uri="{FF2B5EF4-FFF2-40B4-BE49-F238E27FC236}">
                <a16:creationId xmlns:a16="http://schemas.microsoft.com/office/drawing/2014/main" id="{29002417-75A3-6F1C-31FA-430EFED9E3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16899" y="4132757"/>
            <a:ext cx="506634" cy="506634"/>
          </a:xfrm>
          <a:prstGeom prst="rect">
            <a:avLst/>
          </a:prstGeom>
        </p:spPr>
      </p:pic>
      <p:pic>
        <p:nvPicPr>
          <p:cNvPr id="25" name="Graphic 24" descr="Email outline">
            <a:extLst>
              <a:ext uri="{FF2B5EF4-FFF2-40B4-BE49-F238E27FC236}">
                <a16:creationId xmlns:a16="http://schemas.microsoft.com/office/drawing/2014/main" id="{3F8F37DD-9811-792B-32D4-FE8FCC5B13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117366" y="4797337"/>
            <a:ext cx="365125" cy="365125"/>
          </a:xfrm>
          <a:prstGeom prst="rect">
            <a:avLst/>
          </a:prstGeom>
        </p:spPr>
      </p:pic>
      <p:sp>
        <p:nvSpPr>
          <p:cNvPr id="29" name="Content Placeholder 15">
            <a:extLst>
              <a:ext uri="{FF2B5EF4-FFF2-40B4-BE49-F238E27FC236}">
                <a16:creationId xmlns:a16="http://schemas.microsoft.com/office/drawing/2014/main" id="{D2945607-E967-28DD-D894-41B17FA71BA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577773" y="4251632"/>
            <a:ext cx="2482284" cy="286370"/>
          </a:xfrm>
        </p:spPr>
        <p:txBody>
          <a:bodyPr>
            <a:noAutofit/>
          </a:bodyPr>
          <a:lstStyle>
            <a:lvl1pPr marL="0" indent="0">
              <a:buNone/>
              <a:defRPr sz="1200"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en-US"/>
              <a:t>Location, Country</a:t>
            </a:r>
          </a:p>
        </p:txBody>
      </p:sp>
      <p:sp>
        <p:nvSpPr>
          <p:cNvPr id="30" name="Content Placeholder 15">
            <a:extLst>
              <a:ext uri="{FF2B5EF4-FFF2-40B4-BE49-F238E27FC236}">
                <a16:creationId xmlns:a16="http://schemas.microsoft.com/office/drawing/2014/main" id="{FDE42A08-B2A6-330F-71C9-4CAF692595B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579332" y="4855889"/>
            <a:ext cx="2482284" cy="286370"/>
          </a:xfrm>
        </p:spPr>
        <p:txBody>
          <a:bodyPr>
            <a:noAutofit/>
          </a:bodyPr>
          <a:lstStyle>
            <a:lvl1pPr marL="0" indent="0">
              <a:buNone/>
              <a:defRPr sz="1200"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de-DE"/>
              <a:t>x</a:t>
            </a:r>
            <a:r>
              <a:rPr lang="en-US"/>
              <a:t>xx@intelizign.com</a:t>
            </a:r>
          </a:p>
        </p:txBody>
      </p:sp>
      <p:sp>
        <p:nvSpPr>
          <p:cNvPr id="9" name="Textfeld 29">
            <a:extLst>
              <a:ext uri="{FF2B5EF4-FFF2-40B4-BE49-F238E27FC236}">
                <a16:creationId xmlns:a16="http://schemas.microsoft.com/office/drawing/2014/main" id="{B436040F-7808-A1E9-452D-2B120C1F8903}"/>
              </a:ext>
            </a:extLst>
          </p:cNvPr>
          <p:cNvSpPr txBox="1"/>
          <p:nvPr userDrawn="1"/>
        </p:nvSpPr>
        <p:spPr>
          <a:xfrm>
            <a:off x="1274618" y="2736502"/>
            <a:ext cx="164241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r>
              <a:rPr lang="en-US" sz="2800" b="1">
                <a:solidFill>
                  <a:prstClr val="white"/>
                </a:solidFill>
                <a:latin typeface="Montserrat SemiBold" panose="00000700000000000000" pitchFamily="2" charset="0"/>
                <a:cs typeface="Poppins" panose="00000500000000000000" pitchFamily="2" charset="0"/>
              </a:rPr>
              <a:t>Get in contact with us</a:t>
            </a:r>
            <a:endParaRPr lang="de-DE" sz="2800" b="1">
              <a:solidFill>
                <a:prstClr val="white"/>
              </a:solidFill>
              <a:latin typeface="Montserrat SemiBold" panose="000007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" name="Picture Placeholder 14">
            <a:extLst>
              <a:ext uri="{FF2B5EF4-FFF2-40B4-BE49-F238E27FC236}">
                <a16:creationId xmlns:a16="http://schemas.microsoft.com/office/drawing/2014/main" id="{48DDD5DA-BCDC-2CBE-8D92-DCD9E0FA9E7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596707" y="1230493"/>
            <a:ext cx="2039478" cy="2026983"/>
          </a:xfrm>
          <a:prstGeom prst="ellipse">
            <a:avLst/>
          </a:prstGeom>
          <a:ln w="28575">
            <a:solidFill>
              <a:schemeClr val="tx2"/>
            </a:solidFill>
          </a:ln>
        </p:spPr>
        <p:txBody>
          <a:bodyPr/>
          <a:lstStyle>
            <a:lvl1pPr>
              <a:defRPr>
                <a:latin typeface="Montserrat Medium" panose="000006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3" name="Picture Placeholder 14">
            <a:extLst>
              <a:ext uri="{FF2B5EF4-FFF2-40B4-BE49-F238E27FC236}">
                <a16:creationId xmlns:a16="http://schemas.microsoft.com/office/drawing/2014/main" id="{5B3A24D2-0DFA-D0F2-DD77-A0B06805F02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99176" y="1230493"/>
            <a:ext cx="2039478" cy="2026983"/>
          </a:xfrm>
          <a:prstGeom prst="ellipse">
            <a:avLst/>
          </a:prstGeom>
          <a:ln w="28575">
            <a:solidFill>
              <a:schemeClr val="tx2"/>
            </a:solidFill>
          </a:ln>
        </p:spPr>
        <p:txBody>
          <a:bodyPr/>
          <a:lstStyle>
            <a:lvl1pPr>
              <a:defRPr>
                <a:latin typeface="Montserrat Medium" panose="000006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5" name="Content Placeholder 15">
            <a:extLst>
              <a:ext uri="{FF2B5EF4-FFF2-40B4-BE49-F238E27FC236}">
                <a16:creationId xmlns:a16="http://schemas.microsoft.com/office/drawing/2014/main" id="{8D02E218-50FF-8968-F889-A1A1C2AC99C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5375304" y="3627605"/>
            <a:ext cx="2482284" cy="286370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6" name="Content Placeholder 15">
            <a:extLst>
              <a:ext uri="{FF2B5EF4-FFF2-40B4-BE49-F238E27FC236}">
                <a16:creationId xmlns:a16="http://schemas.microsoft.com/office/drawing/2014/main" id="{397C5211-3194-26E6-1DC9-8A20B06833F7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577773" y="3627605"/>
            <a:ext cx="2482284" cy="286370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82D9E4F-B65F-3B37-7167-60C9602DED7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4"/>
          </p:nvPr>
        </p:nvSpPr>
        <p:spPr/>
        <p:txBody>
          <a:bodyPr/>
          <a:lstStyle/>
          <a:p>
            <a:fld id="{938EAE3F-F920-4B53-B44A-F9D30EBF61A4}" type="datetime3">
              <a:rPr lang="en-US" smtClean="0"/>
              <a:t>13 December 2024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6A614E64-76F3-BA82-0804-7E532EED304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Intelizign | All Rights Reserved | Confidential</a:t>
            </a:r>
          </a:p>
        </p:txBody>
      </p:sp>
    </p:spTree>
    <p:extLst>
      <p:ext uri="{BB962C8B-B14F-4D97-AF65-F5344CB8AC3E}">
        <p14:creationId xmlns:p14="http://schemas.microsoft.com/office/powerpoint/2010/main" val="9403843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Page_Anim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white surface with small dots&#10;&#10;Description automatically generated">
            <a:extLst>
              <a:ext uri="{FF2B5EF4-FFF2-40B4-BE49-F238E27FC236}">
                <a16:creationId xmlns:a16="http://schemas.microsoft.com/office/drawing/2014/main" id="{CBDB564F-ED5B-0960-301B-8D0AA30CAB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8665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Page_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D5571943-B0D4-7243-1FDB-70BDE33ADA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405" y="879312"/>
            <a:ext cx="9962035" cy="287336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2E46CF7-D1E8-4939-EAB7-376A7DD3B7B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708847"/>
            <a:ext cx="9144000" cy="1977453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Edit</a:t>
            </a:r>
            <a:endParaRPr lang="en-US"/>
          </a:p>
        </p:txBody>
      </p:sp>
      <p:sp>
        <p:nvSpPr>
          <p:cNvPr id="5" name="Untertitel 2">
            <a:extLst>
              <a:ext uri="{FF2B5EF4-FFF2-40B4-BE49-F238E27FC236}">
                <a16:creationId xmlns:a16="http://schemas.microsoft.com/office/drawing/2014/main" id="{AAB7075D-D2B4-47FE-51ED-821ABD60E2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228" y="4707256"/>
            <a:ext cx="9143729" cy="397338"/>
          </a:xfrm>
        </p:spPr>
        <p:txBody>
          <a:bodyPr/>
          <a:lstStyle>
            <a:lvl1pPr marL="0" indent="0" algn="ctr">
              <a:buNone/>
              <a:defRPr sz="2400" b="1">
                <a:solidFill>
                  <a:schemeClr val="tx1"/>
                </a:solidFill>
                <a:latin typeface="Montserrat Medium" panose="000006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Name of Presenter </a:t>
            </a:r>
            <a:endParaRPr lang="en-US"/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id="{9DFE51C8-018A-DF61-D2F9-89B741FB8B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4000" y="5163526"/>
            <a:ext cx="9144000" cy="331787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latin typeface="Montserrat "/>
              </a:defRPr>
            </a:lvl1pPr>
          </a:lstStyle>
          <a:p>
            <a:pPr lvl="0"/>
            <a:r>
              <a:rPr lang="de-DE"/>
              <a:t>Job title of Presenter</a:t>
            </a:r>
            <a:endParaRPr lang="en-US"/>
          </a:p>
        </p:txBody>
      </p:sp>
      <p:sp>
        <p:nvSpPr>
          <p:cNvPr id="7" name="Textplatzhalter 12">
            <a:extLst>
              <a:ext uri="{FF2B5EF4-FFF2-40B4-BE49-F238E27FC236}">
                <a16:creationId xmlns:a16="http://schemas.microsoft.com/office/drawing/2014/main" id="{AF057DD0-02F3-817D-2549-4482656DA2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3607" y="5571399"/>
            <a:ext cx="9144468" cy="341313"/>
          </a:xfrm>
        </p:spPr>
        <p:txBody>
          <a:bodyPr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en-US"/>
              <a:t>14 March 2024</a:t>
            </a:r>
          </a:p>
        </p:txBody>
      </p:sp>
    </p:spTree>
    <p:extLst>
      <p:ext uri="{BB962C8B-B14F-4D97-AF65-F5344CB8AC3E}">
        <p14:creationId xmlns:p14="http://schemas.microsoft.com/office/powerpoint/2010/main" val="27442480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_Header_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A5E838-D23B-4669-0147-9C0978DE0E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Edit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66ADBB0-C36C-DB81-344A-7D7DA3EE39B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4"/>
                </a:solidFill>
                <a:latin typeface="Montserrat Medium" panose="000006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Edit</a:t>
            </a:r>
          </a:p>
        </p:txBody>
      </p:sp>
      <p:cxnSp>
        <p:nvCxnSpPr>
          <p:cNvPr id="4" name="Straight Connector 8">
            <a:extLst>
              <a:ext uri="{FF2B5EF4-FFF2-40B4-BE49-F238E27FC236}">
                <a16:creationId xmlns:a16="http://schemas.microsoft.com/office/drawing/2014/main" id="{944DFF74-B9D4-A04C-8D0C-945E2F949AA5}"/>
              </a:ext>
            </a:extLst>
          </p:cNvPr>
          <p:cNvCxnSpPr>
            <a:cxnSpLocks/>
          </p:cNvCxnSpPr>
          <p:nvPr userDrawn="1"/>
        </p:nvCxnSpPr>
        <p:spPr>
          <a:xfrm>
            <a:off x="938380" y="4562475"/>
            <a:ext cx="1921108" cy="0"/>
          </a:xfrm>
          <a:prstGeom prst="line">
            <a:avLst/>
          </a:prstGeom>
          <a:ln w="3175">
            <a:solidFill>
              <a:srgbClr val="0638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reeform 8">
            <a:extLst>
              <a:ext uri="{FF2B5EF4-FFF2-40B4-BE49-F238E27FC236}">
                <a16:creationId xmlns:a16="http://schemas.microsoft.com/office/drawing/2014/main" id="{1A9A824F-FD25-8781-0A3A-964048C3BBD8}"/>
              </a:ext>
            </a:extLst>
          </p:cNvPr>
          <p:cNvSpPr/>
          <p:nvPr userDrawn="1"/>
        </p:nvSpPr>
        <p:spPr>
          <a:xfrm>
            <a:off x="8461851" y="530202"/>
            <a:ext cx="2885599" cy="476296"/>
          </a:xfrm>
          <a:custGeom>
            <a:avLst/>
            <a:gdLst/>
            <a:ahLst/>
            <a:cxnLst/>
            <a:rect l="l" t="t" r="r" b="b"/>
            <a:pathLst>
              <a:path w="8734946" h="1441788">
                <a:moveTo>
                  <a:pt x="0" y="0"/>
                </a:moveTo>
                <a:lnTo>
                  <a:pt x="8734946" y="0"/>
                </a:lnTo>
                <a:lnTo>
                  <a:pt x="8734946" y="1441788"/>
                </a:lnTo>
                <a:lnTo>
                  <a:pt x="0" y="1441788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l="-18" r="-18"/>
            </a:stretch>
          </a:blipFill>
        </p:spPr>
        <p:txBody>
          <a:bodyPr/>
          <a:lstStyle/>
          <a:p>
            <a:endParaRPr lang="en-IN" sz="1200"/>
          </a:p>
          <a:p>
            <a:endParaRPr lang="en-IN" sz="1200"/>
          </a:p>
        </p:txBody>
      </p:sp>
    </p:spTree>
    <p:extLst>
      <p:ext uri="{BB962C8B-B14F-4D97-AF65-F5344CB8AC3E}">
        <p14:creationId xmlns:p14="http://schemas.microsoft.com/office/powerpoint/2010/main" val="2909350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8BB1AE6-3825-196F-C6DA-36A82C737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340032"/>
            <a:ext cx="10515600" cy="4694634"/>
          </a:xfrm>
        </p:spPr>
        <p:txBody>
          <a:bodyPr/>
          <a:lstStyle>
            <a:lvl1pPr>
              <a:defRPr>
                <a:latin typeface="Montserrat "/>
              </a:defRPr>
            </a:lvl1pPr>
            <a:lvl2pPr>
              <a:defRPr>
                <a:latin typeface="Montserrat "/>
              </a:defRPr>
            </a:lvl2pPr>
            <a:lvl3pPr>
              <a:defRPr>
                <a:latin typeface="Montserrat "/>
              </a:defRPr>
            </a:lvl3pPr>
            <a:lvl4pPr>
              <a:defRPr>
                <a:latin typeface="Montserrat "/>
              </a:defRPr>
            </a:lvl4pPr>
            <a:lvl5pPr>
              <a:defRPr>
                <a:latin typeface="Montserrat "/>
              </a:defRPr>
            </a:lvl5pPr>
          </a:lstStyle>
          <a:p>
            <a:pPr lvl="0"/>
            <a:r>
              <a:rPr lang="de-DE"/>
              <a:t>Mastertextformat Edit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EADA91-6B19-B899-312C-445A1C46A3A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5F95113-E622-4E19-AAED-B54138F75BDB}" type="datetime3">
              <a:rPr lang="en-US" smtClean="0"/>
              <a:t>13 December 2024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E623DC9-20A8-B2EA-15E9-B70A9EDCC1D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Intelizign | All Rights Reserved | Confidentia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3BEB909-725D-5DD9-73E6-E84343F7DC9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1777F8F-F1E5-401E-AA9F-B662DE13915E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8">
            <a:extLst>
              <a:ext uri="{FF2B5EF4-FFF2-40B4-BE49-F238E27FC236}">
                <a16:creationId xmlns:a16="http://schemas.microsoft.com/office/drawing/2014/main" id="{A78B5116-49E0-2278-A973-8C6152DC6E2C}"/>
              </a:ext>
            </a:extLst>
          </p:cNvPr>
          <p:cNvCxnSpPr/>
          <p:nvPr userDrawn="1"/>
        </p:nvCxnSpPr>
        <p:spPr>
          <a:xfrm>
            <a:off x="925033" y="1054395"/>
            <a:ext cx="365760" cy="0"/>
          </a:xfrm>
          <a:prstGeom prst="line">
            <a:avLst/>
          </a:prstGeom>
          <a:ln w="3175">
            <a:solidFill>
              <a:srgbClr val="0638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F0A85811-989E-4CFD-4EED-37C1EF3BB2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15530"/>
            <a:ext cx="8629996" cy="948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de-DE"/>
              <a:t>Mastertitelformat Edi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5686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D91EA4-A0C1-A907-B223-E2C39F8C8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15530"/>
            <a:ext cx="8629996" cy="948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de-DE"/>
              <a:t>Mastertitelformat Edit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A9B94E4-8E6C-3923-654F-27544398330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340032"/>
            <a:ext cx="5181600" cy="4694634"/>
          </a:xfrm>
        </p:spPr>
        <p:txBody>
          <a:bodyPr>
            <a:normAutofit/>
          </a:bodyPr>
          <a:lstStyle>
            <a:lvl1pPr>
              <a:defRPr sz="2000">
                <a:latin typeface="Montserrat "/>
              </a:defRPr>
            </a:lvl1pPr>
            <a:lvl2pPr>
              <a:defRPr sz="1800">
                <a:latin typeface="Montserrat "/>
              </a:defRPr>
            </a:lvl2pPr>
            <a:lvl3pPr>
              <a:defRPr sz="1600">
                <a:latin typeface="Montserrat "/>
              </a:defRPr>
            </a:lvl3pPr>
            <a:lvl4pPr>
              <a:defRPr sz="1400">
                <a:latin typeface="Montserrat "/>
              </a:defRPr>
            </a:lvl4pPr>
            <a:lvl5pPr>
              <a:defRPr sz="1400">
                <a:latin typeface="Montserrat "/>
              </a:defRPr>
            </a:lvl5pPr>
          </a:lstStyle>
          <a:p>
            <a:pPr lvl="0"/>
            <a:r>
              <a:rPr lang="de-DE"/>
              <a:t>Mastertextformat Edi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en-US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B057476-D3B8-C16C-B6B7-BCD6F78D564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1A69F51-48E7-4FE1-8FE7-AF4AE74C908B}" type="datetime3">
              <a:rPr lang="en-US" smtClean="0"/>
              <a:t>13 December 2024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50B1CAC-0FAB-005A-186D-678C4573EB7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Intelizign | All Rights Reserved | Confidentia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CC4B4BE-B822-E9D0-0C32-FF38243D374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1777F8F-F1E5-401E-AA9F-B662DE1391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3928EA7E-0559-9C5A-7F05-D99C2A332CC8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172200" y="1340032"/>
            <a:ext cx="5181600" cy="4694635"/>
          </a:xfrm>
        </p:spPr>
        <p:txBody>
          <a:bodyPr>
            <a:normAutofit/>
          </a:bodyPr>
          <a:lstStyle>
            <a:lvl1pPr>
              <a:defRPr sz="2000">
                <a:latin typeface="Montserrat "/>
              </a:defRPr>
            </a:lvl1pPr>
            <a:lvl2pPr>
              <a:defRPr sz="1800">
                <a:latin typeface="Montserrat "/>
              </a:defRPr>
            </a:lvl2pPr>
            <a:lvl3pPr>
              <a:defRPr sz="1600">
                <a:latin typeface="Montserrat "/>
              </a:defRPr>
            </a:lvl3pPr>
            <a:lvl4pPr>
              <a:defRPr sz="1400">
                <a:latin typeface="Montserrat "/>
              </a:defRPr>
            </a:lvl4pPr>
            <a:lvl5pPr>
              <a:defRPr sz="1400">
                <a:latin typeface="Montserrat "/>
              </a:defRPr>
            </a:lvl5pPr>
          </a:lstStyle>
          <a:p>
            <a:pPr lvl="0"/>
            <a:r>
              <a:rPr lang="de-DE"/>
              <a:t>Mastertextformat Edi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en-US"/>
          </a:p>
        </p:txBody>
      </p:sp>
      <p:cxnSp>
        <p:nvCxnSpPr>
          <p:cNvPr id="10" name="Straight Connector 8">
            <a:extLst>
              <a:ext uri="{FF2B5EF4-FFF2-40B4-BE49-F238E27FC236}">
                <a16:creationId xmlns:a16="http://schemas.microsoft.com/office/drawing/2014/main" id="{1AE07F5D-6474-D472-1C59-62A0FE6F4432}"/>
              </a:ext>
            </a:extLst>
          </p:cNvPr>
          <p:cNvCxnSpPr/>
          <p:nvPr userDrawn="1"/>
        </p:nvCxnSpPr>
        <p:spPr>
          <a:xfrm>
            <a:off x="925033" y="1054395"/>
            <a:ext cx="365760" cy="0"/>
          </a:xfrm>
          <a:prstGeom prst="line">
            <a:avLst/>
          </a:prstGeom>
          <a:ln w="3175">
            <a:solidFill>
              <a:srgbClr val="0638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28204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30469341-99E8-ED36-BFE3-F7B3EC1D8B7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36611" y="2332425"/>
            <a:ext cx="5160963" cy="3683001"/>
          </a:xfrm>
        </p:spPr>
        <p:txBody>
          <a:bodyPr>
            <a:normAutofit/>
          </a:bodyPr>
          <a:lstStyle>
            <a:lvl1pPr>
              <a:defRPr sz="2000">
                <a:latin typeface="Montserrat "/>
              </a:defRPr>
            </a:lvl1pPr>
            <a:lvl2pPr>
              <a:defRPr sz="1800">
                <a:latin typeface="Montserrat "/>
              </a:defRPr>
            </a:lvl2pPr>
            <a:lvl3pPr>
              <a:defRPr sz="1600">
                <a:latin typeface="Montserrat "/>
              </a:defRPr>
            </a:lvl3pPr>
            <a:lvl4pPr>
              <a:defRPr sz="1400">
                <a:latin typeface="Montserrat "/>
              </a:defRPr>
            </a:lvl4pPr>
            <a:lvl5pPr>
              <a:defRPr sz="1400">
                <a:latin typeface="Montserrat "/>
              </a:defRPr>
            </a:lvl5pPr>
          </a:lstStyle>
          <a:p>
            <a:pPr lvl="0"/>
            <a:r>
              <a:rPr lang="de-DE"/>
              <a:t>Mastertextformat Edi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E8DE1C0-6726-C179-9599-0FF68169D8B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6611" y="1340032"/>
            <a:ext cx="5157787" cy="990806"/>
          </a:xfrm>
        </p:spPr>
        <p:txBody>
          <a:bodyPr anchor="b">
            <a:noAutofit/>
          </a:bodyPr>
          <a:lstStyle>
            <a:lvl1pPr marL="0" indent="0">
              <a:buNone/>
              <a:defRPr sz="2400" b="1">
                <a:latin typeface="Montserrat SemiBold" panose="00000700000000000000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Edi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15E918A-9638-6D31-2887-A7E81F735520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340032"/>
            <a:ext cx="5183188" cy="990806"/>
          </a:xfrm>
        </p:spPr>
        <p:txBody>
          <a:bodyPr anchor="b">
            <a:normAutofit/>
          </a:bodyPr>
          <a:lstStyle>
            <a:lvl1pPr marL="0" indent="0">
              <a:buNone/>
              <a:defRPr sz="2400" b="1">
                <a:latin typeface="Montserrat SemiBold" panose="00000700000000000000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Edit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C706F2D-FC9C-6721-79E6-AC9595D74E6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F893DB4-83E4-48AE-B34A-68763A8A4B76}" type="datetime3">
              <a:rPr lang="en-US" smtClean="0"/>
              <a:t>13 December 2024</a:t>
            </a:fld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2CCE3E8-AD88-17F1-C5CD-DEE77915D5B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Intelizign | All Rights Reserved | Confidential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447436-573A-63E2-A32F-2EF6429DE0D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1777F8F-F1E5-401E-AA9F-B662DE1391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95EE9449-6D5F-4150-B2B0-414CAA2FF16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172199" y="2332425"/>
            <a:ext cx="5181601" cy="3683001"/>
          </a:xfrm>
        </p:spPr>
        <p:txBody>
          <a:bodyPr>
            <a:normAutofit/>
          </a:bodyPr>
          <a:lstStyle>
            <a:lvl1pPr>
              <a:defRPr sz="2000">
                <a:latin typeface="Montserrat "/>
              </a:defRPr>
            </a:lvl1pPr>
            <a:lvl2pPr>
              <a:defRPr sz="1800">
                <a:latin typeface="Montserrat "/>
              </a:defRPr>
            </a:lvl2pPr>
            <a:lvl3pPr>
              <a:defRPr sz="1600">
                <a:latin typeface="Montserrat "/>
              </a:defRPr>
            </a:lvl3pPr>
            <a:lvl4pPr>
              <a:defRPr sz="1400">
                <a:latin typeface="Montserrat "/>
              </a:defRPr>
            </a:lvl4pPr>
            <a:lvl5pPr>
              <a:defRPr sz="1400">
                <a:latin typeface="Montserrat "/>
              </a:defRPr>
            </a:lvl5pPr>
          </a:lstStyle>
          <a:p>
            <a:pPr lvl="0"/>
            <a:r>
              <a:rPr lang="de-DE"/>
              <a:t>Mastertextformat Edit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en-US"/>
          </a:p>
        </p:txBody>
      </p:sp>
      <p:cxnSp>
        <p:nvCxnSpPr>
          <p:cNvPr id="2" name="Straight Connector 8">
            <a:extLst>
              <a:ext uri="{FF2B5EF4-FFF2-40B4-BE49-F238E27FC236}">
                <a16:creationId xmlns:a16="http://schemas.microsoft.com/office/drawing/2014/main" id="{F154E43B-46CE-8DFF-65BB-902B7992628C}"/>
              </a:ext>
            </a:extLst>
          </p:cNvPr>
          <p:cNvCxnSpPr/>
          <p:nvPr userDrawn="1"/>
        </p:nvCxnSpPr>
        <p:spPr>
          <a:xfrm>
            <a:off x="925033" y="1054395"/>
            <a:ext cx="365760" cy="0"/>
          </a:xfrm>
          <a:prstGeom prst="line">
            <a:avLst/>
          </a:prstGeom>
          <a:ln w="3175">
            <a:solidFill>
              <a:srgbClr val="0638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el 1">
            <a:extLst>
              <a:ext uri="{FF2B5EF4-FFF2-40B4-BE49-F238E27FC236}">
                <a16:creationId xmlns:a16="http://schemas.microsoft.com/office/drawing/2014/main" id="{2748E34E-FB20-DB39-9D9E-5962CEA95B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15530"/>
            <a:ext cx="8629996" cy="948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de-DE"/>
              <a:t>Mastertitelformat Edi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94431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EEB8C8-3115-8BF7-3790-90027766EA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14842"/>
            <a:ext cx="8621684" cy="948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de-DE"/>
              <a:t>Mastertitelformat Edit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25E7EB0-0EE6-5B8D-A701-009B7E70E91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CDD871-C558-44CE-A0D7-BD436ABEBB89}" type="datetime3">
              <a:rPr lang="en-US" smtClean="0"/>
              <a:t>13 December 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B090D7-B570-D33C-7CD8-E8AB51B5217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Intelizign | All Rights Reserved | Confidentia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4A1EDD8-9BB6-FD7D-370E-ABCB87C5858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1777F8F-F1E5-401E-AA9F-B662DE13915E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8">
            <a:extLst>
              <a:ext uri="{FF2B5EF4-FFF2-40B4-BE49-F238E27FC236}">
                <a16:creationId xmlns:a16="http://schemas.microsoft.com/office/drawing/2014/main" id="{3C6D3513-2B7D-7EC3-D56D-F5DF43F22287}"/>
              </a:ext>
            </a:extLst>
          </p:cNvPr>
          <p:cNvCxnSpPr/>
          <p:nvPr userDrawn="1"/>
        </p:nvCxnSpPr>
        <p:spPr>
          <a:xfrm>
            <a:off x="925033" y="1054395"/>
            <a:ext cx="365760" cy="0"/>
          </a:xfrm>
          <a:prstGeom prst="line">
            <a:avLst/>
          </a:prstGeom>
          <a:ln w="3175">
            <a:solidFill>
              <a:srgbClr val="0638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9691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4883EEA-A234-B7FA-21FB-A4B57305B0C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2560647-C315-4382-89A3-8F122BD9C96E}" type="datetime3">
              <a:rPr lang="en-US" smtClean="0"/>
              <a:t>13 December 2024</a:t>
            </a:fld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847DF3D-0993-609F-9371-B5CA3484269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Intelizign | All Rights Reserved | Confidentia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A3565D0-5D6D-3CD7-B285-896F0D3DE2F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1777F8F-F1E5-401E-AA9F-B662DE1391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89735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517D7C3-C7FA-9D0F-679D-00AF4EBB6E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369848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47" imgH="348" progId="TCLayout.ActiveDocument.1">
                  <p:embed/>
                </p:oleObj>
              </mc:Choice>
              <mc:Fallback>
                <p:oleObj name="think-cell Slide" r:id="rId19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17D7C3-C7FA-9D0F-679D-00AF4EBB6E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04C245C-04A0-D322-6082-FA1A996DB0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25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</a:t>
            </a:r>
            <a:r>
              <a:rPr lang="de-DE" err="1"/>
              <a:t>edit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4AB8529-2860-AE31-60CA-067F00913C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92250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edit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166FD4B-FC01-FF11-586F-702BB103B63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40B71BF-D055-4939-B455-8617326C2B34}" type="datetime3">
              <a:rPr lang="en-US" smtClean="0"/>
              <a:t>13 December 2024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AF2C009-97D6-66A6-5E89-F79395A28D9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/>
              <a:t>Intelizign | All Rights Reserved | Confidentia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BB0656E-7753-3524-470F-281E8BAB3A2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4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US"/>
              <a:t>Page </a:t>
            </a:r>
            <a:fld id="{11777F8F-F1E5-401E-AA9F-B662DE1391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7">
            <a:extLst>
              <a:ext uri="{FF2B5EF4-FFF2-40B4-BE49-F238E27FC236}">
                <a16:creationId xmlns:a16="http://schemas.microsoft.com/office/drawing/2014/main" id="{9B2B9F84-977E-D31C-32F2-E726E2D17622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1657" y="555574"/>
            <a:ext cx="1822143" cy="525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497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6" r:id="rId2"/>
    <p:sldLayoutId id="2147483711" r:id="rId3"/>
    <p:sldLayoutId id="2147483717" r:id="rId4"/>
    <p:sldLayoutId id="2147483684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714" r:id="rId12"/>
    <p:sldLayoutId id="2147483699" r:id="rId13"/>
    <p:sldLayoutId id="2147483700" r:id="rId14"/>
    <p:sldLayoutId id="2147483697" r:id="rId15"/>
    <p:sldLayoutId id="2147483698" r:id="rId16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2"/>
          </a:solidFill>
          <a:latin typeface="Montserrat SemiBold" panose="00000700000000000000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Montserrat 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Montserrat 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Montserrat 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Montserrat 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Montserrat 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6.png"/><Relationship Id="rId11" Type="http://schemas.openxmlformats.org/officeDocument/2006/relationships/image" Target="../media/image21.svg"/><Relationship Id="rId5" Type="http://schemas.openxmlformats.org/officeDocument/2006/relationships/image" Target="../media/image15.sv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4" Type="http://schemas.openxmlformats.org/officeDocument/2006/relationships/image" Target="../media/image22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4" Type="http://schemas.openxmlformats.org/officeDocument/2006/relationships/image" Target="../media/image22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.xml"/><Relationship Id="rId4" Type="http://schemas.openxmlformats.org/officeDocument/2006/relationships/image" Target="../media/image22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2.xml"/><Relationship Id="rId4" Type="http://schemas.openxmlformats.org/officeDocument/2006/relationships/image" Target="../media/image22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7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3.svg"/><Relationship Id="rId12" Type="http://schemas.openxmlformats.org/officeDocument/2006/relationships/image" Target="../media/image16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.xml"/><Relationship Id="rId6" Type="http://schemas.openxmlformats.org/officeDocument/2006/relationships/image" Target="../media/image12.png"/><Relationship Id="rId11" Type="http://schemas.openxmlformats.org/officeDocument/2006/relationships/image" Target="../media/image21.svg"/><Relationship Id="rId5" Type="http://schemas.openxmlformats.org/officeDocument/2006/relationships/image" Target="../media/image22.emf"/><Relationship Id="rId15" Type="http://schemas.openxmlformats.org/officeDocument/2006/relationships/image" Target="../media/image19.svg"/><Relationship Id="rId10" Type="http://schemas.openxmlformats.org/officeDocument/2006/relationships/image" Target="../media/image20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5.svg"/><Relationship Id="rId14" Type="http://schemas.openxmlformats.org/officeDocument/2006/relationships/image" Target="../media/image18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.xml"/><Relationship Id="rId4" Type="http://schemas.openxmlformats.org/officeDocument/2006/relationships/image" Target="../media/image22.emf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4" Type="http://schemas.openxmlformats.org/officeDocument/2006/relationships/image" Target="../media/image22.emf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11" Type="http://schemas.openxmlformats.org/officeDocument/2006/relationships/image" Target="../media/image29.svg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22.emf"/><Relationship Id="rId9" Type="http://schemas.openxmlformats.org/officeDocument/2006/relationships/image" Target="../media/image27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4" Type="http://schemas.openxmlformats.org/officeDocument/2006/relationships/image" Target="../media/image22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13" Type="http://schemas.openxmlformats.org/officeDocument/2006/relationships/image" Target="../media/image39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33.png"/><Relationship Id="rId12" Type="http://schemas.openxmlformats.org/officeDocument/2006/relationships/image" Target="../media/image38.sv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6" Type="http://schemas.openxmlformats.org/officeDocument/2006/relationships/image" Target="../media/image32.svg"/><Relationship Id="rId11" Type="http://schemas.openxmlformats.org/officeDocument/2006/relationships/image" Target="../media/image37.png"/><Relationship Id="rId5" Type="http://schemas.openxmlformats.org/officeDocument/2006/relationships/image" Target="../media/image31.png"/><Relationship Id="rId10" Type="http://schemas.openxmlformats.org/officeDocument/2006/relationships/image" Target="../media/image36.svg"/><Relationship Id="rId4" Type="http://schemas.openxmlformats.org/officeDocument/2006/relationships/image" Target="../media/image22.emf"/><Relationship Id="rId9" Type="http://schemas.openxmlformats.org/officeDocument/2006/relationships/image" Target="../media/image35.png"/><Relationship Id="rId14" Type="http://schemas.openxmlformats.org/officeDocument/2006/relationships/image" Target="../media/image40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3.jpeg"/><Relationship Id="rId18" Type="http://schemas.openxmlformats.org/officeDocument/2006/relationships/image" Target="../media/image48.svg"/><Relationship Id="rId3" Type="http://schemas.openxmlformats.org/officeDocument/2006/relationships/oleObject" Target="../embeddings/oleObject8.bin"/><Relationship Id="rId21" Type="http://schemas.openxmlformats.org/officeDocument/2006/relationships/image" Target="../media/image51.png"/><Relationship Id="rId7" Type="http://schemas.openxmlformats.org/officeDocument/2006/relationships/image" Target="../media/image36.svg"/><Relationship Id="rId12" Type="http://schemas.openxmlformats.org/officeDocument/2006/relationships/image" Target="../media/image42.png"/><Relationship Id="rId17" Type="http://schemas.openxmlformats.org/officeDocument/2006/relationships/image" Target="../media/image47.pn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46.svg"/><Relationship Id="rId20" Type="http://schemas.openxmlformats.org/officeDocument/2006/relationships/image" Target="../media/image50.svg"/><Relationship Id="rId1" Type="http://schemas.openxmlformats.org/officeDocument/2006/relationships/tags" Target="../tags/tag8.xml"/><Relationship Id="rId6" Type="http://schemas.openxmlformats.org/officeDocument/2006/relationships/image" Target="../media/image35.png"/><Relationship Id="rId11" Type="http://schemas.openxmlformats.org/officeDocument/2006/relationships/image" Target="../media/image40.svg"/><Relationship Id="rId5" Type="http://schemas.openxmlformats.org/officeDocument/2006/relationships/image" Target="../media/image41.jpeg"/><Relationship Id="rId15" Type="http://schemas.openxmlformats.org/officeDocument/2006/relationships/image" Target="../media/image45.png"/><Relationship Id="rId10" Type="http://schemas.openxmlformats.org/officeDocument/2006/relationships/image" Target="../media/image39.png"/><Relationship Id="rId19" Type="http://schemas.openxmlformats.org/officeDocument/2006/relationships/image" Target="../media/image49.png"/><Relationship Id="rId4" Type="http://schemas.openxmlformats.org/officeDocument/2006/relationships/image" Target="../media/image22.emf"/><Relationship Id="rId9" Type="http://schemas.openxmlformats.org/officeDocument/2006/relationships/image" Target="../media/image38.svg"/><Relationship Id="rId14" Type="http://schemas.openxmlformats.org/officeDocument/2006/relationships/image" Target="../media/image44.jpeg"/><Relationship Id="rId22" Type="http://schemas.openxmlformats.org/officeDocument/2006/relationships/image" Target="../media/image5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6FD6CB78-4A87-41F4-8252-C84669C8D7D7}"/>
              </a:ext>
            </a:extLst>
          </p:cNvPr>
          <p:cNvCxnSpPr>
            <a:cxnSpLocks/>
            <a:stCxn id="90" idx="6"/>
            <a:endCxn id="105" idx="2"/>
          </p:cNvCxnSpPr>
          <p:nvPr/>
        </p:nvCxnSpPr>
        <p:spPr>
          <a:xfrm>
            <a:off x="2202710" y="3930847"/>
            <a:ext cx="7600310" cy="3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Oval 30">
            <a:extLst>
              <a:ext uri="{FF2B5EF4-FFF2-40B4-BE49-F238E27FC236}">
                <a16:creationId xmlns:a16="http://schemas.microsoft.com/office/drawing/2014/main" id="{9434F215-74C6-40A5-9EA5-83FEB59400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3350" y="2083691"/>
            <a:ext cx="870221" cy="877968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18900000" scaled="1"/>
            <a:tileRect/>
          </a:gradFill>
          <a:ln w="3175" cmpd="sng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b="1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69" name="Oval 33">
            <a:extLst>
              <a:ext uri="{FF2B5EF4-FFF2-40B4-BE49-F238E27FC236}">
                <a16:creationId xmlns:a16="http://schemas.microsoft.com/office/drawing/2014/main" id="{DCAADA35-D825-4787-ADC6-A8C4D81BB0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10180" y="2051075"/>
            <a:ext cx="870221" cy="877968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18900000" scaled="1"/>
            <a:tileRect/>
          </a:gradFill>
          <a:ln w="3175" cmpd="sng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b="1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73" name="Oval 36">
            <a:extLst>
              <a:ext uri="{FF2B5EF4-FFF2-40B4-BE49-F238E27FC236}">
                <a16:creationId xmlns:a16="http://schemas.microsoft.com/office/drawing/2014/main" id="{AD025FF7-3B2A-46D2-8FC6-680B8AE572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0514" y="2051075"/>
            <a:ext cx="872805" cy="877968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18900000" scaled="1"/>
            <a:tileRect/>
          </a:gradFill>
          <a:ln w="3175" cmpd="sng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b="1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74" name="Oval 39">
            <a:extLst>
              <a:ext uri="{FF2B5EF4-FFF2-40B4-BE49-F238E27FC236}">
                <a16:creationId xmlns:a16="http://schemas.microsoft.com/office/drawing/2014/main" id="{6F2DDA66-2CA6-405B-BB85-081DB85262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2965" y="2051076"/>
            <a:ext cx="875387" cy="877965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18900000" scaled="1"/>
            <a:tileRect/>
          </a:gradFill>
          <a:ln w="3175" cmpd="sng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b="1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77" name="Oval 42">
            <a:extLst>
              <a:ext uri="{FF2B5EF4-FFF2-40B4-BE49-F238E27FC236}">
                <a16:creationId xmlns:a16="http://schemas.microsoft.com/office/drawing/2014/main" id="{7B4046A3-902A-4463-A499-DF67FAE17A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8231" y="2015425"/>
            <a:ext cx="870221" cy="877968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18900000" scaled="1"/>
            <a:tileRect/>
          </a:gradFill>
          <a:ln w="3175" cmpd="sng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b="1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78" name="Oval 45">
            <a:extLst>
              <a:ext uri="{FF2B5EF4-FFF2-40B4-BE49-F238E27FC236}">
                <a16:creationId xmlns:a16="http://schemas.microsoft.com/office/drawing/2014/main" id="{0EC871C1-AFB9-4D86-8D98-5AAAACA225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8332" y="2051076"/>
            <a:ext cx="875387" cy="877965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18900000" scaled="1"/>
            <a:tileRect/>
          </a:gradFill>
          <a:ln w="3175" cmpd="sng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b="1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7FED056-6243-47A5-B0E1-303D9B795C26}"/>
              </a:ext>
            </a:extLst>
          </p:cNvPr>
          <p:cNvGrpSpPr/>
          <p:nvPr/>
        </p:nvGrpSpPr>
        <p:grpSpPr>
          <a:xfrm>
            <a:off x="1210065" y="1624341"/>
            <a:ext cx="9591823" cy="1731435"/>
            <a:chOff x="384175" y="1218256"/>
            <a:chExt cx="7193867" cy="1298576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437A8268-391C-48A4-944C-0387BEB040D0}"/>
                </a:ext>
              </a:extLst>
            </p:cNvPr>
            <p:cNvGrpSpPr/>
            <p:nvPr/>
          </p:nvGrpSpPr>
          <p:grpSpPr>
            <a:xfrm>
              <a:off x="384175" y="1218256"/>
              <a:ext cx="7191375" cy="1298576"/>
              <a:chOff x="384175" y="1984375"/>
              <a:chExt cx="7191375" cy="1298576"/>
            </a:xfrm>
          </p:grpSpPr>
          <p:sp>
            <p:nvSpPr>
              <p:cNvPr id="46" name="Freeform 29">
                <a:extLst>
                  <a:ext uri="{FF2B5EF4-FFF2-40B4-BE49-F238E27FC236}">
                    <a16:creationId xmlns:a16="http://schemas.microsoft.com/office/drawing/2014/main" id="{FD5590A8-528C-42E7-895A-6A25E40CF2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175" y="2633663"/>
                <a:ext cx="1290638" cy="649288"/>
              </a:xfrm>
              <a:custGeom>
                <a:avLst/>
                <a:gdLst>
                  <a:gd name="T0" fmla="*/ 233 w 465"/>
                  <a:gd name="T1" fmla="*/ 233 h 233"/>
                  <a:gd name="T2" fmla="*/ 0 w 465"/>
                  <a:gd name="T3" fmla="*/ 0 h 233"/>
                  <a:gd name="T4" fmla="*/ 40 w 465"/>
                  <a:gd name="T5" fmla="*/ 0 h 233"/>
                  <a:gd name="T6" fmla="*/ 233 w 465"/>
                  <a:gd name="T7" fmla="*/ 193 h 233"/>
                  <a:gd name="T8" fmla="*/ 425 w 465"/>
                  <a:gd name="T9" fmla="*/ 0 h 233"/>
                  <a:gd name="T10" fmla="*/ 465 w 465"/>
                  <a:gd name="T11" fmla="*/ 0 h 233"/>
                  <a:gd name="T12" fmla="*/ 233 w 465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5" h="233">
                    <a:moveTo>
                      <a:pt x="233" y="233"/>
                    </a:moveTo>
                    <a:cubicBezTo>
                      <a:pt x="104" y="233"/>
                      <a:pt x="0" y="128"/>
                      <a:pt x="0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0" y="106"/>
                      <a:pt x="127" y="193"/>
                      <a:pt x="233" y="193"/>
                    </a:cubicBezTo>
                    <a:cubicBezTo>
                      <a:pt x="339" y="193"/>
                      <a:pt x="425" y="106"/>
                      <a:pt x="425" y="0"/>
                    </a:cubicBezTo>
                    <a:cubicBezTo>
                      <a:pt x="465" y="0"/>
                      <a:pt x="465" y="0"/>
                      <a:pt x="465" y="0"/>
                    </a:cubicBezTo>
                    <a:cubicBezTo>
                      <a:pt x="465" y="128"/>
                      <a:pt x="361" y="233"/>
                      <a:pt x="233" y="23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9" name="Freeform 34">
                <a:extLst>
                  <a:ext uri="{FF2B5EF4-FFF2-40B4-BE49-F238E27FC236}">
                    <a16:creationId xmlns:a16="http://schemas.microsoft.com/office/drawing/2014/main" id="{3CDD2B4B-2349-457F-99C1-8B6DA1C73A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3688" y="1984375"/>
                <a:ext cx="1292225" cy="649288"/>
              </a:xfrm>
              <a:custGeom>
                <a:avLst/>
                <a:gdLst>
                  <a:gd name="T0" fmla="*/ 466 w 466"/>
                  <a:gd name="T1" fmla="*/ 233 h 233"/>
                  <a:gd name="T2" fmla="*/ 426 w 466"/>
                  <a:gd name="T3" fmla="*/ 233 h 233"/>
                  <a:gd name="T4" fmla="*/ 233 w 466"/>
                  <a:gd name="T5" fmla="*/ 40 h 233"/>
                  <a:gd name="T6" fmla="*/ 40 w 466"/>
                  <a:gd name="T7" fmla="*/ 233 h 233"/>
                  <a:gd name="T8" fmla="*/ 0 w 466"/>
                  <a:gd name="T9" fmla="*/ 233 h 233"/>
                  <a:gd name="T10" fmla="*/ 233 w 466"/>
                  <a:gd name="T11" fmla="*/ 0 h 233"/>
                  <a:gd name="T12" fmla="*/ 466 w 466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6" h="233">
                    <a:moveTo>
                      <a:pt x="466" y="233"/>
                    </a:moveTo>
                    <a:cubicBezTo>
                      <a:pt x="426" y="233"/>
                      <a:pt x="426" y="233"/>
                      <a:pt x="426" y="233"/>
                    </a:cubicBezTo>
                    <a:cubicBezTo>
                      <a:pt x="426" y="127"/>
                      <a:pt x="339" y="40"/>
                      <a:pt x="233" y="40"/>
                    </a:cubicBezTo>
                    <a:cubicBezTo>
                      <a:pt x="127" y="40"/>
                      <a:pt x="40" y="127"/>
                      <a:pt x="40" y="233"/>
                    </a:cubicBezTo>
                    <a:cubicBezTo>
                      <a:pt x="0" y="233"/>
                      <a:pt x="0" y="233"/>
                      <a:pt x="0" y="233"/>
                    </a:cubicBezTo>
                    <a:cubicBezTo>
                      <a:pt x="0" y="104"/>
                      <a:pt x="105" y="0"/>
                      <a:pt x="233" y="0"/>
                    </a:cubicBezTo>
                    <a:cubicBezTo>
                      <a:pt x="362" y="0"/>
                      <a:pt x="466" y="104"/>
                      <a:pt x="466" y="23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60" name="Freeform 35">
                <a:extLst>
                  <a:ext uri="{FF2B5EF4-FFF2-40B4-BE49-F238E27FC236}">
                    <a16:creationId xmlns:a16="http://schemas.microsoft.com/office/drawing/2014/main" id="{F5DCA8A7-FF69-4B7D-8B82-714ED64BED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4788" y="2633663"/>
                <a:ext cx="1289050" cy="649288"/>
              </a:xfrm>
              <a:custGeom>
                <a:avLst/>
                <a:gdLst>
                  <a:gd name="T0" fmla="*/ 233 w 465"/>
                  <a:gd name="T1" fmla="*/ 233 h 233"/>
                  <a:gd name="T2" fmla="*/ 0 w 465"/>
                  <a:gd name="T3" fmla="*/ 0 h 233"/>
                  <a:gd name="T4" fmla="*/ 40 w 465"/>
                  <a:gd name="T5" fmla="*/ 0 h 233"/>
                  <a:gd name="T6" fmla="*/ 233 w 465"/>
                  <a:gd name="T7" fmla="*/ 193 h 233"/>
                  <a:gd name="T8" fmla="*/ 425 w 465"/>
                  <a:gd name="T9" fmla="*/ 0 h 233"/>
                  <a:gd name="T10" fmla="*/ 465 w 465"/>
                  <a:gd name="T11" fmla="*/ 0 h 233"/>
                  <a:gd name="T12" fmla="*/ 233 w 465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5" h="233">
                    <a:moveTo>
                      <a:pt x="233" y="233"/>
                    </a:moveTo>
                    <a:cubicBezTo>
                      <a:pt x="104" y="233"/>
                      <a:pt x="0" y="128"/>
                      <a:pt x="0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0" y="106"/>
                      <a:pt x="126" y="193"/>
                      <a:pt x="233" y="193"/>
                    </a:cubicBezTo>
                    <a:cubicBezTo>
                      <a:pt x="339" y="193"/>
                      <a:pt x="425" y="106"/>
                      <a:pt x="425" y="0"/>
                    </a:cubicBezTo>
                    <a:cubicBezTo>
                      <a:pt x="465" y="0"/>
                      <a:pt x="465" y="0"/>
                      <a:pt x="465" y="0"/>
                    </a:cubicBezTo>
                    <a:cubicBezTo>
                      <a:pt x="465" y="128"/>
                      <a:pt x="361" y="233"/>
                      <a:pt x="233" y="23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61" name="Freeform 40">
                <a:extLst>
                  <a:ext uri="{FF2B5EF4-FFF2-40B4-BE49-F238E27FC236}">
                    <a16:creationId xmlns:a16="http://schemas.microsoft.com/office/drawing/2014/main" id="{FEE3347A-7FE0-49C2-AB9E-4A7EF87CEF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2713" y="1984375"/>
                <a:ext cx="1292225" cy="649288"/>
              </a:xfrm>
              <a:custGeom>
                <a:avLst/>
                <a:gdLst>
                  <a:gd name="T0" fmla="*/ 466 w 466"/>
                  <a:gd name="T1" fmla="*/ 233 h 233"/>
                  <a:gd name="T2" fmla="*/ 426 w 466"/>
                  <a:gd name="T3" fmla="*/ 233 h 233"/>
                  <a:gd name="T4" fmla="*/ 233 w 466"/>
                  <a:gd name="T5" fmla="*/ 40 h 233"/>
                  <a:gd name="T6" fmla="*/ 40 w 466"/>
                  <a:gd name="T7" fmla="*/ 233 h 233"/>
                  <a:gd name="T8" fmla="*/ 0 w 466"/>
                  <a:gd name="T9" fmla="*/ 233 h 233"/>
                  <a:gd name="T10" fmla="*/ 233 w 466"/>
                  <a:gd name="T11" fmla="*/ 0 h 233"/>
                  <a:gd name="T12" fmla="*/ 466 w 466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6" h="233">
                    <a:moveTo>
                      <a:pt x="466" y="233"/>
                    </a:moveTo>
                    <a:cubicBezTo>
                      <a:pt x="426" y="233"/>
                      <a:pt x="426" y="233"/>
                      <a:pt x="426" y="233"/>
                    </a:cubicBezTo>
                    <a:cubicBezTo>
                      <a:pt x="426" y="127"/>
                      <a:pt x="339" y="40"/>
                      <a:pt x="233" y="40"/>
                    </a:cubicBezTo>
                    <a:cubicBezTo>
                      <a:pt x="127" y="40"/>
                      <a:pt x="40" y="127"/>
                      <a:pt x="40" y="233"/>
                    </a:cubicBezTo>
                    <a:cubicBezTo>
                      <a:pt x="0" y="233"/>
                      <a:pt x="0" y="233"/>
                      <a:pt x="0" y="233"/>
                    </a:cubicBezTo>
                    <a:cubicBezTo>
                      <a:pt x="0" y="104"/>
                      <a:pt x="105" y="0"/>
                      <a:pt x="233" y="0"/>
                    </a:cubicBezTo>
                    <a:cubicBezTo>
                      <a:pt x="361" y="0"/>
                      <a:pt x="466" y="104"/>
                      <a:pt x="466" y="23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62" name="Freeform 41">
                <a:extLst>
                  <a:ext uri="{FF2B5EF4-FFF2-40B4-BE49-F238E27FC236}">
                    <a16:creationId xmlns:a16="http://schemas.microsoft.com/office/drawing/2014/main" id="{182C0295-6AA8-4150-BAB8-B8014047BF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3813" y="2633663"/>
                <a:ext cx="1290638" cy="649288"/>
              </a:xfrm>
              <a:custGeom>
                <a:avLst/>
                <a:gdLst>
                  <a:gd name="T0" fmla="*/ 233 w 465"/>
                  <a:gd name="T1" fmla="*/ 233 h 233"/>
                  <a:gd name="T2" fmla="*/ 0 w 465"/>
                  <a:gd name="T3" fmla="*/ 0 h 233"/>
                  <a:gd name="T4" fmla="*/ 40 w 465"/>
                  <a:gd name="T5" fmla="*/ 0 h 233"/>
                  <a:gd name="T6" fmla="*/ 233 w 465"/>
                  <a:gd name="T7" fmla="*/ 193 h 233"/>
                  <a:gd name="T8" fmla="*/ 425 w 465"/>
                  <a:gd name="T9" fmla="*/ 0 h 233"/>
                  <a:gd name="T10" fmla="*/ 465 w 465"/>
                  <a:gd name="T11" fmla="*/ 0 h 233"/>
                  <a:gd name="T12" fmla="*/ 233 w 465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5" h="233">
                    <a:moveTo>
                      <a:pt x="233" y="233"/>
                    </a:moveTo>
                    <a:cubicBezTo>
                      <a:pt x="104" y="233"/>
                      <a:pt x="0" y="128"/>
                      <a:pt x="0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0" y="106"/>
                      <a:pt x="126" y="193"/>
                      <a:pt x="233" y="193"/>
                    </a:cubicBezTo>
                    <a:cubicBezTo>
                      <a:pt x="339" y="193"/>
                      <a:pt x="425" y="106"/>
                      <a:pt x="425" y="0"/>
                    </a:cubicBezTo>
                    <a:cubicBezTo>
                      <a:pt x="465" y="0"/>
                      <a:pt x="465" y="0"/>
                      <a:pt x="465" y="0"/>
                    </a:cubicBezTo>
                    <a:cubicBezTo>
                      <a:pt x="465" y="128"/>
                      <a:pt x="361" y="233"/>
                      <a:pt x="233" y="23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66" name="Freeform 46">
                <a:extLst>
                  <a:ext uri="{FF2B5EF4-FFF2-40B4-BE49-F238E27FC236}">
                    <a16:creationId xmlns:a16="http://schemas.microsoft.com/office/drawing/2014/main" id="{406E5555-51FE-479A-BF32-A920665FAF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3325" y="1984375"/>
                <a:ext cx="1292225" cy="649288"/>
              </a:xfrm>
              <a:custGeom>
                <a:avLst/>
                <a:gdLst>
                  <a:gd name="T0" fmla="*/ 466 w 466"/>
                  <a:gd name="T1" fmla="*/ 233 h 233"/>
                  <a:gd name="T2" fmla="*/ 426 w 466"/>
                  <a:gd name="T3" fmla="*/ 233 h 233"/>
                  <a:gd name="T4" fmla="*/ 233 w 466"/>
                  <a:gd name="T5" fmla="*/ 40 h 233"/>
                  <a:gd name="T6" fmla="*/ 40 w 466"/>
                  <a:gd name="T7" fmla="*/ 233 h 233"/>
                  <a:gd name="T8" fmla="*/ 0 w 466"/>
                  <a:gd name="T9" fmla="*/ 233 h 233"/>
                  <a:gd name="T10" fmla="*/ 233 w 466"/>
                  <a:gd name="T11" fmla="*/ 0 h 233"/>
                  <a:gd name="T12" fmla="*/ 466 w 466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6" h="233">
                    <a:moveTo>
                      <a:pt x="466" y="233"/>
                    </a:moveTo>
                    <a:cubicBezTo>
                      <a:pt x="426" y="233"/>
                      <a:pt x="426" y="233"/>
                      <a:pt x="426" y="233"/>
                    </a:cubicBezTo>
                    <a:cubicBezTo>
                      <a:pt x="426" y="127"/>
                      <a:pt x="339" y="40"/>
                      <a:pt x="233" y="40"/>
                    </a:cubicBezTo>
                    <a:cubicBezTo>
                      <a:pt x="127" y="40"/>
                      <a:pt x="40" y="127"/>
                      <a:pt x="40" y="233"/>
                    </a:cubicBezTo>
                    <a:cubicBezTo>
                      <a:pt x="0" y="233"/>
                      <a:pt x="0" y="233"/>
                      <a:pt x="0" y="233"/>
                    </a:cubicBezTo>
                    <a:cubicBezTo>
                      <a:pt x="0" y="104"/>
                      <a:pt x="105" y="0"/>
                      <a:pt x="233" y="0"/>
                    </a:cubicBezTo>
                    <a:cubicBezTo>
                      <a:pt x="361" y="0"/>
                      <a:pt x="466" y="104"/>
                      <a:pt x="466" y="23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216B4E5-3D85-4007-A357-56A99CC784D1}"/>
                </a:ext>
              </a:extLst>
            </p:cNvPr>
            <p:cNvGrpSpPr/>
            <p:nvPr/>
          </p:nvGrpSpPr>
          <p:grpSpPr>
            <a:xfrm>
              <a:off x="384175" y="1218256"/>
              <a:ext cx="7193867" cy="1298576"/>
              <a:chOff x="384175" y="1984375"/>
              <a:chExt cx="7193867" cy="1298576"/>
            </a:xfrm>
          </p:grpSpPr>
          <p:sp>
            <p:nvSpPr>
              <p:cNvPr id="81" name="Freeform 32">
                <a:extLst>
                  <a:ext uri="{FF2B5EF4-FFF2-40B4-BE49-F238E27FC236}">
                    <a16:creationId xmlns:a16="http://schemas.microsoft.com/office/drawing/2014/main" id="{6CBF3416-669A-4C9F-88ED-C97105156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6180" y="2633663"/>
                <a:ext cx="1292225" cy="649288"/>
              </a:xfrm>
              <a:custGeom>
                <a:avLst/>
                <a:gdLst>
                  <a:gd name="T0" fmla="*/ 233 w 466"/>
                  <a:gd name="T1" fmla="*/ 233 h 233"/>
                  <a:gd name="T2" fmla="*/ 0 w 466"/>
                  <a:gd name="T3" fmla="*/ 0 h 233"/>
                  <a:gd name="T4" fmla="*/ 40 w 466"/>
                  <a:gd name="T5" fmla="*/ 0 h 233"/>
                  <a:gd name="T6" fmla="*/ 233 w 466"/>
                  <a:gd name="T7" fmla="*/ 193 h 233"/>
                  <a:gd name="T8" fmla="*/ 426 w 466"/>
                  <a:gd name="T9" fmla="*/ 0 h 233"/>
                  <a:gd name="T10" fmla="*/ 466 w 466"/>
                  <a:gd name="T11" fmla="*/ 0 h 233"/>
                  <a:gd name="T12" fmla="*/ 233 w 466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6" h="233">
                    <a:moveTo>
                      <a:pt x="233" y="233"/>
                    </a:moveTo>
                    <a:cubicBezTo>
                      <a:pt x="105" y="233"/>
                      <a:pt x="0" y="128"/>
                      <a:pt x="0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0" y="106"/>
                      <a:pt x="127" y="193"/>
                      <a:pt x="233" y="193"/>
                    </a:cubicBezTo>
                    <a:cubicBezTo>
                      <a:pt x="339" y="193"/>
                      <a:pt x="426" y="106"/>
                      <a:pt x="426" y="0"/>
                    </a:cubicBezTo>
                    <a:cubicBezTo>
                      <a:pt x="466" y="0"/>
                      <a:pt x="466" y="0"/>
                      <a:pt x="466" y="0"/>
                    </a:cubicBezTo>
                    <a:cubicBezTo>
                      <a:pt x="466" y="128"/>
                      <a:pt x="362" y="233"/>
                      <a:pt x="233" y="233"/>
                    </a:cubicBezTo>
                    <a:close/>
                  </a:path>
                </a:pathLst>
              </a:custGeom>
              <a:solidFill>
                <a:srgbClr val="5C8EC0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82" name="Freeform 37">
                <a:extLst>
                  <a:ext uri="{FF2B5EF4-FFF2-40B4-BE49-F238E27FC236}">
                    <a16:creationId xmlns:a16="http://schemas.microsoft.com/office/drawing/2014/main" id="{97C5A1D7-5989-4117-81EE-07DF541AEA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4788" y="1984375"/>
                <a:ext cx="1289050" cy="649288"/>
              </a:xfrm>
              <a:custGeom>
                <a:avLst/>
                <a:gdLst>
                  <a:gd name="T0" fmla="*/ 465 w 465"/>
                  <a:gd name="T1" fmla="*/ 233 h 233"/>
                  <a:gd name="T2" fmla="*/ 425 w 465"/>
                  <a:gd name="T3" fmla="*/ 233 h 233"/>
                  <a:gd name="T4" fmla="*/ 233 w 465"/>
                  <a:gd name="T5" fmla="*/ 40 h 233"/>
                  <a:gd name="T6" fmla="*/ 40 w 465"/>
                  <a:gd name="T7" fmla="*/ 233 h 233"/>
                  <a:gd name="T8" fmla="*/ 0 w 465"/>
                  <a:gd name="T9" fmla="*/ 233 h 233"/>
                  <a:gd name="T10" fmla="*/ 233 w 465"/>
                  <a:gd name="T11" fmla="*/ 0 h 233"/>
                  <a:gd name="T12" fmla="*/ 465 w 465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5" h="233">
                    <a:moveTo>
                      <a:pt x="465" y="233"/>
                    </a:moveTo>
                    <a:cubicBezTo>
                      <a:pt x="425" y="233"/>
                      <a:pt x="425" y="233"/>
                      <a:pt x="425" y="233"/>
                    </a:cubicBezTo>
                    <a:cubicBezTo>
                      <a:pt x="425" y="127"/>
                      <a:pt x="339" y="40"/>
                      <a:pt x="233" y="40"/>
                    </a:cubicBezTo>
                    <a:cubicBezTo>
                      <a:pt x="126" y="40"/>
                      <a:pt x="40" y="127"/>
                      <a:pt x="40" y="233"/>
                    </a:cubicBezTo>
                    <a:cubicBezTo>
                      <a:pt x="0" y="233"/>
                      <a:pt x="0" y="233"/>
                      <a:pt x="0" y="233"/>
                    </a:cubicBezTo>
                    <a:cubicBezTo>
                      <a:pt x="0" y="104"/>
                      <a:pt x="104" y="0"/>
                      <a:pt x="233" y="0"/>
                    </a:cubicBezTo>
                    <a:cubicBezTo>
                      <a:pt x="361" y="0"/>
                      <a:pt x="465" y="104"/>
                      <a:pt x="465" y="233"/>
                    </a:cubicBezTo>
                    <a:close/>
                  </a:path>
                </a:pathLst>
              </a:custGeom>
              <a:solidFill>
                <a:srgbClr val="686C86"/>
              </a:solidFill>
              <a:ln>
                <a:solidFill>
                  <a:srgbClr val="686C86"/>
                </a:solidFill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83" name="Freeform 38">
                <a:extLst>
                  <a:ext uri="{FF2B5EF4-FFF2-40B4-BE49-F238E27FC236}">
                    <a16:creationId xmlns:a16="http://schemas.microsoft.com/office/drawing/2014/main" id="{84BCB03A-1E39-494A-8C23-4DA3F604A6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9245" y="2633663"/>
                <a:ext cx="1292225" cy="649288"/>
              </a:xfrm>
              <a:custGeom>
                <a:avLst/>
                <a:gdLst>
                  <a:gd name="T0" fmla="*/ 233 w 466"/>
                  <a:gd name="T1" fmla="*/ 233 h 233"/>
                  <a:gd name="T2" fmla="*/ 0 w 466"/>
                  <a:gd name="T3" fmla="*/ 0 h 233"/>
                  <a:gd name="T4" fmla="*/ 40 w 466"/>
                  <a:gd name="T5" fmla="*/ 0 h 233"/>
                  <a:gd name="T6" fmla="*/ 233 w 466"/>
                  <a:gd name="T7" fmla="*/ 193 h 233"/>
                  <a:gd name="T8" fmla="*/ 426 w 466"/>
                  <a:gd name="T9" fmla="*/ 0 h 233"/>
                  <a:gd name="T10" fmla="*/ 466 w 466"/>
                  <a:gd name="T11" fmla="*/ 0 h 233"/>
                  <a:gd name="T12" fmla="*/ 233 w 466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6" h="233">
                    <a:moveTo>
                      <a:pt x="233" y="233"/>
                    </a:moveTo>
                    <a:cubicBezTo>
                      <a:pt x="105" y="233"/>
                      <a:pt x="0" y="128"/>
                      <a:pt x="0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0" y="106"/>
                      <a:pt x="127" y="193"/>
                      <a:pt x="233" y="193"/>
                    </a:cubicBezTo>
                    <a:cubicBezTo>
                      <a:pt x="339" y="193"/>
                      <a:pt x="426" y="106"/>
                      <a:pt x="426" y="0"/>
                    </a:cubicBezTo>
                    <a:cubicBezTo>
                      <a:pt x="466" y="0"/>
                      <a:pt x="466" y="0"/>
                      <a:pt x="466" y="0"/>
                    </a:cubicBezTo>
                    <a:cubicBezTo>
                      <a:pt x="466" y="128"/>
                      <a:pt x="361" y="233"/>
                      <a:pt x="233" y="233"/>
                    </a:cubicBezTo>
                    <a:close/>
                  </a:path>
                </a:pathLst>
              </a:custGeom>
              <a:solidFill>
                <a:srgbClr val="0E7FBE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84" name="Freeform 43">
                <a:extLst>
                  <a:ext uri="{FF2B5EF4-FFF2-40B4-BE49-F238E27FC236}">
                    <a16:creationId xmlns:a16="http://schemas.microsoft.com/office/drawing/2014/main" id="{A00F11F0-FC4E-454E-8FE3-DB3CB3E86B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3813" y="1984375"/>
                <a:ext cx="1290638" cy="649288"/>
              </a:xfrm>
              <a:custGeom>
                <a:avLst/>
                <a:gdLst>
                  <a:gd name="T0" fmla="*/ 465 w 465"/>
                  <a:gd name="T1" fmla="*/ 233 h 233"/>
                  <a:gd name="T2" fmla="*/ 425 w 465"/>
                  <a:gd name="T3" fmla="*/ 233 h 233"/>
                  <a:gd name="T4" fmla="*/ 233 w 465"/>
                  <a:gd name="T5" fmla="*/ 40 h 233"/>
                  <a:gd name="T6" fmla="*/ 40 w 465"/>
                  <a:gd name="T7" fmla="*/ 233 h 233"/>
                  <a:gd name="T8" fmla="*/ 0 w 465"/>
                  <a:gd name="T9" fmla="*/ 233 h 233"/>
                  <a:gd name="T10" fmla="*/ 233 w 465"/>
                  <a:gd name="T11" fmla="*/ 0 h 233"/>
                  <a:gd name="T12" fmla="*/ 465 w 465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5" h="233">
                    <a:moveTo>
                      <a:pt x="465" y="233"/>
                    </a:moveTo>
                    <a:cubicBezTo>
                      <a:pt x="425" y="233"/>
                      <a:pt x="425" y="233"/>
                      <a:pt x="425" y="233"/>
                    </a:cubicBezTo>
                    <a:cubicBezTo>
                      <a:pt x="425" y="127"/>
                      <a:pt x="339" y="40"/>
                      <a:pt x="233" y="40"/>
                    </a:cubicBezTo>
                    <a:cubicBezTo>
                      <a:pt x="126" y="40"/>
                      <a:pt x="40" y="127"/>
                      <a:pt x="40" y="233"/>
                    </a:cubicBezTo>
                    <a:cubicBezTo>
                      <a:pt x="0" y="233"/>
                      <a:pt x="0" y="233"/>
                      <a:pt x="0" y="233"/>
                    </a:cubicBezTo>
                    <a:cubicBezTo>
                      <a:pt x="0" y="104"/>
                      <a:pt x="104" y="0"/>
                      <a:pt x="233" y="0"/>
                    </a:cubicBezTo>
                    <a:cubicBezTo>
                      <a:pt x="361" y="0"/>
                      <a:pt x="465" y="104"/>
                      <a:pt x="465" y="233"/>
                    </a:cubicBezTo>
                    <a:close/>
                  </a:path>
                </a:pathLst>
              </a:custGeom>
              <a:solidFill>
                <a:srgbClr val="345E88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85" name="Freeform 44">
                <a:extLst>
                  <a:ext uri="{FF2B5EF4-FFF2-40B4-BE49-F238E27FC236}">
                    <a16:creationId xmlns:a16="http://schemas.microsoft.com/office/drawing/2014/main" id="{98711897-7CCD-4433-A262-6D9BBB4D1F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5817" y="2633663"/>
                <a:ext cx="1292225" cy="649288"/>
              </a:xfrm>
              <a:custGeom>
                <a:avLst/>
                <a:gdLst>
                  <a:gd name="T0" fmla="*/ 233 w 466"/>
                  <a:gd name="T1" fmla="*/ 233 h 233"/>
                  <a:gd name="T2" fmla="*/ 0 w 466"/>
                  <a:gd name="T3" fmla="*/ 0 h 233"/>
                  <a:gd name="T4" fmla="*/ 40 w 466"/>
                  <a:gd name="T5" fmla="*/ 0 h 233"/>
                  <a:gd name="T6" fmla="*/ 233 w 466"/>
                  <a:gd name="T7" fmla="*/ 193 h 233"/>
                  <a:gd name="T8" fmla="*/ 426 w 466"/>
                  <a:gd name="T9" fmla="*/ 0 h 233"/>
                  <a:gd name="T10" fmla="*/ 466 w 466"/>
                  <a:gd name="T11" fmla="*/ 0 h 233"/>
                  <a:gd name="T12" fmla="*/ 233 w 466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6" h="233">
                    <a:moveTo>
                      <a:pt x="233" y="233"/>
                    </a:moveTo>
                    <a:cubicBezTo>
                      <a:pt x="105" y="233"/>
                      <a:pt x="0" y="128"/>
                      <a:pt x="0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0" y="106"/>
                      <a:pt x="127" y="193"/>
                      <a:pt x="233" y="193"/>
                    </a:cubicBezTo>
                    <a:cubicBezTo>
                      <a:pt x="339" y="193"/>
                      <a:pt x="426" y="106"/>
                      <a:pt x="426" y="0"/>
                    </a:cubicBezTo>
                    <a:cubicBezTo>
                      <a:pt x="466" y="0"/>
                      <a:pt x="466" y="0"/>
                      <a:pt x="466" y="0"/>
                    </a:cubicBezTo>
                    <a:cubicBezTo>
                      <a:pt x="466" y="128"/>
                      <a:pt x="361" y="233"/>
                      <a:pt x="233" y="233"/>
                    </a:cubicBezTo>
                    <a:close/>
                  </a:path>
                </a:pathLst>
              </a:custGeom>
              <a:solidFill>
                <a:srgbClr val="084A6E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87" name="Freeform 31">
                <a:extLst>
                  <a:ext uri="{FF2B5EF4-FFF2-40B4-BE49-F238E27FC236}">
                    <a16:creationId xmlns:a16="http://schemas.microsoft.com/office/drawing/2014/main" id="{6E54C306-FADD-4326-8C12-A49334D894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175" y="1984375"/>
                <a:ext cx="1290638" cy="649288"/>
              </a:xfrm>
              <a:custGeom>
                <a:avLst/>
                <a:gdLst>
                  <a:gd name="T0" fmla="*/ 465 w 465"/>
                  <a:gd name="T1" fmla="*/ 233 h 233"/>
                  <a:gd name="T2" fmla="*/ 425 w 465"/>
                  <a:gd name="T3" fmla="*/ 233 h 233"/>
                  <a:gd name="T4" fmla="*/ 233 w 465"/>
                  <a:gd name="T5" fmla="*/ 40 h 233"/>
                  <a:gd name="T6" fmla="*/ 40 w 465"/>
                  <a:gd name="T7" fmla="*/ 233 h 233"/>
                  <a:gd name="T8" fmla="*/ 0 w 465"/>
                  <a:gd name="T9" fmla="*/ 233 h 233"/>
                  <a:gd name="T10" fmla="*/ 233 w 465"/>
                  <a:gd name="T11" fmla="*/ 0 h 233"/>
                  <a:gd name="T12" fmla="*/ 465 w 465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5" h="233">
                    <a:moveTo>
                      <a:pt x="465" y="233"/>
                    </a:moveTo>
                    <a:cubicBezTo>
                      <a:pt x="425" y="233"/>
                      <a:pt x="425" y="233"/>
                      <a:pt x="425" y="233"/>
                    </a:cubicBezTo>
                    <a:cubicBezTo>
                      <a:pt x="425" y="127"/>
                      <a:pt x="339" y="40"/>
                      <a:pt x="233" y="40"/>
                    </a:cubicBezTo>
                    <a:cubicBezTo>
                      <a:pt x="127" y="40"/>
                      <a:pt x="40" y="127"/>
                      <a:pt x="40" y="233"/>
                    </a:cubicBezTo>
                    <a:cubicBezTo>
                      <a:pt x="0" y="233"/>
                      <a:pt x="0" y="233"/>
                      <a:pt x="0" y="233"/>
                    </a:cubicBezTo>
                    <a:cubicBezTo>
                      <a:pt x="0" y="104"/>
                      <a:pt x="104" y="0"/>
                      <a:pt x="233" y="0"/>
                    </a:cubicBezTo>
                    <a:cubicBezTo>
                      <a:pt x="361" y="0"/>
                      <a:pt x="465" y="104"/>
                      <a:pt x="465" y="233"/>
                    </a:cubicBezTo>
                    <a:close/>
                  </a:path>
                </a:pathLst>
              </a:custGeom>
              <a:solidFill>
                <a:srgbClr val="00D0CB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5EF942B-5084-4B85-8D74-DD795C3A45FD}"/>
              </a:ext>
            </a:extLst>
          </p:cNvPr>
          <p:cNvGrpSpPr/>
          <p:nvPr/>
        </p:nvGrpSpPr>
        <p:grpSpPr>
          <a:xfrm>
            <a:off x="1822981" y="3681133"/>
            <a:ext cx="495019" cy="1122060"/>
            <a:chOff x="843862" y="2760849"/>
            <a:chExt cx="371264" cy="841545"/>
          </a:xfrm>
        </p:grpSpPr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90C6BF72-4B2D-4D6A-A91C-0A2AF2D29FB3}"/>
                </a:ext>
              </a:extLst>
            </p:cNvPr>
            <p:cNvGrpSpPr/>
            <p:nvPr/>
          </p:nvGrpSpPr>
          <p:grpSpPr>
            <a:xfrm>
              <a:off x="843862" y="2760849"/>
              <a:ext cx="371264" cy="374570"/>
              <a:chOff x="843862" y="2699215"/>
              <a:chExt cx="371264" cy="374570"/>
            </a:xfrm>
          </p:grpSpPr>
          <p:sp>
            <p:nvSpPr>
              <p:cNvPr id="89" name="Oval 30">
                <a:extLst>
                  <a:ext uri="{FF2B5EF4-FFF2-40B4-BE49-F238E27FC236}">
                    <a16:creationId xmlns:a16="http://schemas.microsoft.com/office/drawing/2014/main" id="{F91A8CC7-BB1B-4972-BB8B-733139261F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3862" y="2699215"/>
                <a:ext cx="371264" cy="374570"/>
              </a:xfrm>
              <a:prstGeom prst="ellipse">
                <a:avLst/>
              </a:prstGeom>
              <a:solidFill>
                <a:srgbClr val="00D0CB">
                  <a:alpha val="50000"/>
                </a:srgbClr>
              </a:solidFill>
              <a:ln w="11113" cap="rnd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90" name="Oval 30">
                <a:extLst>
                  <a:ext uri="{FF2B5EF4-FFF2-40B4-BE49-F238E27FC236}">
                    <a16:creationId xmlns:a16="http://schemas.microsoft.com/office/drawing/2014/main" id="{3BA5932C-1E04-48C2-9D3B-3BCFAAA8F3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0329" y="2786452"/>
                <a:ext cx="198330" cy="200096"/>
              </a:xfrm>
              <a:prstGeom prst="ellipse">
                <a:avLst/>
              </a:prstGeom>
              <a:solidFill>
                <a:srgbClr val="00D0CB"/>
              </a:solidFill>
              <a:ln w="11113" cap="rnd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F97B528C-7807-4690-A48E-C5C6CC659507}"/>
                </a:ext>
              </a:extLst>
            </p:cNvPr>
            <p:cNvCxnSpPr>
              <a:cxnSpLocks/>
            </p:cNvCxnSpPr>
            <p:nvPr/>
          </p:nvCxnSpPr>
          <p:spPr>
            <a:xfrm>
              <a:off x="1030934" y="3046772"/>
              <a:ext cx="0" cy="555622"/>
            </a:xfrm>
            <a:prstGeom prst="line">
              <a:avLst/>
            </a:prstGeom>
            <a:ln w="19050">
              <a:solidFill>
                <a:srgbClr val="00D0CB"/>
              </a:solidFill>
              <a:prstDash val="solid"/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AFD1A87-DB97-4B22-975D-99A158635070}"/>
              </a:ext>
            </a:extLst>
          </p:cNvPr>
          <p:cNvGrpSpPr/>
          <p:nvPr/>
        </p:nvGrpSpPr>
        <p:grpSpPr>
          <a:xfrm>
            <a:off x="4968672" y="3681131"/>
            <a:ext cx="496488" cy="1122061"/>
            <a:chOff x="3203130" y="2760848"/>
            <a:chExt cx="372366" cy="841546"/>
          </a:xfrm>
        </p:grpSpPr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A12A8FDE-19BA-48CB-88D7-D81699CEF9D5}"/>
                </a:ext>
              </a:extLst>
            </p:cNvPr>
            <p:cNvGrpSpPr/>
            <p:nvPr/>
          </p:nvGrpSpPr>
          <p:grpSpPr>
            <a:xfrm>
              <a:off x="3203130" y="2760848"/>
              <a:ext cx="372366" cy="374572"/>
              <a:chOff x="3203130" y="2699214"/>
              <a:chExt cx="372366" cy="374572"/>
            </a:xfrm>
          </p:grpSpPr>
          <p:sp>
            <p:nvSpPr>
              <p:cNvPr id="95" name="Oval 36">
                <a:extLst>
                  <a:ext uri="{FF2B5EF4-FFF2-40B4-BE49-F238E27FC236}">
                    <a16:creationId xmlns:a16="http://schemas.microsoft.com/office/drawing/2014/main" id="{FD8F4F7B-8465-4DC4-8609-DB74537351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03130" y="2699214"/>
                <a:ext cx="372366" cy="374572"/>
              </a:xfrm>
              <a:prstGeom prst="ellipse">
                <a:avLst/>
              </a:prstGeom>
              <a:solidFill>
                <a:srgbClr val="686C86">
                  <a:alpha val="50000"/>
                </a:srgbClr>
              </a:solidFill>
              <a:ln w="11113" cap="rnd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96" name="Oval 36">
                <a:extLst>
                  <a:ext uri="{FF2B5EF4-FFF2-40B4-BE49-F238E27FC236}">
                    <a16:creationId xmlns:a16="http://schemas.microsoft.com/office/drawing/2014/main" id="{CDD12600-5547-4B9D-8567-30A20CA061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89854" y="2786452"/>
                <a:ext cx="198918" cy="200096"/>
              </a:xfrm>
              <a:prstGeom prst="ellipse">
                <a:avLst/>
              </a:prstGeom>
              <a:solidFill>
                <a:srgbClr val="686C86"/>
              </a:solidFill>
              <a:ln w="11113" cap="rnd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101B5BF7-4BE1-40E4-8CF3-35A9F0034EAC}"/>
                </a:ext>
              </a:extLst>
            </p:cNvPr>
            <p:cNvCxnSpPr>
              <a:cxnSpLocks/>
            </p:cNvCxnSpPr>
            <p:nvPr/>
          </p:nvCxnSpPr>
          <p:spPr>
            <a:xfrm>
              <a:off x="3389313" y="3046772"/>
              <a:ext cx="0" cy="555622"/>
            </a:xfrm>
            <a:prstGeom prst="line">
              <a:avLst/>
            </a:prstGeom>
            <a:ln w="19050">
              <a:solidFill>
                <a:srgbClr val="686C86"/>
              </a:solidFill>
              <a:prstDash val="solid"/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0725EEC-D500-4737-9E0E-51D737200127}"/>
              </a:ext>
            </a:extLst>
          </p:cNvPr>
          <p:cNvGrpSpPr/>
          <p:nvPr/>
        </p:nvGrpSpPr>
        <p:grpSpPr>
          <a:xfrm>
            <a:off x="8115832" y="3681133"/>
            <a:ext cx="495019" cy="1122060"/>
            <a:chOff x="5563500" y="2760849"/>
            <a:chExt cx="371264" cy="841545"/>
          </a:xfrm>
        </p:grpSpPr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07FB4A11-065F-4EAD-A4C3-3D486DE1AD45}"/>
                </a:ext>
              </a:extLst>
            </p:cNvPr>
            <p:cNvGrpSpPr/>
            <p:nvPr/>
          </p:nvGrpSpPr>
          <p:grpSpPr>
            <a:xfrm>
              <a:off x="5563500" y="2760849"/>
              <a:ext cx="371264" cy="374570"/>
              <a:chOff x="5563500" y="2699215"/>
              <a:chExt cx="371264" cy="374570"/>
            </a:xfrm>
          </p:grpSpPr>
          <p:sp>
            <p:nvSpPr>
              <p:cNvPr id="101" name="Oval 42">
                <a:extLst>
                  <a:ext uri="{FF2B5EF4-FFF2-40B4-BE49-F238E27FC236}">
                    <a16:creationId xmlns:a16="http://schemas.microsoft.com/office/drawing/2014/main" id="{CE8E39A8-9B56-49EF-814B-B267D149AB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63500" y="2699215"/>
                <a:ext cx="371264" cy="374570"/>
              </a:xfrm>
              <a:prstGeom prst="ellipse">
                <a:avLst/>
              </a:prstGeom>
              <a:solidFill>
                <a:srgbClr val="345E88">
                  <a:alpha val="50000"/>
                </a:srgbClr>
              </a:solidFill>
              <a:ln w="11113" cap="rnd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02" name="Oval 42">
                <a:extLst>
                  <a:ext uri="{FF2B5EF4-FFF2-40B4-BE49-F238E27FC236}">
                    <a16:creationId xmlns:a16="http://schemas.microsoft.com/office/drawing/2014/main" id="{51AEBAAE-E9E3-433F-A945-EC735E0AC5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9967" y="2786452"/>
                <a:ext cx="198330" cy="200096"/>
              </a:xfrm>
              <a:prstGeom prst="ellipse">
                <a:avLst/>
              </a:prstGeom>
              <a:solidFill>
                <a:srgbClr val="345E88"/>
              </a:solidFill>
              <a:ln w="11113" cap="rnd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41C08E5-BFD8-4D8A-9D03-042CC45138C5}"/>
                </a:ext>
              </a:extLst>
            </p:cNvPr>
            <p:cNvCxnSpPr>
              <a:cxnSpLocks/>
            </p:cNvCxnSpPr>
            <p:nvPr/>
          </p:nvCxnSpPr>
          <p:spPr>
            <a:xfrm>
              <a:off x="5749132" y="3046772"/>
              <a:ext cx="0" cy="555622"/>
            </a:xfrm>
            <a:prstGeom prst="line">
              <a:avLst/>
            </a:prstGeom>
            <a:ln w="19050">
              <a:solidFill>
                <a:srgbClr val="345E88"/>
              </a:solidFill>
              <a:prstDash val="solid"/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D1BFF41-081F-4A72-8947-097A72E579E1}"/>
              </a:ext>
            </a:extLst>
          </p:cNvPr>
          <p:cNvGrpSpPr/>
          <p:nvPr/>
        </p:nvGrpSpPr>
        <p:grpSpPr>
          <a:xfrm>
            <a:off x="3397781" y="3681128"/>
            <a:ext cx="495019" cy="1858788"/>
            <a:chOff x="2024962" y="2760849"/>
            <a:chExt cx="371264" cy="1394092"/>
          </a:xfrm>
        </p:grpSpPr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D33FA044-3B1D-423A-B5DD-812E4554B314}"/>
                </a:ext>
              </a:extLst>
            </p:cNvPr>
            <p:cNvGrpSpPr/>
            <p:nvPr/>
          </p:nvGrpSpPr>
          <p:grpSpPr>
            <a:xfrm>
              <a:off x="2024962" y="2760849"/>
              <a:ext cx="371264" cy="374570"/>
              <a:chOff x="2024962" y="2699215"/>
              <a:chExt cx="371264" cy="374570"/>
            </a:xfrm>
          </p:grpSpPr>
          <p:sp>
            <p:nvSpPr>
              <p:cNvPr id="92" name="Oval 33">
                <a:extLst>
                  <a:ext uri="{FF2B5EF4-FFF2-40B4-BE49-F238E27FC236}">
                    <a16:creationId xmlns:a16="http://schemas.microsoft.com/office/drawing/2014/main" id="{041F4BBC-3FD0-4E5D-8CAE-BF4EA37144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24962" y="2699215"/>
                <a:ext cx="371264" cy="374570"/>
              </a:xfrm>
              <a:prstGeom prst="ellipse">
                <a:avLst/>
              </a:prstGeom>
              <a:solidFill>
                <a:srgbClr val="5C8EC0">
                  <a:alpha val="50000"/>
                </a:srgbClr>
              </a:solidFill>
              <a:ln w="11113" cap="rnd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93" name="Oval 33">
                <a:extLst>
                  <a:ext uri="{FF2B5EF4-FFF2-40B4-BE49-F238E27FC236}">
                    <a16:creationId xmlns:a16="http://schemas.microsoft.com/office/drawing/2014/main" id="{9FB3C1B4-8404-44A2-9F4E-28A9827385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1429" y="2786452"/>
                <a:ext cx="198330" cy="200096"/>
              </a:xfrm>
              <a:prstGeom prst="ellipse">
                <a:avLst/>
              </a:prstGeom>
              <a:solidFill>
                <a:srgbClr val="5C8EC0"/>
              </a:solidFill>
              <a:ln w="11113" cap="rnd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7E0ADF11-CB43-4967-BBA0-5163FC2C41A0}"/>
                </a:ext>
              </a:extLst>
            </p:cNvPr>
            <p:cNvCxnSpPr>
              <a:cxnSpLocks/>
              <a:stCxn id="92" idx="4"/>
            </p:cNvCxnSpPr>
            <p:nvPr/>
          </p:nvCxnSpPr>
          <p:spPr>
            <a:xfrm>
              <a:off x="2210594" y="3135419"/>
              <a:ext cx="0" cy="1019522"/>
            </a:xfrm>
            <a:prstGeom prst="line">
              <a:avLst/>
            </a:prstGeom>
            <a:ln w="19050">
              <a:solidFill>
                <a:srgbClr val="5C8EC0"/>
              </a:solidFill>
              <a:prstDash val="solid"/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2CE2FB4-8AED-4758-8088-F745D5ABAD46}"/>
              </a:ext>
            </a:extLst>
          </p:cNvPr>
          <p:cNvGrpSpPr/>
          <p:nvPr/>
        </p:nvGrpSpPr>
        <p:grpSpPr>
          <a:xfrm>
            <a:off x="6541679" y="3681136"/>
            <a:ext cx="497960" cy="1858824"/>
            <a:chOff x="4382885" y="2760849"/>
            <a:chExt cx="373470" cy="1394117"/>
          </a:xfrm>
        </p:grpSpPr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C3234487-A360-4782-B829-38DBAC34CA4A}"/>
                </a:ext>
              </a:extLst>
            </p:cNvPr>
            <p:cNvGrpSpPr/>
            <p:nvPr/>
          </p:nvGrpSpPr>
          <p:grpSpPr>
            <a:xfrm>
              <a:off x="4382885" y="2760849"/>
              <a:ext cx="373470" cy="374570"/>
              <a:chOff x="4382885" y="2699215"/>
              <a:chExt cx="373470" cy="374570"/>
            </a:xfrm>
          </p:grpSpPr>
          <p:sp>
            <p:nvSpPr>
              <p:cNvPr id="98" name="Oval 39">
                <a:extLst>
                  <a:ext uri="{FF2B5EF4-FFF2-40B4-BE49-F238E27FC236}">
                    <a16:creationId xmlns:a16="http://schemas.microsoft.com/office/drawing/2014/main" id="{5FAC393C-0F93-4D3F-97A8-3B358F3587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82885" y="2699215"/>
                <a:ext cx="373470" cy="374570"/>
              </a:xfrm>
              <a:prstGeom prst="ellipse">
                <a:avLst/>
              </a:prstGeom>
              <a:solidFill>
                <a:srgbClr val="0E7FBE">
                  <a:alpha val="50000"/>
                </a:srgbClr>
              </a:solidFill>
              <a:ln w="11113" cap="rnd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99" name="Oval 39">
                <a:extLst>
                  <a:ext uri="{FF2B5EF4-FFF2-40B4-BE49-F238E27FC236}">
                    <a16:creationId xmlns:a16="http://schemas.microsoft.com/office/drawing/2014/main" id="{483FCAFC-A7D5-450A-AF11-10FEEA3924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69866" y="2786452"/>
                <a:ext cx="199508" cy="200096"/>
              </a:xfrm>
              <a:prstGeom prst="ellipse">
                <a:avLst/>
              </a:prstGeom>
              <a:solidFill>
                <a:srgbClr val="0E7FBE"/>
              </a:solidFill>
              <a:ln w="11113" cap="rnd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480DF7B3-90D0-482D-8FA9-6364EC928386}"/>
                </a:ext>
              </a:extLst>
            </p:cNvPr>
            <p:cNvCxnSpPr>
              <a:cxnSpLocks/>
              <a:stCxn id="98" idx="4"/>
            </p:cNvCxnSpPr>
            <p:nvPr/>
          </p:nvCxnSpPr>
          <p:spPr>
            <a:xfrm>
              <a:off x="4569620" y="3135419"/>
              <a:ext cx="0" cy="1019547"/>
            </a:xfrm>
            <a:prstGeom prst="line">
              <a:avLst/>
            </a:prstGeom>
            <a:ln w="19050">
              <a:solidFill>
                <a:srgbClr val="0E7FBE"/>
              </a:solidFill>
              <a:prstDash val="solid"/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B66499D0-792D-43E9-9C5D-1306621A4A5C}"/>
              </a:ext>
            </a:extLst>
          </p:cNvPr>
          <p:cNvGrpSpPr/>
          <p:nvPr/>
        </p:nvGrpSpPr>
        <p:grpSpPr>
          <a:xfrm>
            <a:off x="9687045" y="3681136"/>
            <a:ext cx="497960" cy="1863576"/>
            <a:chOff x="6741910" y="2760849"/>
            <a:chExt cx="373470" cy="1397681"/>
          </a:xfrm>
        </p:grpSpPr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2C6E8238-92BE-4F66-8B4A-9A1A79F4A3CD}"/>
                </a:ext>
              </a:extLst>
            </p:cNvPr>
            <p:cNvGrpSpPr/>
            <p:nvPr/>
          </p:nvGrpSpPr>
          <p:grpSpPr>
            <a:xfrm>
              <a:off x="6741910" y="2760849"/>
              <a:ext cx="373470" cy="374570"/>
              <a:chOff x="6741910" y="2699215"/>
              <a:chExt cx="373470" cy="374570"/>
            </a:xfrm>
          </p:grpSpPr>
          <p:sp>
            <p:nvSpPr>
              <p:cNvPr id="104" name="Oval 45">
                <a:extLst>
                  <a:ext uri="{FF2B5EF4-FFF2-40B4-BE49-F238E27FC236}">
                    <a16:creationId xmlns:a16="http://schemas.microsoft.com/office/drawing/2014/main" id="{D940CD4B-19CA-4110-B94F-3C3839BB2D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41910" y="2699215"/>
                <a:ext cx="373470" cy="374570"/>
              </a:xfrm>
              <a:prstGeom prst="ellipse">
                <a:avLst/>
              </a:prstGeom>
              <a:solidFill>
                <a:srgbClr val="084A6E">
                  <a:alpha val="50000"/>
                </a:srgbClr>
              </a:solidFill>
              <a:ln w="11113" cap="rnd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05" name="Oval 45">
                <a:extLst>
                  <a:ext uri="{FF2B5EF4-FFF2-40B4-BE49-F238E27FC236}">
                    <a16:creationId xmlns:a16="http://schemas.microsoft.com/office/drawing/2014/main" id="{C8FFD5EF-6B3A-49F6-B88F-2C6AD4A10D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28891" y="2786452"/>
                <a:ext cx="199508" cy="200096"/>
              </a:xfrm>
              <a:prstGeom prst="ellipse">
                <a:avLst/>
              </a:prstGeom>
              <a:solidFill>
                <a:srgbClr val="084A6E"/>
              </a:solidFill>
              <a:ln w="11113" cap="rnd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C6F62FAE-A787-433D-8CA5-B22B67958DE9}"/>
                </a:ext>
              </a:extLst>
            </p:cNvPr>
            <p:cNvCxnSpPr>
              <a:cxnSpLocks/>
              <a:stCxn id="104" idx="4"/>
            </p:cNvCxnSpPr>
            <p:nvPr/>
          </p:nvCxnSpPr>
          <p:spPr>
            <a:xfrm>
              <a:off x="6928645" y="3135419"/>
              <a:ext cx="0" cy="1023111"/>
            </a:xfrm>
            <a:prstGeom prst="line">
              <a:avLst/>
            </a:prstGeom>
            <a:ln w="19050">
              <a:solidFill>
                <a:srgbClr val="084A6E"/>
              </a:solidFill>
              <a:prstDash val="solid"/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AFC5F76B-3FFD-83B3-C4B2-4F1C8BBB3877}"/>
              </a:ext>
            </a:extLst>
          </p:cNvPr>
          <p:cNvSpPr/>
          <p:nvPr/>
        </p:nvSpPr>
        <p:spPr>
          <a:xfrm>
            <a:off x="717825" y="4845106"/>
            <a:ext cx="268649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/>
              <a:t>Assess Business Requiremen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CB73C7E-AA5C-43F2-2CD4-AF92C430FF85}"/>
              </a:ext>
            </a:extLst>
          </p:cNvPr>
          <p:cNvSpPr/>
          <p:nvPr/>
        </p:nvSpPr>
        <p:spPr>
          <a:xfrm>
            <a:off x="2302043" y="5567079"/>
            <a:ext cx="268649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/>
              <a:t>Plan </a:t>
            </a:r>
            <a:r>
              <a:rPr lang="en-US" sz="1400" err="1"/>
              <a:t>Polarion</a:t>
            </a:r>
            <a:r>
              <a:rPr lang="en-US" sz="1400"/>
              <a:t> Configura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03E045E-F8B3-FA8D-6440-578B15406B12}"/>
              </a:ext>
            </a:extLst>
          </p:cNvPr>
          <p:cNvSpPr/>
          <p:nvPr/>
        </p:nvSpPr>
        <p:spPr>
          <a:xfrm>
            <a:off x="3883239" y="4842387"/>
            <a:ext cx="268649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/>
              <a:t>Install and </a:t>
            </a:r>
          </a:p>
          <a:p>
            <a:pPr algn="ctr"/>
            <a:r>
              <a:rPr lang="en-US" sz="1400"/>
              <a:t>Set Up </a:t>
            </a:r>
            <a:r>
              <a:rPr lang="en-US" sz="1400" err="1"/>
              <a:t>Polarion</a:t>
            </a:r>
            <a:endParaRPr lang="en-US" sz="14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FF62767-2300-2628-D2A3-AC1D28727F50}"/>
              </a:ext>
            </a:extLst>
          </p:cNvPr>
          <p:cNvSpPr/>
          <p:nvPr/>
        </p:nvSpPr>
        <p:spPr>
          <a:xfrm>
            <a:off x="5448371" y="5562886"/>
            <a:ext cx="268649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/>
              <a:t>Configure Projects </a:t>
            </a:r>
          </a:p>
          <a:p>
            <a:pPr algn="ctr"/>
            <a:r>
              <a:rPr lang="en-US" sz="1400"/>
              <a:t>and Workflow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4081359-6CD1-10C5-FA7C-08CDB5CC0782}"/>
              </a:ext>
            </a:extLst>
          </p:cNvPr>
          <p:cNvSpPr/>
          <p:nvPr/>
        </p:nvSpPr>
        <p:spPr>
          <a:xfrm>
            <a:off x="7008620" y="4854419"/>
            <a:ext cx="268649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/>
              <a:t>Train Users and </a:t>
            </a:r>
          </a:p>
          <a:p>
            <a:pPr algn="ctr"/>
            <a:r>
              <a:rPr lang="en-US" sz="1400"/>
              <a:t>Roll Ou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A7C535F-B2DE-9F88-5ABA-C8B4CF2210F3}"/>
              </a:ext>
            </a:extLst>
          </p:cNvPr>
          <p:cNvSpPr/>
          <p:nvPr/>
        </p:nvSpPr>
        <p:spPr>
          <a:xfrm>
            <a:off x="8597816" y="5574918"/>
            <a:ext cx="268649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/>
              <a:t>Ongoing Maintenance </a:t>
            </a:r>
          </a:p>
          <a:p>
            <a:pPr algn="ctr"/>
            <a:r>
              <a:rPr lang="en-US" sz="1400"/>
              <a:t>and Suppor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71CF1C5-1D10-A5F4-BDD3-FA06ADF26D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err="1">
                <a:latin typeface="Montserrat SemiBold"/>
              </a:rPr>
              <a:t>Polarion</a:t>
            </a:r>
            <a:r>
              <a:rPr lang="en-IN">
                <a:latin typeface="Montserrat SemiBold"/>
              </a:rPr>
              <a:t> Implementation</a:t>
            </a:r>
            <a:endParaRPr lang="en-US" sz="2000"/>
          </a:p>
        </p:txBody>
      </p:sp>
      <p:pic>
        <p:nvPicPr>
          <p:cNvPr id="6" name="Grafik 5" descr="Klemmbrett gemischt Silhouette">
            <a:extLst>
              <a:ext uri="{FF2B5EF4-FFF2-40B4-BE49-F238E27FC236}">
                <a16:creationId xmlns:a16="http://schemas.microsoft.com/office/drawing/2014/main" id="{959BED38-2FE0-3E4E-45DD-AACB753272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92949" y="2155334"/>
            <a:ext cx="722523" cy="722523"/>
          </a:xfrm>
          <a:prstGeom prst="rect">
            <a:avLst/>
          </a:prstGeom>
        </p:spPr>
      </p:pic>
      <p:pic>
        <p:nvPicPr>
          <p:cNvPr id="8" name="Grafik 7" descr="Tageskalender Silhouette">
            <a:extLst>
              <a:ext uri="{FF2B5EF4-FFF2-40B4-BE49-F238E27FC236}">
                <a16:creationId xmlns:a16="http://schemas.microsoft.com/office/drawing/2014/main" id="{91D434C9-B41B-ECD3-F4AB-089DCF6A1C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52364" y="2063714"/>
            <a:ext cx="773823" cy="773823"/>
          </a:xfrm>
          <a:prstGeom prst="rect">
            <a:avLst/>
          </a:prstGeom>
        </p:spPr>
      </p:pic>
      <p:pic>
        <p:nvPicPr>
          <p:cNvPr id="31" name="Grafik 30" descr="Klassenzimmer Silhouette">
            <a:extLst>
              <a:ext uri="{FF2B5EF4-FFF2-40B4-BE49-F238E27FC236}">
                <a16:creationId xmlns:a16="http://schemas.microsoft.com/office/drawing/2014/main" id="{F75F6F73-6C89-4803-30E4-2A8EDF013A2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96324" y="2067694"/>
            <a:ext cx="734033" cy="734033"/>
          </a:xfrm>
          <a:prstGeom prst="rect">
            <a:avLst/>
          </a:prstGeom>
        </p:spPr>
      </p:pic>
      <p:pic>
        <p:nvPicPr>
          <p:cNvPr id="56" name="Grafik 55" descr="Callcenter Silhouette">
            <a:extLst>
              <a:ext uri="{FF2B5EF4-FFF2-40B4-BE49-F238E27FC236}">
                <a16:creationId xmlns:a16="http://schemas.microsoft.com/office/drawing/2014/main" id="{FB47A116-730C-9C62-B9CF-774E82FE4FD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552078" y="2057765"/>
            <a:ext cx="767894" cy="767894"/>
          </a:xfrm>
          <a:prstGeom prst="rect">
            <a:avLst/>
          </a:prstGeom>
        </p:spPr>
      </p:pic>
      <p:grpSp>
        <p:nvGrpSpPr>
          <p:cNvPr id="204" name="Gruppieren 203">
            <a:extLst>
              <a:ext uri="{FF2B5EF4-FFF2-40B4-BE49-F238E27FC236}">
                <a16:creationId xmlns:a16="http://schemas.microsoft.com/office/drawing/2014/main" id="{BEDD40A6-4BAD-014B-0C02-61095CDCABF4}"/>
              </a:ext>
            </a:extLst>
          </p:cNvPr>
          <p:cNvGrpSpPr/>
          <p:nvPr/>
        </p:nvGrpSpPr>
        <p:grpSpPr>
          <a:xfrm>
            <a:off x="6492699" y="2250699"/>
            <a:ext cx="597167" cy="524138"/>
            <a:chOff x="4378008" y="-2071533"/>
            <a:chExt cx="762000" cy="647880"/>
          </a:xfrm>
        </p:grpSpPr>
        <p:grpSp>
          <p:nvGrpSpPr>
            <p:cNvPr id="71" name="Grafik 63" descr="Illustrator Silhouette">
              <a:extLst>
                <a:ext uri="{FF2B5EF4-FFF2-40B4-BE49-F238E27FC236}">
                  <a16:creationId xmlns:a16="http://schemas.microsoft.com/office/drawing/2014/main" id="{B1595AC8-019A-05F5-3841-4250C0DDB139}"/>
                </a:ext>
              </a:extLst>
            </p:cNvPr>
            <p:cNvGrpSpPr/>
            <p:nvPr/>
          </p:nvGrpSpPr>
          <p:grpSpPr>
            <a:xfrm>
              <a:off x="4378008" y="-2071533"/>
              <a:ext cx="762000" cy="647880"/>
              <a:chOff x="4378008" y="-2071533"/>
              <a:chExt cx="762000" cy="647880"/>
            </a:xfrm>
            <a:solidFill>
              <a:srgbClr val="000000"/>
            </a:solidFill>
          </p:grpSpPr>
          <p:sp>
            <p:nvSpPr>
              <p:cNvPr id="75" name="Freihandform: Form 74">
                <a:extLst>
                  <a:ext uri="{FF2B5EF4-FFF2-40B4-BE49-F238E27FC236}">
                    <a16:creationId xmlns:a16="http://schemas.microsoft.com/office/drawing/2014/main" id="{FF815D88-FA98-3BF6-FB4E-4D0C7403C825}"/>
                  </a:ext>
                </a:extLst>
              </p:cNvPr>
              <p:cNvSpPr/>
              <p:nvPr/>
            </p:nvSpPr>
            <p:spPr>
              <a:xfrm>
                <a:off x="4378008" y="-2071533"/>
                <a:ext cx="762000" cy="647880"/>
              </a:xfrm>
              <a:custGeom>
                <a:avLst/>
                <a:gdLst>
                  <a:gd name="connsiteX0" fmla="*/ 723900 w 762000"/>
                  <a:gd name="connsiteY0" fmla="*/ 0 h 647880"/>
                  <a:gd name="connsiteX1" fmla="*/ 38100 w 762000"/>
                  <a:gd name="connsiteY1" fmla="*/ 0 h 647880"/>
                  <a:gd name="connsiteX2" fmla="*/ 0 w 762000"/>
                  <a:gd name="connsiteY2" fmla="*/ 38100 h 647880"/>
                  <a:gd name="connsiteX3" fmla="*/ 0 w 762000"/>
                  <a:gd name="connsiteY3" fmla="*/ 495481 h 647880"/>
                  <a:gd name="connsiteX4" fmla="*/ 38100 w 762000"/>
                  <a:gd name="connsiteY4" fmla="*/ 533581 h 647880"/>
                  <a:gd name="connsiteX5" fmla="*/ 314325 w 762000"/>
                  <a:gd name="connsiteY5" fmla="*/ 533581 h 647880"/>
                  <a:gd name="connsiteX6" fmla="*/ 314325 w 762000"/>
                  <a:gd name="connsiteY6" fmla="*/ 628831 h 647880"/>
                  <a:gd name="connsiteX7" fmla="*/ 209550 w 762000"/>
                  <a:gd name="connsiteY7" fmla="*/ 628831 h 647880"/>
                  <a:gd name="connsiteX8" fmla="*/ 209550 w 762000"/>
                  <a:gd name="connsiteY8" fmla="*/ 647881 h 647880"/>
                  <a:gd name="connsiteX9" fmla="*/ 552450 w 762000"/>
                  <a:gd name="connsiteY9" fmla="*/ 647881 h 647880"/>
                  <a:gd name="connsiteX10" fmla="*/ 552450 w 762000"/>
                  <a:gd name="connsiteY10" fmla="*/ 628831 h 647880"/>
                  <a:gd name="connsiteX11" fmla="*/ 447675 w 762000"/>
                  <a:gd name="connsiteY11" fmla="*/ 628831 h 647880"/>
                  <a:gd name="connsiteX12" fmla="*/ 447675 w 762000"/>
                  <a:gd name="connsiteY12" fmla="*/ 533581 h 647880"/>
                  <a:gd name="connsiteX13" fmla="*/ 723900 w 762000"/>
                  <a:gd name="connsiteY13" fmla="*/ 533581 h 647880"/>
                  <a:gd name="connsiteX14" fmla="*/ 762000 w 762000"/>
                  <a:gd name="connsiteY14" fmla="*/ 495481 h 647880"/>
                  <a:gd name="connsiteX15" fmla="*/ 762000 w 762000"/>
                  <a:gd name="connsiteY15" fmla="*/ 38110 h 647880"/>
                  <a:gd name="connsiteX16" fmla="*/ 723900 w 762000"/>
                  <a:gd name="connsiteY16" fmla="*/ 0 h 647880"/>
                  <a:gd name="connsiteX17" fmla="*/ 428625 w 762000"/>
                  <a:gd name="connsiteY17" fmla="*/ 628831 h 647880"/>
                  <a:gd name="connsiteX18" fmla="*/ 333375 w 762000"/>
                  <a:gd name="connsiteY18" fmla="*/ 628831 h 647880"/>
                  <a:gd name="connsiteX19" fmla="*/ 333375 w 762000"/>
                  <a:gd name="connsiteY19" fmla="*/ 533581 h 647880"/>
                  <a:gd name="connsiteX20" fmla="*/ 428625 w 762000"/>
                  <a:gd name="connsiteY20" fmla="*/ 533581 h 647880"/>
                  <a:gd name="connsiteX21" fmla="*/ 742950 w 762000"/>
                  <a:gd name="connsiteY21" fmla="*/ 495481 h 647880"/>
                  <a:gd name="connsiteX22" fmla="*/ 723900 w 762000"/>
                  <a:gd name="connsiteY22" fmla="*/ 514531 h 647880"/>
                  <a:gd name="connsiteX23" fmla="*/ 38100 w 762000"/>
                  <a:gd name="connsiteY23" fmla="*/ 514531 h 647880"/>
                  <a:gd name="connsiteX24" fmla="*/ 19050 w 762000"/>
                  <a:gd name="connsiteY24" fmla="*/ 495481 h 647880"/>
                  <a:gd name="connsiteX25" fmla="*/ 19050 w 762000"/>
                  <a:gd name="connsiteY25" fmla="*/ 38110 h 647880"/>
                  <a:gd name="connsiteX26" fmla="*/ 38100 w 762000"/>
                  <a:gd name="connsiteY26" fmla="*/ 19060 h 647880"/>
                  <a:gd name="connsiteX27" fmla="*/ 723900 w 762000"/>
                  <a:gd name="connsiteY27" fmla="*/ 19060 h 647880"/>
                  <a:gd name="connsiteX28" fmla="*/ 742950 w 762000"/>
                  <a:gd name="connsiteY28" fmla="*/ 38110 h 64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62000" h="647880">
                    <a:moveTo>
                      <a:pt x="723900" y="0"/>
                    </a:moveTo>
                    <a:lnTo>
                      <a:pt x="38100" y="0"/>
                    </a:lnTo>
                    <a:cubicBezTo>
                      <a:pt x="17084" y="63"/>
                      <a:pt x="63" y="17084"/>
                      <a:pt x="0" y="38100"/>
                    </a:cubicBezTo>
                    <a:lnTo>
                      <a:pt x="0" y="495481"/>
                    </a:lnTo>
                    <a:cubicBezTo>
                      <a:pt x="68" y="516495"/>
                      <a:pt x="17086" y="533513"/>
                      <a:pt x="38100" y="533581"/>
                    </a:cubicBezTo>
                    <a:lnTo>
                      <a:pt x="314325" y="533581"/>
                    </a:lnTo>
                    <a:lnTo>
                      <a:pt x="314325" y="628831"/>
                    </a:lnTo>
                    <a:lnTo>
                      <a:pt x="209550" y="628831"/>
                    </a:lnTo>
                    <a:lnTo>
                      <a:pt x="209550" y="647881"/>
                    </a:lnTo>
                    <a:lnTo>
                      <a:pt x="552450" y="647881"/>
                    </a:lnTo>
                    <a:lnTo>
                      <a:pt x="552450" y="628831"/>
                    </a:lnTo>
                    <a:lnTo>
                      <a:pt x="447675" y="628831"/>
                    </a:lnTo>
                    <a:lnTo>
                      <a:pt x="447675" y="533581"/>
                    </a:lnTo>
                    <a:lnTo>
                      <a:pt x="723900" y="533581"/>
                    </a:lnTo>
                    <a:cubicBezTo>
                      <a:pt x="744914" y="533513"/>
                      <a:pt x="761932" y="516495"/>
                      <a:pt x="762000" y="495481"/>
                    </a:cubicBezTo>
                    <a:lnTo>
                      <a:pt x="762000" y="38110"/>
                    </a:lnTo>
                    <a:cubicBezTo>
                      <a:pt x="761943" y="17090"/>
                      <a:pt x="744920" y="63"/>
                      <a:pt x="723900" y="0"/>
                    </a:cubicBezTo>
                    <a:close/>
                    <a:moveTo>
                      <a:pt x="428625" y="628831"/>
                    </a:moveTo>
                    <a:lnTo>
                      <a:pt x="333375" y="628831"/>
                    </a:lnTo>
                    <a:lnTo>
                      <a:pt x="333375" y="533581"/>
                    </a:lnTo>
                    <a:lnTo>
                      <a:pt x="428625" y="533581"/>
                    </a:lnTo>
                    <a:close/>
                    <a:moveTo>
                      <a:pt x="742950" y="495481"/>
                    </a:moveTo>
                    <a:cubicBezTo>
                      <a:pt x="742950" y="506002"/>
                      <a:pt x="734421" y="514531"/>
                      <a:pt x="723900" y="514531"/>
                    </a:cubicBezTo>
                    <a:lnTo>
                      <a:pt x="38100" y="514531"/>
                    </a:lnTo>
                    <a:cubicBezTo>
                      <a:pt x="27579" y="514531"/>
                      <a:pt x="19050" y="506002"/>
                      <a:pt x="19050" y="495481"/>
                    </a:cubicBezTo>
                    <a:lnTo>
                      <a:pt x="19050" y="38110"/>
                    </a:lnTo>
                    <a:cubicBezTo>
                      <a:pt x="19050" y="27588"/>
                      <a:pt x="27579" y="19060"/>
                      <a:pt x="38100" y="19060"/>
                    </a:cubicBezTo>
                    <a:lnTo>
                      <a:pt x="723900" y="19060"/>
                    </a:lnTo>
                    <a:cubicBezTo>
                      <a:pt x="734421" y="19060"/>
                      <a:pt x="742950" y="27588"/>
                      <a:pt x="742950" y="38110"/>
                    </a:cubicBezTo>
                    <a:close/>
                  </a:path>
                </a:pathLst>
              </a:custGeom>
              <a:solidFill>
                <a:srgbClr val="0E7FB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6" name="Freihandform: Form 75">
                <a:extLst>
                  <a:ext uri="{FF2B5EF4-FFF2-40B4-BE49-F238E27FC236}">
                    <a16:creationId xmlns:a16="http://schemas.microsoft.com/office/drawing/2014/main" id="{E9BA4623-E7B6-1C67-9DCD-9201354E796D}"/>
                  </a:ext>
                </a:extLst>
              </p:cNvPr>
              <p:cNvSpPr/>
              <p:nvPr/>
            </p:nvSpPr>
            <p:spPr>
              <a:xfrm>
                <a:off x="4425633" y="-2023889"/>
                <a:ext cx="666750" cy="438311"/>
              </a:xfrm>
              <a:custGeom>
                <a:avLst/>
                <a:gdLst>
                  <a:gd name="connsiteX0" fmla="*/ 19050 w 666750"/>
                  <a:gd name="connsiteY0" fmla="*/ 0 h 438311"/>
                  <a:gd name="connsiteX1" fmla="*/ 0 w 666750"/>
                  <a:gd name="connsiteY1" fmla="*/ 0 h 438311"/>
                  <a:gd name="connsiteX2" fmla="*/ 0 w 666750"/>
                  <a:gd name="connsiteY2" fmla="*/ 438312 h 438311"/>
                  <a:gd name="connsiteX3" fmla="*/ 666750 w 666750"/>
                  <a:gd name="connsiteY3" fmla="*/ 438312 h 438311"/>
                  <a:gd name="connsiteX4" fmla="*/ 666750 w 666750"/>
                  <a:gd name="connsiteY4" fmla="*/ 0 h 438311"/>
                  <a:gd name="connsiteX5" fmla="*/ 19050 w 666750"/>
                  <a:gd name="connsiteY5" fmla="*/ 0 h 438311"/>
                  <a:gd name="connsiteX6" fmla="*/ 647700 w 666750"/>
                  <a:gd name="connsiteY6" fmla="*/ 419262 h 438311"/>
                  <a:gd name="connsiteX7" fmla="*/ 19050 w 666750"/>
                  <a:gd name="connsiteY7" fmla="*/ 419262 h 438311"/>
                  <a:gd name="connsiteX8" fmla="*/ 19050 w 666750"/>
                  <a:gd name="connsiteY8" fmla="*/ 19050 h 438311"/>
                  <a:gd name="connsiteX9" fmla="*/ 647700 w 666750"/>
                  <a:gd name="connsiteY9" fmla="*/ 19050 h 438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66750" h="438311">
                    <a:moveTo>
                      <a:pt x="19050" y="0"/>
                    </a:moveTo>
                    <a:lnTo>
                      <a:pt x="0" y="0"/>
                    </a:lnTo>
                    <a:lnTo>
                      <a:pt x="0" y="438312"/>
                    </a:lnTo>
                    <a:lnTo>
                      <a:pt x="666750" y="438312"/>
                    </a:lnTo>
                    <a:lnTo>
                      <a:pt x="666750" y="0"/>
                    </a:lnTo>
                    <a:lnTo>
                      <a:pt x="19050" y="0"/>
                    </a:lnTo>
                    <a:close/>
                    <a:moveTo>
                      <a:pt x="647700" y="419262"/>
                    </a:moveTo>
                    <a:lnTo>
                      <a:pt x="19050" y="419262"/>
                    </a:lnTo>
                    <a:lnTo>
                      <a:pt x="19050" y="19050"/>
                    </a:lnTo>
                    <a:lnTo>
                      <a:pt x="647700" y="19050"/>
                    </a:lnTo>
                    <a:close/>
                  </a:path>
                </a:pathLst>
              </a:custGeom>
              <a:solidFill>
                <a:srgbClr val="0E7FB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pic>
          <p:nvPicPr>
            <p:cNvPr id="70" name="Grafik 69" descr="Workflow Silhouette">
              <a:extLst>
                <a:ext uri="{FF2B5EF4-FFF2-40B4-BE49-F238E27FC236}">
                  <a16:creationId xmlns:a16="http://schemas.microsoft.com/office/drawing/2014/main" id="{4569EE40-4652-5B91-7633-90E1E8F1FF1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710675" y="-1982423"/>
              <a:ext cx="355378" cy="355378"/>
            </a:xfrm>
            <a:prstGeom prst="rect">
              <a:avLst/>
            </a:prstGeom>
          </p:spPr>
        </p:pic>
        <p:grpSp>
          <p:nvGrpSpPr>
            <p:cNvPr id="186" name="Group 673">
              <a:extLst>
                <a:ext uri="{FF2B5EF4-FFF2-40B4-BE49-F238E27FC236}">
                  <a16:creationId xmlns:a16="http://schemas.microsoft.com/office/drawing/2014/main" id="{A39F1CE0-B689-25B0-766F-A74CB4BC7C87}"/>
                </a:ext>
              </a:extLst>
            </p:cNvPr>
            <p:cNvGrpSpPr/>
            <p:nvPr/>
          </p:nvGrpSpPr>
          <p:grpSpPr>
            <a:xfrm>
              <a:off x="4496354" y="-1921510"/>
              <a:ext cx="191022" cy="92124"/>
              <a:chOff x="7659688" y="5383213"/>
              <a:chExt cx="447675" cy="215900"/>
            </a:xfrm>
            <a:solidFill>
              <a:schemeClr val="tx1"/>
            </a:solidFill>
          </p:grpSpPr>
          <p:sp>
            <p:nvSpPr>
              <p:cNvPr id="189" name="Rectangle 430">
                <a:extLst>
                  <a:ext uri="{FF2B5EF4-FFF2-40B4-BE49-F238E27FC236}">
                    <a16:creationId xmlns:a16="http://schemas.microsoft.com/office/drawing/2014/main" id="{8E602C56-CDFB-39F0-B37C-0F1019ADEA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59688" y="5383213"/>
                <a:ext cx="33338" cy="1905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90" name="Rectangle 431">
                <a:extLst>
                  <a:ext uri="{FF2B5EF4-FFF2-40B4-BE49-F238E27FC236}">
                    <a16:creationId xmlns:a16="http://schemas.microsoft.com/office/drawing/2014/main" id="{8EE656C1-102E-9DF5-EFC6-F24EB2C476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04138" y="5383213"/>
                <a:ext cx="403225" cy="1905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91" name="Rectangle 432">
                <a:extLst>
                  <a:ext uri="{FF2B5EF4-FFF2-40B4-BE49-F238E27FC236}">
                    <a16:creationId xmlns:a16="http://schemas.microsoft.com/office/drawing/2014/main" id="{739BE12E-2551-F079-3CDD-E3B71BBB95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59688" y="5483226"/>
                <a:ext cx="33338" cy="17463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92" name="Rectangle 433">
                <a:extLst>
                  <a:ext uri="{FF2B5EF4-FFF2-40B4-BE49-F238E27FC236}">
                    <a16:creationId xmlns:a16="http://schemas.microsoft.com/office/drawing/2014/main" id="{9F7C85AD-7B03-282F-2CA3-83ACC77AB2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04138" y="5483226"/>
                <a:ext cx="403225" cy="17463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93" name="Rectangle 434">
                <a:extLst>
                  <a:ext uri="{FF2B5EF4-FFF2-40B4-BE49-F238E27FC236}">
                    <a16:creationId xmlns:a16="http://schemas.microsoft.com/office/drawing/2014/main" id="{1196EE6F-2BC5-3630-0D78-6DD991F9C1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04138" y="5580063"/>
                <a:ext cx="403225" cy="1905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94" name="Rectangle 435">
                <a:extLst>
                  <a:ext uri="{FF2B5EF4-FFF2-40B4-BE49-F238E27FC236}">
                    <a16:creationId xmlns:a16="http://schemas.microsoft.com/office/drawing/2014/main" id="{762E2167-59E9-03CE-A775-0B1687E700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59688" y="5580063"/>
                <a:ext cx="33338" cy="1905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</p:grpSp>
        <p:grpSp>
          <p:nvGrpSpPr>
            <p:cNvPr id="197" name="Group 673">
              <a:extLst>
                <a:ext uri="{FF2B5EF4-FFF2-40B4-BE49-F238E27FC236}">
                  <a16:creationId xmlns:a16="http://schemas.microsoft.com/office/drawing/2014/main" id="{BBCA121B-0B15-80C1-CFF2-591AE0773D75}"/>
                </a:ext>
              </a:extLst>
            </p:cNvPr>
            <p:cNvGrpSpPr/>
            <p:nvPr/>
          </p:nvGrpSpPr>
          <p:grpSpPr>
            <a:xfrm>
              <a:off x="4505000" y="-1817465"/>
              <a:ext cx="191022" cy="92124"/>
              <a:chOff x="7659688" y="5383213"/>
              <a:chExt cx="447675" cy="215900"/>
            </a:xfrm>
            <a:solidFill>
              <a:schemeClr val="tx1"/>
            </a:solidFill>
          </p:grpSpPr>
          <p:sp>
            <p:nvSpPr>
              <p:cNvPr id="198" name="Rectangle 430">
                <a:extLst>
                  <a:ext uri="{FF2B5EF4-FFF2-40B4-BE49-F238E27FC236}">
                    <a16:creationId xmlns:a16="http://schemas.microsoft.com/office/drawing/2014/main" id="{CED95429-6B43-1854-C39C-F20495A0D8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59688" y="5383213"/>
                <a:ext cx="33338" cy="1905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99" name="Rectangle 431">
                <a:extLst>
                  <a:ext uri="{FF2B5EF4-FFF2-40B4-BE49-F238E27FC236}">
                    <a16:creationId xmlns:a16="http://schemas.microsoft.com/office/drawing/2014/main" id="{8B8CB2E8-7335-D302-4161-475C2DEA37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04138" y="5383213"/>
                <a:ext cx="403225" cy="1905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200" name="Rectangle 432">
                <a:extLst>
                  <a:ext uri="{FF2B5EF4-FFF2-40B4-BE49-F238E27FC236}">
                    <a16:creationId xmlns:a16="http://schemas.microsoft.com/office/drawing/2014/main" id="{24968518-79A7-2AA3-A838-422E15A8D2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59688" y="5483226"/>
                <a:ext cx="33338" cy="17463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201" name="Rectangle 433">
                <a:extLst>
                  <a:ext uri="{FF2B5EF4-FFF2-40B4-BE49-F238E27FC236}">
                    <a16:creationId xmlns:a16="http://schemas.microsoft.com/office/drawing/2014/main" id="{08DC8A8E-FAA9-D3A1-8F7F-AA4A88EB57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04138" y="5483226"/>
                <a:ext cx="403225" cy="17463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202" name="Rectangle 434">
                <a:extLst>
                  <a:ext uri="{FF2B5EF4-FFF2-40B4-BE49-F238E27FC236}">
                    <a16:creationId xmlns:a16="http://schemas.microsoft.com/office/drawing/2014/main" id="{4A434DC8-1229-AECE-BF1C-55A9D56951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04138" y="5580063"/>
                <a:ext cx="403225" cy="1905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203" name="Rectangle 435">
                <a:extLst>
                  <a:ext uri="{FF2B5EF4-FFF2-40B4-BE49-F238E27FC236}">
                    <a16:creationId xmlns:a16="http://schemas.microsoft.com/office/drawing/2014/main" id="{F0B2216E-F670-23BA-77E0-979C0D43D1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59688" y="5580063"/>
                <a:ext cx="33338" cy="1905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</p:grpSp>
      </p:grpSp>
      <p:grpSp>
        <p:nvGrpSpPr>
          <p:cNvPr id="234" name="Gruppieren 233">
            <a:extLst>
              <a:ext uri="{FF2B5EF4-FFF2-40B4-BE49-F238E27FC236}">
                <a16:creationId xmlns:a16="http://schemas.microsoft.com/office/drawing/2014/main" id="{59E402FA-13DB-AC56-DBFA-DB66900BACC3}"/>
              </a:ext>
            </a:extLst>
          </p:cNvPr>
          <p:cNvGrpSpPr/>
          <p:nvPr/>
        </p:nvGrpSpPr>
        <p:grpSpPr>
          <a:xfrm>
            <a:off x="4919164" y="2260606"/>
            <a:ext cx="606747" cy="524138"/>
            <a:chOff x="3404319" y="-2819457"/>
            <a:chExt cx="2399913" cy="1933434"/>
          </a:xfrm>
        </p:grpSpPr>
        <p:grpSp>
          <p:nvGrpSpPr>
            <p:cNvPr id="207" name="Grafik 63" descr="Illustrator Silhouette">
              <a:extLst>
                <a:ext uri="{FF2B5EF4-FFF2-40B4-BE49-F238E27FC236}">
                  <a16:creationId xmlns:a16="http://schemas.microsoft.com/office/drawing/2014/main" id="{9AA525DA-D037-183A-1AF3-B36BCC2100A2}"/>
                </a:ext>
              </a:extLst>
            </p:cNvPr>
            <p:cNvGrpSpPr/>
            <p:nvPr/>
          </p:nvGrpSpPr>
          <p:grpSpPr>
            <a:xfrm>
              <a:off x="3404319" y="-2819457"/>
              <a:ext cx="2399913" cy="1933434"/>
              <a:chOff x="4378008" y="-2071533"/>
              <a:chExt cx="762000" cy="647880"/>
            </a:xfrm>
            <a:solidFill>
              <a:srgbClr val="686C86"/>
            </a:solidFill>
          </p:grpSpPr>
          <p:sp>
            <p:nvSpPr>
              <p:cNvPr id="223" name="Freihandform: Form 222">
                <a:extLst>
                  <a:ext uri="{FF2B5EF4-FFF2-40B4-BE49-F238E27FC236}">
                    <a16:creationId xmlns:a16="http://schemas.microsoft.com/office/drawing/2014/main" id="{4A1486AB-1676-CA7C-F0B8-9162E1A3BFF5}"/>
                  </a:ext>
                </a:extLst>
              </p:cNvPr>
              <p:cNvSpPr/>
              <p:nvPr/>
            </p:nvSpPr>
            <p:spPr>
              <a:xfrm>
                <a:off x="4378008" y="-2071533"/>
                <a:ext cx="762000" cy="647880"/>
              </a:xfrm>
              <a:custGeom>
                <a:avLst/>
                <a:gdLst>
                  <a:gd name="connsiteX0" fmla="*/ 723900 w 762000"/>
                  <a:gd name="connsiteY0" fmla="*/ 0 h 647880"/>
                  <a:gd name="connsiteX1" fmla="*/ 38100 w 762000"/>
                  <a:gd name="connsiteY1" fmla="*/ 0 h 647880"/>
                  <a:gd name="connsiteX2" fmla="*/ 0 w 762000"/>
                  <a:gd name="connsiteY2" fmla="*/ 38100 h 647880"/>
                  <a:gd name="connsiteX3" fmla="*/ 0 w 762000"/>
                  <a:gd name="connsiteY3" fmla="*/ 495481 h 647880"/>
                  <a:gd name="connsiteX4" fmla="*/ 38100 w 762000"/>
                  <a:gd name="connsiteY4" fmla="*/ 533581 h 647880"/>
                  <a:gd name="connsiteX5" fmla="*/ 314325 w 762000"/>
                  <a:gd name="connsiteY5" fmla="*/ 533581 h 647880"/>
                  <a:gd name="connsiteX6" fmla="*/ 314325 w 762000"/>
                  <a:gd name="connsiteY6" fmla="*/ 628831 h 647880"/>
                  <a:gd name="connsiteX7" fmla="*/ 209550 w 762000"/>
                  <a:gd name="connsiteY7" fmla="*/ 628831 h 647880"/>
                  <a:gd name="connsiteX8" fmla="*/ 209550 w 762000"/>
                  <a:gd name="connsiteY8" fmla="*/ 647881 h 647880"/>
                  <a:gd name="connsiteX9" fmla="*/ 552450 w 762000"/>
                  <a:gd name="connsiteY9" fmla="*/ 647881 h 647880"/>
                  <a:gd name="connsiteX10" fmla="*/ 552450 w 762000"/>
                  <a:gd name="connsiteY10" fmla="*/ 628831 h 647880"/>
                  <a:gd name="connsiteX11" fmla="*/ 447675 w 762000"/>
                  <a:gd name="connsiteY11" fmla="*/ 628831 h 647880"/>
                  <a:gd name="connsiteX12" fmla="*/ 447675 w 762000"/>
                  <a:gd name="connsiteY12" fmla="*/ 533581 h 647880"/>
                  <a:gd name="connsiteX13" fmla="*/ 723900 w 762000"/>
                  <a:gd name="connsiteY13" fmla="*/ 533581 h 647880"/>
                  <a:gd name="connsiteX14" fmla="*/ 762000 w 762000"/>
                  <a:gd name="connsiteY14" fmla="*/ 495481 h 647880"/>
                  <a:gd name="connsiteX15" fmla="*/ 762000 w 762000"/>
                  <a:gd name="connsiteY15" fmla="*/ 38110 h 647880"/>
                  <a:gd name="connsiteX16" fmla="*/ 723900 w 762000"/>
                  <a:gd name="connsiteY16" fmla="*/ 0 h 647880"/>
                  <a:gd name="connsiteX17" fmla="*/ 428625 w 762000"/>
                  <a:gd name="connsiteY17" fmla="*/ 628831 h 647880"/>
                  <a:gd name="connsiteX18" fmla="*/ 333375 w 762000"/>
                  <a:gd name="connsiteY18" fmla="*/ 628831 h 647880"/>
                  <a:gd name="connsiteX19" fmla="*/ 333375 w 762000"/>
                  <a:gd name="connsiteY19" fmla="*/ 533581 h 647880"/>
                  <a:gd name="connsiteX20" fmla="*/ 428625 w 762000"/>
                  <a:gd name="connsiteY20" fmla="*/ 533581 h 647880"/>
                  <a:gd name="connsiteX21" fmla="*/ 742950 w 762000"/>
                  <a:gd name="connsiteY21" fmla="*/ 495481 h 647880"/>
                  <a:gd name="connsiteX22" fmla="*/ 723900 w 762000"/>
                  <a:gd name="connsiteY22" fmla="*/ 514531 h 647880"/>
                  <a:gd name="connsiteX23" fmla="*/ 38100 w 762000"/>
                  <a:gd name="connsiteY23" fmla="*/ 514531 h 647880"/>
                  <a:gd name="connsiteX24" fmla="*/ 19050 w 762000"/>
                  <a:gd name="connsiteY24" fmla="*/ 495481 h 647880"/>
                  <a:gd name="connsiteX25" fmla="*/ 19050 w 762000"/>
                  <a:gd name="connsiteY25" fmla="*/ 38110 h 647880"/>
                  <a:gd name="connsiteX26" fmla="*/ 38100 w 762000"/>
                  <a:gd name="connsiteY26" fmla="*/ 19060 h 647880"/>
                  <a:gd name="connsiteX27" fmla="*/ 723900 w 762000"/>
                  <a:gd name="connsiteY27" fmla="*/ 19060 h 647880"/>
                  <a:gd name="connsiteX28" fmla="*/ 742950 w 762000"/>
                  <a:gd name="connsiteY28" fmla="*/ 38110 h 64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62000" h="647880">
                    <a:moveTo>
                      <a:pt x="723900" y="0"/>
                    </a:moveTo>
                    <a:lnTo>
                      <a:pt x="38100" y="0"/>
                    </a:lnTo>
                    <a:cubicBezTo>
                      <a:pt x="17084" y="63"/>
                      <a:pt x="63" y="17084"/>
                      <a:pt x="0" y="38100"/>
                    </a:cubicBezTo>
                    <a:lnTo>
                      <a:pt x="0" y="495481"/>
                    </a:lnTo>
                    <a:cubicBezTo>
                      <a:pt x="68" y="516495"/>
                      <a:pt x="17086" y="533513"/>
                      <a:pt x="38100" y="533581"/>
                    </a:cubicBezTo>
                    <a:lnTo>
                      <a:pt x="314325" y="533581"/>
                    </a:lnTo>
                    <a:lnTo>
                      <a:pt x="314325" y="628831"/>
                    </a:lnTo>
                    <a:lnTo>
                      <a:pt x="209550" y="628831"/>
                    </a:lnTo>
                    <a:lnTo>
                      <a:pt x="209550" y="647881"/>
                    </a:lnTo>
                    <a:lnTo>
                      <a:pt x="552450" y="647881"/>
                    </a:lnTo>
                    <a:lnTo>
                      <a:pt x="552450" y="628831"/>
                    </a:lnTo>
                    <a:lnTo>
                      <a:pt x="447675" y="628831"/>
                    </a:lnTo>
                    <a:lnTo>
                      <a:pt x="447675" y="533581"/>
                    </a:lnTo>
                    <a:lnTo>
                      <a:pt x="723900" y="533581"/>
                    </a:lnTo>
                    <a:cubicBezTo>
                      <a:pt x="744914" y="533513"/>
                      <a:pt x="761932" y="516495"/>
                      <a:pt x="762000" y="495481"/>
                    </a:cubicBezTo>
                    <a:lnTo>
                      <a:pt x="762000" y="38110"/>
                    </a:lnTo>
                    <a:cubicBezTo>
                      <a:pt x="761943" y="17090"/>
                      <a:pt x="744920" y="63"/>
                      <a:pt x="723900" y="0"/>
                    </a:cubicBezTo>
                    <a:close/>
                    <a:moveTo>
                      <a:pt x="428625" y="628831"/>
                    </a:moveTo>
                    <a:lnTo>
                      <a:pt x="333375" y="628831"/>
                    </a:lnTo>
                    <a:lnTo>
                      <a:pt x="333375" y="533581"/>
                    </a:lnTo>
                    <a:lnTo>
                      <a:pt x="428625" y="533581"/>
                    </a:lnTo>
                    <a:close/>
                    <a:moveTo>
                      <a:pt x="742950" y="495481"/>
                    </a:moveTo>
                    <a:cubicBezTo>
                      <a:pt x="742950" y="506002"/>
                      <a:pt x="734421" y="514531"/>
                      <a:pt x="723900" y="514531"/>
                    </a:cubicBezTo>
                    <a:lnTo>
                      <a:pt x="38100" y="514531"/>
                    </a:lnTo>
                    <a:cubicBezTo>
                      <a:pt x="27579" y="514531"/>
                      <a:pt x="19050" y="506002"/>
                      <a:pt x="19050" y="495481"/>
                    </a:cubicBezTo>
                    <a:lnTo>
                      <a:pt x="19050" y="38110"/>
                    </a:lnTo>
                    <a:cubicBezTo>
                      <a:pt x="19050" y="27588"/>
                      <a:pt x="27579" y="19060"/>
                      <a:pt x="38100" y="19060"/>
                    </a:cubicBezTo>
                    <a:lnTo>
                      <a:pt x="723900" y="19060"/>
                    </a:lnTo>
                    <a:cubicBezTo>
                      <a:pt x="734421" y="19060"/>
                      <a:pt x="742950" y="27588"/>
                      <a:pt x="742950" y="381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4" name="Freihandform: Form 223">
                <a:extLst>
                  <a:ext uri="{FF2B5EF4-FFF2-40B4-BE49-F238E27FC236}">
                    <a16:creationId xmlns:a16="http://schemas.microsoft.com/office/drawing/2014/main" id="{A2C8B0F5-7622-94D5-BDAD-53FA1A26C46D}"/>
                  </a:ext>
                </a:extLst>
              </p:cNvPr>
              <p:cNvSpPr/>
              <p:nvPr/>
            </p:nvSpPr>
            <p:spPr>
              <a:xfrm>
                <a:off x="4425633" y="-2023889"/>
                <a:ext cx="666750" cy="438311"/>
              </a:xfrm>
              <a:custGeom>
                <a:avLst/>
                <a:gdLst>
                  <a:gd name="connsiteX0" fmla="*/ 19050 w 666750"/>
                  <a:gd name="connsiteY0" fmla="*/ 0 h 438311"/>
                  <a:gd name="connsiteX1" fmla="*/ 0 w 666750"/>
                  <a:gd name="connsiteY1" fmla="*/ 0 h 438311"/>
                  <a:gd name="connsiteX2" fmla="*/ 0 w 666750"/>
                  <a:gd name="connsiteY2" fmla="*/ 438312 h 438311"/>
                  <a:gd name="connsiteX3" fmla="*/ 666750 w 666750"/>
                  <a:gd name="connsiteY3" fmla="*/ 438312 h 438311"/>
                  <a:gd name="connsiteX4" fmla="*/ 666750 w 666750"/>
                  <a:gd name="connsiteY4" fmla="*/ 0 h 438311"/>
                  <a:gd name="connsiteX5" fmla="*/ 19050 w 666750"/>
                  <a:gd name="connsiteY5" fmla="*/ 0 h 438311"/>
                  <a:gd name="connsiteX6" fmla="*/ 647700 w 666750"/>
                  <a:gd name="connsiteY6" fmla="*/ 419262 h 438311"/>
                  <a:gd name="connsiteX7" fmla="*/ 19050 w 666750"/>
                  <a:gd name="connsiteY7" fmla="*/ 419262 h 438311"/>
                  <a:gd name="connsiteX8" fmla="*/ 19050 w 666750"/>
                  <a:gd name="connsiteY8" fmla="*/ 19050 h 438311"/>
                  <a:gd name="connsiteX9" fmla="*/ 647700 w 666750"/>
                  <a:gd name="connsiteY9" fmla="*/ 19050 h 438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66750" h="438311">
                    <a:moveTo>
                      <a:pt x="19050" y="0"/>
                    </a:moveTo>
                    <a:lnTo>
                      <a:pt x="0" y="0"/>
                    </a:lnTo>
                    <a:lnTo>
                      <a:pt x="0" y="438312"/>
                    </a:lnTo>
                    <a:lnTo>
                      <a:pt x="666750" y="438312"/>
                    </a:lnTo>
                    <a:lnTo>
                      <a:pt x="666750" y="0"/>
                    </a:lnTo>
                    <a:lnTo>
                      <a:pt x="19050" y="0"/>
                    </a:lnTo>
                    <a:close/>
                    <a:moveTo>
                      <a:pt x="647700" y="419262"/>
                    </a:moveTo>
                    <a:lnTo>
                      <a:pt x="19050" y="419262"/>
                    </a:lnTo>
                    <a:lnTo>
                      <a:pt x="19050" y="19050"/>
                    </a:lnTo>
                    <a:lnTo>
                      <a:pt x="64770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25" name="Group 421">
              <a:extLst>
                <a:ext uri="{FF2B5EF4-FFF2-40B4-BE49-F238E27FC236}">
                  <a16:creationId xmlns:a16="http://schemas.microsoft.com/office/drawing/2014/main" id="{FD2C4115-6CA6-3CED-690C-3C4C749C9AF2}"/>
                </a:ext>
              </a:extLst>
            </p:cNvPr>
            <p:cNvGrpSpPr/>
            <p:nvPr/>
          </p:nvGrpSpPr>
          <p:grpSpPr>
            <a:xfrm>
              <a:off x="3845712" y="-2218660"/>
              <a:ext cx="631108" cy="629111"/>
              <a:chOff x="6311915" y="3527752"/>
              <a:chExt cx="501650" cy="500063"/>
            </a:xfrm>
            <a:solidFill>
              <a:schemeClr val="tx1"/>
            </a:solidFill>
          </p:grpSpPr>
          <p:sp>
            <p:nvSpPr>
              <p:cNvPr id="226" name="Freeform 333">
                <a:extLst>
                  <a:ext uri="{FF2B5EF4-FFF2-40B4-BE49-F238E27FC236}">
                    <a16:creationId xmlns:a16="http://schemas.microsoft.com/office/drawing/2014/main" id="{7FD0B463-4FEF-5133-33A6-B152092920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11915" y="3527752"/>
                <a:ext cx="501650" cy="500063"/>
              </a:xfrm>
              <a:custGeom>
                <a:avLst/>
                <a:gdLst>
                  <a:gd name="T0" fmla="*/ 1478 w 3478"/>
                  <a:gd name="T1" fmla="*/ 540 h 3463"/>
                  <a:gd name="T2" fmla="*/ 1288 w 3478"/>
                  <a:gd name="T3" fmla="*/ 747 h 3463"/>
                  <a:gd name="T4" fmla="*/ 818 w 3478"/>
                  <a:gd name="T5" fmla="*/ 451 h 3463"/>
                  <a:gd name="T6" fmla="*/ 439 w 3478"/>
                  <a:gd name="T7" fmla="*/ 770 h 3463"/>
                  <a:gd name="T8" fmla="*/ 754 w 3478"/>
                  <a:gd name="T9" fmla="*/ 1173 h 3463"/>
                  <a:gd name="T10" fmla="*/ 646 w 3478"/>
                  <a:gd name="T11" fmla="*/ 1433 h 3463"/>
                  <a:gd name="T12" fmla="*/ 138 w 3478"/>
                  <a:gd name="T13" fmla="*/ 1495 h 3463"/>
                  <a:gd name="T14" fmla="*/ 179 w 3478"/>
                  <a:gd name="T15" fmla="*/ 1987 h 3463"/>
                  <a:gd name="T16" fmla="*/ 721 w 3478"/>
                  <a:gd name="T17" fmla="*/ 2110 h 3463"/>
                  <a:gd name="T18" fmla="*/ 709 w 3478"/>
                  <a:gd name="T19" fmla="*/ 2390 h 3463"/>
                  <a:gd name="T20" fmla="*/ 747 w 3478"/>
                  <a:gd name="T21" fmla="*/ 3011 h 3463"/>
                  <a:gd name="T22" fmla="*/ 1101 w 3478"/>
                  <a:gd name="T23" fmla="*/ 2740 h 3463"/>
                  <a:gd name="T24" fmla="*/ 1359 w 3478"/>
                  <a:gd name="T25" fmla="*/ 2744 h 3463"/>
                  <a:gd name="T26" fmla="*/ 1481 w 3478"/>
                  <a:gd name="T27" fmla="*/ 3285 h 3463"/>
                  <a:gd name="T28" fmla="*/ 1976 w 3478"/>
                  <a:gd name="T29" fmla="*/ 3325 h 3463"/>
                  <a:gd name="T30" fmla="*/ 2039 w 3478"/>
                  <a:gd name="T31" fmla="*/ 2819 h 3463"/>
                  <a:gd name="T32" fmla="*/ 2300 w 3478"/>
                  <a:gd name="T33" fmla="*/ 2712 h 3463"/>
                  <a:gd name="T34" fmla="*/ 2703 w 3478"/>
                  <a:gd name="T35" fmla="*/ 3025 h 3463"/>
                  <a:gd name="T36" fmla="*/ 3024 w 3478"/>
                  <a:gd name="T37" fmla="*/ 2649 h 3463"/>
                  <a:gd name="T38" fmla="*/ 2727 w 3478"/>
                  <a:gd name="T39" fmla="*/ 2180 h 3463"/>
                  <a:gd name="T40" fmla="*/ 2935 w 3478"/>
                  <a:gd name="T41" fmla="*/ 1990 h 3463"/>
                  <a:gd name="T42" fmla="*/ 3349 w 3478"/>
                  <a:gd name="T43" fmla="*/ 1525 h 3463"/>
                  <a:gd name="T44" fmla="*/ 2899 w 3478"/>
                  <a:gd name="T45" fmla="*/ 1463 h 3463"/>
                  <a:gd name="T46" fmla="*/ 2721 w 3478"/>
                  <a:gd name="T47" fmla="*/ 1245 h 3463"/>
                  <a:gd name="T48" fmla="*/ 3034 w 3478"/>
                  <a:gd name="T49" fmla="*/ 801 h 3463"/>
                  <a:gd name="T50" fmla="*/ 2688 w 3478"/>
                  <a:gd name="T51" fmla="*/ 437 h 3463"/>
                  <a:gd name="T52" fmla="*/ 2264 w 3478"/>
                  <a:gd name="T53" fmla="*/ 755 h 3463"/>
                  <a:gd name="T54" fmla="*/ 2020 w 3478"/>
                  <a:gd name="T55" fmla="*/ 611 h 3463"/>
                  <a:gd name="T56" fmla="*/ 1962 w 3478"/>
                  <a:gd name="T57" fmla="*/ 130 h 3463"/>
                  <a:gd name="T58" fmla="*/ 2062 w 3478"/>
                  <a:gd name="T59" fmla="*/ 41 h 3463"/>
                  <a:gd name="T60" fmla="*/ 2134 w 3478"/>
                  <a:gd name="T61" fmla="*/ 549 h 3463"/>
                  <a:gd name="T62" fmla="*/ 2298 w 3478"/>
                  <a:gd name="T63" fmla="*/ 617 h 3463"/>
                  <a:gd name="T64" fmla="*/ 2711 w 3478"/>
                  <a:gd name="T65" fmla="*/ 310 h 3463"/>
                  <a:gd name="T66" fmla="*/ 3159 w 3478"/>
                  <a:gd name="T67" fmla="*/ 723 h 3463"/>
                  <a:gd name="T68" fmla="*/ 2885 w 3478"/>
                  <a:gd name="T69" fmla="*/ 1133 h 3463"/>
                  <a:gd name="T70" fmla="*/ 2885 w 3478"/>
                  <a:gd name="T71" fmla="*/ 1310 h 3463"/>
                  <a:gd name="T72" fmla="*/ 3389 w 3478"/>
                  <a:gd name="T73" fmla="*/ 1371 h 3463"/>
                  <a:gd name="T74" fmla="*/ 3475 w 3478"/>
                  <a:gd name="T75" fmla="*/ 1970 h 3463"/>
                  <a:gd name="T76" fmla="*/ 3299 w 3478"/>
                  <a:gd name="T77" fmla="*/ 2116 h 3463"/>
                  <a:gd name="T78" fmla="*/ 2850 w 3478"/>
                  <a:gd name="T79" fmla="*/ 2217 h 3463"/>
                  <a:gd name="T80" fmla="*/ 3148 w 3478"/>
                  <a:gd name="T81" fmla="*/ 2603 h 3463"/>
                  <a:gd name="T82" fmla="*/ 3115 w 3478"/>
                  <a:gd name="T83" fmla="*/ 2809 h 3463"/>
                  <a:gd name="T84" fmla="*/ 2620 w 3478"/>
                  <a:gd name="T85" fmla="*/ 3136 h 3463"/>
                  <a:gd name="T86" fmla="*/ 2227 w 3478"/>
                  <a:gd name="T87" fmla="*/ 2838 h 3463"/>
                  <a:gd name="T88" fmla="*/ 2126 w 3478"/>
                  <a:gd name="T89" fmla="*/ 3285 h 3463"/>
                  <a:gd name="T90" fmla="*/ 1979 w 3478"/>
                  <a:gd name="T91" fmla="*/ 3460 h 3463"/>
                  <a:gd name="T92" fmla="*/ 1377 w 3478"/>
                  <a:gd name="T93" fmla="*/ 3375 h 3463"/>
                  <a:gd name="T94" fmla="*/ 1316 w 3478"/>
                  <a:gd name="T95" fmla="*/ 2873 h 3463"/>
                  <a:gd name="T96" fmla="*/ 1139 w 3478"/>
                  <a:gd name="T97" fmla="*/ 2873 h 3463"/>
                  <a:gd name="T98" fmla="*/ 707 w 3478"/>
                  <a:gd name="T99" fmla="*/ 3136 h 3463"/>
                  <a:gd name="T100" fmla="*/ 310 w 3478"/>
                  <a:gd name="T101" fmla="*/ 2684 h 3463"/>
                  <a:gd name="T102" fmla="*/ 620 w 3478"/>
                  <a:gd name="T103" fmla="*/ 2288 h 3463"/>
                  <a:gd name="T104" fmla="*/ 552 w 3478"/>
                  <a:gd name="T105" fmla="*/ 2125 h 3463"/>
                  <a:gd name="T106" fmla="*/ 42 w 3478"/>
                  <a:gd name="T107" fmla="*/ 2053 h 3463"/>
                  <a:gd name="T108" fmla="*/ 24 w 3478"/>
                  <a:gd name="T109" fmla="*/ 1434 h 3463"/>
                  <a:gd name="T110" fmla="*/ 529 w 3478"/>
                  <a:gd name="T111" fmla="*/ 1344 h 3463"/>
                  <a:gd name="T112" fmla="*/ 627 w 3478"/>
                  <a:gd name="T113" fmla="*/ 1198 h 3463"/>
                  <a:gd name="T114" fmla="*/ 312 w 3478"/>
                  <a:gd name="T115" fmla="*/ 806 h 3463"/>
                  <a:gd name="T116" fmla="*/ 680 w 3478"/>
                  <a:gd name="T117" fmla="*/ 341 h 3463"/>
                  <a:gd name="T118" fmla="*/ 909 w 3478"/>
                  <a:gd name="T119" fmla="*/ 360 h 3463"/>
                  <a:gd name="T120" fmla="*/ 1298 w 3478"/>
                  <a:gd name="T121" fmla="*/ 604 h 3463"/>
                  <a:gd name="T122" fmla="*/ 1364 w 3478"/>
                  <a:gd name="T123" fmla="*/ 115 h 3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478" h="3463">
                    <a:moveTo>
                      <a:pt x="1532" y="127"/>
                    </a:moveTo>
                    <a:lnTo>
                      <a:pt x="1515" y="130"/>
                    </a:lnTo>
                    <a:lnTo>
                      <a:pt x="1502" y="137"/>
                    </a:lnTo>
                    <a:lnTo>
                      <a:pt x="1491" y="148"/>
                    </a:lnTo>
                    <a:lnTo>
                      <a:pt x="1483" y="161"/>
                    </a:lnTo>
                    <a:lnTo>
                      <a:pt x="1481" y="178"/>
                    </a:lnTo>
                    <a:lnTo>
                      <a:pt x="1481" y="501"/>
                    </a:lnTo>
                    <a:lnTo>
                      <a:pt x="1478" y="540"/>
                    </a:lnTo>
                    <a:lnTo>
                      <a:pt x="1470" y="577"/>
                    </a:lnTo>
                    <a:lnTo>
                      <a:pt x="1457" y="611"/>
                    </a:lnTo>
                    <a:lnTo>
                      <a:pt x="1439" y="642"/>
                    </a:lnTo>
                    <a:lnTo>
                      <a:pt x="1416" y="671"/>
                    </a:lnTo>
                    <a:lnTo>
                      <a:pt x="1390" y="696"/>
                    </a:lnTo>
                    <a:lnTo>
                      <a:pt x="1359" y="718"/>
                    </a:lnTo>
                    <a:lnTo>
                      <a:pt x="1324" y="735"/>
                    </a:lnTo>
                    <a:lnTo>
                      <a:pt x="1288" y="747"/>
                    </a:lnTo>
                    <a:lnTo>
                      <a:pt x="1251" y="754"/>
                    </a:lnTo>
                    <a:lnTo>
                      <a:pt x="1214" y="755"/>
                    </a:lnTo>
                    <a:lnTo>
                      <a:pt x="1178" y="750"/>
                    </a:lnTo>
                    <a:lnTo>
                      <a:pt x="1143" y="741"/>
                    </a:lnTo>
                    <a:lnTo>
                      <a:pt x="1109" y="725"/>
                    </a:lnTo>
                    <a:lnTo>
                      <a:pt x="1077" y="705"/>
                    </a:lnTo>
                    <a:lnTo>
                      <a:pt x="1047" y="680"/>
                    </a:lnTo>
                    <a:lnTo>
                      <a:pt x="818" y="451"/>
                    </a:lnTo>
                    <a:lnTo>
                      <a:pt x="805" y="442"/>
                    </a:lnTo>
                    <a:lnTo>
                      <a:pt x="791" y="437"/>
                    </a:lnTo>
                    <a:lnTo>
                      <a:pt x="774" y="437"/>
                    </a:lnTo>
                    <a:lnTo>
                      <a:pt x="760" y="442"/>
                    </a:lnTo>
                    <a:lnTo>
                      <a:pt x="747" y="451"/>
                    </a:lnTo>
                    <a:lnTo>
                      <a:pt x="453" y="743"/>
                    </a:lnTo>
                    <a:lnTo>
                      <a:pt x="445" y="756"/>
                    </a:lnTo>
                    <a:lnTo>
                      <a:pt x="439" y="770"/>
                    </a:lnTo>
                    <a:lnTo>
                      <a:pt x="439" y="787"/>
                    </a:lnTo>
                    <a:lnTo>
                      <a:pt x="445" y="801"/>
                    </a:lnTo>
                    <a:lnTo>
                      <a:pt x="453" y="814"/>
                    </a:lnTo>
                    <a:lnTo>
                      <a:pt x="684" y="1043"/>
                    </a:lnTo>
                    <a:lnTo>
                      <a:pt x="709" y="1072"/>
                    </a:lnTo>
                    <a:lnTo>
                      <a:pt x="729" y="1104"/>
                    </a:lnTo>
                    <a:lnTo>
                      <a:pt x="744" y="1137"/>
                    </a:lnTo>
                    <a:lnTo>
                      <a:pt x="754" y="1173"/>
                    </a:lnTo>
                    <a:lnTo>
                      <a:pt x="759" y="1209"/>
                    </a:lnTo>
                    <a:lnTo>
                      <a:pt x="758" y="1245"/>
                    </a:lnTo>
                    <a:lnTo>
                      <a:pt x="751" y="1282"/>
                    </a:lnTo>
                    <a:lnTo>
                      <a:pt x="739" y="1318"/>
                    </a:lnTo>
                    <a:lnTo>
                      <a:pt x="721" y="1353"/>
                    </a:lnTo>
                    <a:lnTo>
                      <a:pt x="699" y="1384"/>
                    </a:lnTo>
                    <a:lnTo>
                      <a:pt x="674" y="1410"/>
                    </a:lnTo>
                    <a:lnTo>
                      <a:pt x="646" y="1433"/>
                    </a:lnTo>
                    <a:lnTo>
                      <a:pt x="614" y="1450"/>
                    </a:lnTo>
                    <a:lnTo>
                      <a:pt x="580" y="1463"/>
                    </a:lnTo>
                    <a:lnTo>
                      <a:pt x="542" y="1471"/>
                    </a:lnTo>
                    <a:lnTo>
                      <a:pt x="504" y="1474"/>
                    </a:lnTo>
                    <a:lnTo>
                      <a:pt x="179" y="1474"/>
                    </a:lnTo>
                    <a:lnTo>
                      <a:pt x="162" y="1477"/>
                    </a:lnTo>
                    <a:lnTo>
                      <a:pt x="149" y="1484"/>
                    </a:lnTo>
                    <a:lnTo>
                      <a:pt x="138" y="1495"/>
                    </a:lnTo>
                    <a:lnTo>
                      <a:pt x="131" y="1508"/>
                    </a:lnTo>
                    <a:lnTo>
                      <a:pt x="128" y="1525"/>
                    </a:lnTo>
                    <a:lnTo>
                      <a:pt x="128" y="1938"/>
                    </a:lnTo>
                    <a:lnTo>
                      <a:pt x="131" y="1953"/>
                    </a:lnTo>
                    <a:lnTo>
                      <a:pt x="138" y="1968"/>
                    </a:lnTo>
                    <a:lnTo>
                      <a:pt x="149" y="1978"/>
                    </a:lnTo>
                    <a:lnTo>
                      <a:pt x="162" y="1985"/>
                    </a:lnTo>
                    <a:lnTo>
                      <a:pt x="179" y="1987"/>
                    </a:lnTo>
                    <a:lnTo>
                      <a:pt x="504" y="1987"/>
                    </a:lnTo>
                    <a:lnTo>
                      <a:pt x="542" y="1990"/>
                    </a:lnTo>
                    <a:lnTo>
                      <a:pt x="580" y="1998"/>
                    </a:lnTo>
                    <a:lnTo>
                      <a:pt x="614" y="2011"/>
                    </a:lnTo>
                    <a:lnTo>
                      <a:pt x="646" y="2030"/>
                    </a:lnTo>
                    <a:lnTo>
                      <a:pt x="674" y="2052"/>
                    </a:lnTo>
                    <a:lnTo>
                      <a:pt x="699" y="2079"/>
                    </a:lnTo>
                    <a:lnTo>
                      <a:pt x="721" y="2110"/>
                    </a:lnTo>
                    <a:lnTo>
                      <a:pt x="739" y="2144"/>
                    </a:lnTo>
                    <a:lnTo>
                      <a:pt x="751" y="2180"/>
                    </a:lnTo>
                    <a:lnTo>
                      <a:pt x="758" y="2217"/>
                    </a:lnTo>
                    <a:lnTo>
                      <a:pt x="759" y="2254"/>
                    </a:lnTo>
                    <a:lnTo>
                      <a:pt x="754" y="2290"/>
                    </a:lnTo>
                    <a:lnTo>
                      <a:pt x="744" y="2325"/>
                    </a:lnTo>
                    <a:lnTo>
                      <a:pt x="729" y="2358"/>
                    </a:lnTo>
                    <a:lnTo>
                      <a:pt x="709" y="2390"/>
                    </a:lnTo>
                    <a:lnTo>
                      <a:pt x="684" y="2419"/>
                    </a:lnTo>
                    <a:lnTo>
                      <a:pt x="453" y="2648"/>
                    </a:lnTo>
                    <a:lnTo>
                      <a:pt x="445" y="2661"/>
                    </a:lnTo>
                    <a:lnTo>
                      <a:pt x="439" y="2676"/>
                    </a:lnTo>
                    <a:lnTo>
                      <a:pt x="439" y="2691"/>
                    </a:lnTo>
                    <a:lnTo>
                      <a:pt x="445" y="2706"/>
                    </a:lnTo>
                    <a:lnTo>
                      <a:pt x="453" y="2719"/>
                    </a:lnTo>
                    <a:lnTo>
                      <a:pt x="747" y="3011"/>
                    </a:lnTo>
                    <a:lnTo>
                      <a:pt x="760" y="3020"/>
                    </a:lnTo>
                    <a:lnTo>
                      <a:pt x="774" y="3025"/>
                    </a:lnTo>
                    <a:lnTo>
                      <a:pt x="791" y="3025"/>
                    </a:lnTo>
                    <a:lnTo>
                      <a:pt x="805" y="3020"/>
                    </a:lnTo>
                    <a:lnTo>
                      <a:pt x="818" y="3011"/>
                    </a:lnTo>
                    <a:lnTo>
                      <a:pt x="1047" y="2782"/>
                    </a:lnTo>
                    <a:lnTo>
                      <a:pt x="1074" y="2759"/>
                    </a:lnTo>
                    <a:lnTo>
                      <a:pt x="1101" y="2740"/>
                    </a:lnTo>
                    <a:lnTo>
                      <a:pt x="1131" y="2726"/>
                    </a:lnTo>
                    <a:lnTo>
                      <a:pt x="1162" y="2715"/>
                    </a:lnTo>
                    <a:lnTo>
                      <a:pt x="1193" y="2709"/>
                    </a:lnTo>
                    <a:lnTo>
                      <a:pt x="1225" y="2707"/>
                    </a:lnTo>
                    <a:lnTo>
                      <a:pt x="1258" y="2709"/>
                    </a:lnTo>
                    <a:lnTo>
                      <a:pt x="1291" y="2715"/>
                    </a:lnTo>
                    <a:lnTo>
                      <a:pt x="1324" y="2727"/>
                    </a:lnTo>
                    <a:lnTo>
                      <a:pt x="1359" y="2744"/>
                    </a:lnTo>
                    <a:lnTo>
                      <a:pt x="1390" y="2766"/>
                    </a:lnTo>
                    <a:lnTo>
                      <a:pt x="1416" y="2791"/>
                    </a:lnTo>
                    <a:lnTo>
                      <a:pt x="1439" y="2819"/>
                    </a:lnTo>
                    <a:lnTo>
                      <a:pt x="1457" y="2851"/>
                    </a:lnTo>
                    <a:lnTo>
                      <a:pt x="1470" y="2886"/>
                    </a:lnTo>
                    <a:lnTo>
                      <a:pt x="1478" y="2922"/>
                    </a:lnTo>
                    <a:lnTo>
                      <a:pt x="1481" y="2960"/>
                    </a:lnTo>
                    <a:lnTo>
                      <a:pt x="1481" y="3285"/>
                    </a:lnTo>
                    <a:lnTo>
                      <a:pt x="1483" y="3300"/>
                    </a:lnTo>
                    <a:lnTo>
                      <a:pt x="1491" y="3314"/>
                    </a:lnTo>
                    <a:lnTo>
                      <a:pt x="1502" y="3325"/>
                    </a:lnTo>
                    <a:lnTo>
                      <a:pt x="1515" y="3332"/>
                    </a:lnTo>
                    <a:lnTo>
                      <a:pt x="1532" y="3334"/>
                    </a:lnTo>
                    <a:lnTo>
                      <a:pt x="1947" y="3334"/>
                    </a:lnTo>
                    <a:lnTo>
                      <a:pt x="1962" y="3332"/>
                    </a:lnTo>
                    <a:lnTo>
                      <a:pt x="1976" y="3325"/>
                    </a:lnTo>
                    <a:lnTo>
                      <a:pt x="1987" y="3314"/>
                    </a:lnTo>
                    <a:lnTo>
                      <a:pt x="1994" y="3300"/>
                    </a:lnTo>
                    <a:lnTo>
                      <a:pt x="1996" y="3285"/>
                    </a:lnTo>
                    <a:lnTo>
                      <a:pt x="1996" y="2960"/>
                    </a:lnTo>
                    <a:lnTo>
                      <a:pt x="1999" y="2922"/>
                    </a:lnTo>
                    <a:lnTo>
                      <a:pt x="2007" y="2886"/>
                    </a:lnTo>
                    <a:lnTo>
                      <a:pt x="2020" y="2851"/>
                    </a:lnTo>
                    <a:lnTo>
                      <a:pt x="2039" y="2819"/>
                    </a:lnTo>
                    <a:lnTo>
                      <a:pt x="2061" y="2791"/>
                    </a:lnTo>
                    <a:lnTo>
                      <a:pt x="2088" y="2766"/>
                    </a:lnTo>
                    <a:lnTo>
                      <a:pt x="2119" y="2744"/>
                    </a:lnTo>
                    <a:lnTo>
                      <a:pt x="2153" y="2727"/>
                    </a:lnTo>
                    <a:lnTo>
                      <a:pt x="2189" y="2715"/>
                    </a:lnTo>
                    <a:lnTo>
                      <a:pt x="2227" y="2709"/>
                    </a:lnTo>
                    <a:lnTo>
                      <a:pt x="2264" y="2708"/>
                    </a:lnTo>
                    <a:lnTo>
                      <a:pt x="2300" y="2712"/>
                    </a:lnTo>
                    <a:lnTo>
                      <a:pt x="2335" y="2722"/>
                    </a:lnTo>
                    <a:lnTo>
                      <a:pt x="2368" y="2736"/>
                    </a:lnTo>
                    <a:lnTo>
                      <a:pt x="2400" y="2757"/>
                    </a:lnTo>
                    <a:lnTo>
                      <a:pt x="2430" y="2782"/>
                    </a:lnTo>
                    <a:lnTo>
                      <a:pt x="2660" y="3011"/>
                    </a:lnTo>
                    <a:lnTo>
                      <a:pt x="2672" y="3020"/>
                    </a:lnTo>
                    <a:lnTo>
                      <a:pt x="2688" y="3025"/>
                    </a:lnTo>
                    <a:lnTo>
                      <a:pt x="2703" y="3025"/>
                    </a:lnTo>
                    <a:lnTo>
                      <a:pt x="2717" y="3020"/>
                    </a:lnTo>
                    <a:lnTo>
                      <a:pt x="2731" y="3011"/>
                    </a:lnTo>
                    <a:lnTo>
                      <a:pt x="3024" y="2719"/>
                    </a:lnTo>
                    <a:lnTo>
                      <a:pt x="3034" y="2706"/>
                    </a:lnTo>
                    <a:lnTo>
                      <a:pt x="3038" y="2691"/>
                    </a:lnTo>
                    <a:lnTo>
                      <a:pt x="3038" y="2676"/>
                    </a:lnTo>
                    <a:lnTo>
                      <a:pt x="3034" y="2661"/>
                    </a:lnTo>
                    <a:lnTo>
                      <a:pt x="3024" y="2649"/>
                    </a:lnTo>
                    <a:lnTo>
                      <a:pt x="2794" y="2419"/>
                    </a:lnTo>
                    <a:lnTo>
                      <a:pt x="2769" y="2390"/>
                    </a:lnTo>
                    <a:lnTo>
                      <a:pt x="2748" y="2358"/>
                    </a:lnTo>
                    <a:lnTo>
                      <a:pt x="2734" y="2325"/>
                    </a:lnTo>
                    <a:lnTo>
                      <a:pt x="2724" y="2290"/>
                    </a:lnTo>
                    <a:lnTo>
                      <a:pt x="2720" y="2254"/>
                    </a:lnTo>
                    <a:lnTo>
                      <a:pt x="2721" y="2217"/>
                    </a:lnTo>
                    <a:lnTo>
                      <a:pt x="2727" y="2180"/>
                    </a:lnTo>
                    <a:lnTo>
                      <a:pt x="2739" y="2144"/>
                    </a:lnTo>
                    <a:lnTo>
                      <a:pt x="2756" y="2110"/>
                    </a:lnTo>
                    <a:lnTo>
                      <a:pt x="2778" y="2079"/>
                    </a:lnTo>
                    <a:lnTo>
                      <a:pt x="2803" y="2052"/>
                    </a:lnTo>
                    <a:lnTo>
                      <a:pt x="2832" y="2030"/>
                    </a:lnTo>
                    <a:lnTo>
                      <a:pt x="2863" y="2011"/>
                    </a:lnTo>
                    <a:lnTo>
                      <a:pt x="2899" y="1998"/>
                    </a:lnTo>
                    <a:lnTo>
                      <a:pt x="2935" y="1990"/>
                    </a:lnTo>
                    <a:lnTo>
                      <a:pt x="2973" y="1987"/>
                    </a:lnTo>
                    <a:lnTo>
                      <a:pt x="3299" y="1987"/>
                    </a:lnTo>
                    <a:lnTo>
                      <a:pt x="3315" y="1985"/>
                    </a:lnTo>
                    <a:lnTo>
                      <a:pt x="3329" y="1978"/>
                    </a:lnTo>
                    <a:lnTo>
                      <a:pt x="3340" y="1968"/>
                    </a:lnTo>
                    <a:lnTo>
                      <a:pt x="3347" y="1953"/>
                    </a:lnTo>
                    <a:lnTo>
                      <a:pt x="3349" y="1938"/>
                    </a:lnTo>
                    <a:lnTo>
                      <a:pt x="3349" y="1525"/>
                    </a:lnTo>
                    <a:lnTo>
                      <a:pt x="3347" y="1508"/>
                    </a:lnTo>
                    <a:lnTo>
                      <a:pt x="3340" y="1495"/>
                    </a:lnTo>
                    <a:lnTo>
                      <a:pt x="3329" y="1484"/>
                    </a:lnTo>
                    <a:lnTo>
                      <a:pt x="3315" y="1477"/>
                    </a:lnTo>
                    <a:lnTo>
                      <a:pt x="3299" y="1474"/>
                    </a:lnTo>
                    <a:lnTo>
                      <a:pt x="2973" y="1474"/>
                    </a:lnTo>
                    <a:lnTo>
                      <a:pt x="2935" y="1472"/>
                    </a:lnTo>
                    <a:lnTo>
                      <a:pt x="2899" y="1463"/>
                    </a:lnTo>
                    <a:lnTo>
                      <a:pt x="2863" y="1450"/>
                    </a:lnTo>
                    <a:lnTo>
                      <a:pt x="2832" y="1433"/>
                    </a:lnTo>
                    <a:lnTo>
                      <a:pt x="2803" y="1410"/>
                    </a:lnTo>
                    <a:lnTo>
                      <a:pt x="2778" y="1384"/>
                    </a:lnTo>
                    <a:lnTo>
                      <a:pt x="2756" y="1353"/>
                    </a:lnTo>
                    <a:lnTo>
                      <a:pt x="2739" y="1319"/>
                    </a:lnTo>
                    <a:lnTo>
                      <a:pt x="2727" y="1282"/>
                    </a:lnTo>
                    <a:lnTo>
                      <a:pt x="2721" y="1245"/>
                    </a:lnTo>
                    <a:lnTo>
                      <a:pt x="2720" y="1209"/>
                    </a:lnTo>
                    <a:lnTo>
                      <a:pt x="2724" y="1173"/>
                    </a:lnTo>
                    <a:lnTo>
                      <a:pt x="2734" y="1138"/>
                    </a:lnTo>
                    <a:lnTo>
                      <a:pt x="2748" y="1104"/>
                    </a:lnTo>
                    <a:lnTo>
                      <a:pt x="2769" y="1072"/>
                    </a:lnTo>
                    <a:lnTo>
                      <a:pt x="2794" y="1043"/>
                    </a:lnTo>
                    <a:lnTo>
                      <a:pt x="3024" y="814"/>
                    </a:lnTo>
                    <a:lnTo>
                      <a:pt x="3034" y="801"/>
                    </a:lnTo>
                    <a:lnTo>
                      <a:pt x="3038" y="787"/>
                    </a:lnTo>
                    <a:lnTo>
                      <a:pt x="3038" y="771"/>
                    </a:lnTo>
                    <a:lnTo>
                      <a:pt x="3034" y="756"/>
                    </a:lnTo>
                    <a:lnTo>
                      <a:pt x="3024" y="743"/>
                    </a:lnTo>
                    <a:lnTo>
                      <a:pt x="2731" y="451"/>
                    </a:lnTo>
                    <a:lnTo>
                      <a:pt x="2717" y="442"/>
                    </a:lnTo>
                    <a:lnTo>
                      <a:pt x="2703" y="437"/>
                    </a:lnTo>
                    <a:lnTo>
                      <a:pt x="2688" y="437"/>
                    </a:lnTo>
                    <a:lnTo>
                      <a:pt x="2672" y="442"/>
                    </a:lnTo>
                    <a:lnTo>
                      <a:pt x="2660" y="451"/>
                    </a:lnTo>
                    <a:lnTo>
                      <a:pt x="2430" y="681"/>
                    </a:lnTo>
                    <a:lnTo>
                      <a:pt x="2400" y="706"/>
                    </a:lnTo>
                    <a:lnTo>
                      <a:pt x="2368" y="725"/>
                    </a:lnTo>
                    <a:lnTo>
                      <a:pt x="2335" y="741"/>
                    </a:lnTo>
                    <a:lnTo>
                      <a:pt x="2300" y="751"/>
                    </a:lnTo>
                    <a:lnTo>
                      <a:pt x="2264" y="755"/>
                    </a:lnTo>
                    <a:lnTo>
                      <a:pt x="2227" y="754"/>
                    </a:lnTo>
                    <a:lnTo>
                      <a:pt x="2189" y="747"/>
                    </a:lnTo>
                    <a:lnTo>
                      <a:pt x="2153" y="735"/>
                    </a:lnTo>
                    <a:lnTo>
                      <a:pt x="2119" y="718"/>
                    </a:lnTo>
                    <a:lnTo>
                      <a:pt x="2088" y="696"/>
                    </a:lnTo>
                    <a:lnTo>
                      <a:pt x="2061" y="671"/>
                    </a:lnTo>
                    <a:lnTo>
                      <a:pt x="2039" y="642"/>
                    </a:lnTo>
                    <a:lnTo>
                      <a:pt x="2020" y="611"/>
                    </a:lnTo>
                    <a:lnTo>
                      <a:pt x="2007" y="577"/>
                    </a:lnTo>
                    <a:lnTo>
                      <a:pt x="1999" y="540"/>
                    </a:lnTo>
                    <a:lnTo>
                      <a:pt x="1996" y="501"/>
                    </a:lnTo>
                    <a:lnTo>
                      <a:pt x="1996" y="178"/>
                    </a:lnTo>
                    <a:lnTo>
                      <a:pt x="1994" y="161"/>
                    </a:lnTo>
                    <a:lnTo>
                      <a:pt x="1987" y="148"/>
                    </a:lnTo>
                    <a:lnTo>
                      <a:pt x="1976" y="137"/>
                    </a:lnTo>
                    <a:lnTo>
                      <a:pt x="1962" y="130"/>
                    </a:lnTo>
                    <a:lnTo>
                      <a:pt x="1947" y="127"/>
                    </a:lnTo>
                    <a:lnTo>
                      <a:pt x="1532" y="127"/>
                    </a:lnTo>
                    <a:close/>
                    <a:moveTo>
                      <a:pt x="1532" y="0"/>
                    </a:moveTo>
                    <a:lnTo>
                      <a:pt x="1947" y="0"/>
                    </a:lnTo>
                    <a:lnTo>
                      <a:pt x="1979" y="2"/>
                    </a:lnTo>
                    <a:lnTo>
                      <a:pt x="2008" y="10"/>
                    </a:lnTo>
                    <a:lnTo>
                      <a:pt x="2037" y="24"/>
                    </a:lnTo>
                    <a:lnTo>
                      <a:pt x="2062" y="41"/>
                    </a:lnTo>
                    <a:lnTo>
                      <a:pt x="2083" y="63"/>
                    </a:lnTo>
                    <a:lnTo>
                      <a:pt x="2100" y="87"/>
                    </a:lnTo>
                    <a:lnTo>
                      <a:pt x="2114" y="115"/>
                    </a:lnTo>
                    <a:lnTo>
                      <a:pt x="2122" y="145"/>
                    </a:lnTo>
                    <a:lnTo>
                      <a:pt x="2126" y="178"/>
                    </a:lnTo>
                    <a:lnTo>
                      <a:pt x="2126" y="501"/>
                    </a:lnTo>
                    <a:lnTo>
                      <a:pt x="2128" y="526"/>
                    </a:lnTo>
                    <a:lnTo>
                      <a:pt x="2134" y="549"/>
                    </a:lnTo>
                    <a:lnTo>
                      <a:pt x="2145" y="571"/>
                    </a:lnTo>
                    <a:lnTo>
                      <a:pt x="2161" y="589"/>
                    </a:lnTo>
                    <a:lnTo>
                      <a:pt x="2179" y="604"/>
                    </a:lnTo>
                    <a:lnTo>
                      <a:pt x="2202" y="616"/>
                    </a:lnTo>
                    <a:lnTo>
                      <a:pt x="2227" y="624"/>
                    </a:lnTo>
                    <a:lnTo>
                      <a:pt x="2251" y="626"/>
                    </a:lnTo>
                    <a:lnTo>
                      <a:pt x="2275" y="624"/>
                    </a:lnTo>
                    <a:lnTo>
                      <a:pt x="2298" y="617"/>
                    </a:lnTo>
                    <a:lnTo>
                      <a:pt x="2319" y="605"/>
                    </a:lnTo>
                    <a:lnTo>
                      <a:pt x="2339" y="590"/>
                    </a:lnTo>
                    <a:lnTo>
                      <a:pt x="2568" y="360"/>
                    </a:lnTo>
                    <a:lnTo>
                      <a:pt x="2593" y="341"/>
                    </a:lnTo>
                    <a:lnTo>
                      <a:pt x="2620" y="325"/>
                    </a:lnTo>
                    <a:lnTo>
                      <a:pt x="2649" y="315"/>
                    </a:lnTo>
                    <a:lnTo>
                      <a:pt x="2680" y="310"/>
                    </a:lnTo>
                    <a:lnTo>
                      <a:pt x="2711" y="310"/>
                    </a:lnTo>
                    <a:lnTo>
                      <a:pt x="2742" y="315"/>
                    </a:lnTo>
                    <a:lnTo>
                      <a:pt x="2770" y="325"/>
                    </a:lnTo>
                    <a:lnTo>
                      <a:pt x="2798" y="341"/>
                    </a:lnTo>
                    <a:lnTo>
                      <a:pt x="2822" y="360"/>
                    </a:lnTo>
                    <a:lnTo>
                      <a:pt x="3115" y="652"/>
                    </a:lnTo>
                    <a:lnTo>
                      <a:pt x="3134" y="674"/>
                    </a:lnTo>
                    <a:lnTo>
                      <a:pt x="3148" y="698"/>
                    </a:lnTo>
                    <a:lnTo>
                      <a:pt x="3159" y="723"/>
                    </a:lnTo>
                    <a:lnTo>
                      <a:pt x="3165" y="751"/>
                    </a:lnTo>
                    <a:lnTo>
                      <a:pt x="3168" y="779"/>
                    </a:lnTo>
                    <a:lnTo>
                      <a:pt x="3165" y="806"/>
                    </a:lnTo>
                    <a:lnTo>
                      <a:pt x="3159" y="834"/>
                    </a:lnTo>
                    <a:lnTo>
                      <a:pt x="3148" y="860"/>
                    </a:lnTo>
                    <a:lnTo>
                      <a:pt x="3134" y="883"/>
                    </a:lnTo>
                    <a:lnTo>
                      <a:pt x="3115" y="905"/>
                    </a:lnTo>
                    <a:lnTo>
                      <a:pt x="2885" y="1133"/>
                    </a:lnTo>
                    <a:lnTo>
                      <a:pt x="2869" y="1153"/>
                    </a:lnTo>
                    <a:lnTo>
                      <a:pt x="2857" y="1175"/>
                    </a:lnTo>
                    <a:lnTo>
                      <a:pt x="2850" y="1198"/>
                    </a:lnTo>
                    <a:lnTo>
                      <a:pt x="2848" y="1221"/>
                    </a:lnTo>
                    <a:lnTo>
                      <a:pt x="2850" y="1245"/>
                    </a:lnTo>
                    <a:lnTo>
                      <a:pt x="2858" y="1270"/>
                    </a:lnTo>
                    <a:lnTo>
                      <a:pt x="2870" y="1292"/>
                    </a:lnTo>
                    <a:lnTo>
                      <a:pt x="2885" y="1310"/>
                    </a:lnTo>
                    <a:lnTo>
                      <a:pt x="2904" y="1326"/>
                    </a:lnTo>
                    <a:lnTo>
                      <a:pt x="2925" y="1337"/>
                    </a:lnTo>
                    <a:lnTo>
                      <a:pt x="2948" y="1344"/>
                    </a:lnTo>
                    <a:lnTo>
                      <a:pt x="2973" y="1346"/>
                    </a:lnTo>
                    <a:lnTo>
                      <a:pt x="3299" y="1346"/>
                    </a:lnTo>
                    <a:lnTo>
                      <a:pt x="3331" y="1349"/>
                    </a:lnTo>
                    <a:lnTo>
                      <a:pt x="3361" y="1357"/>
                    </a:lnTo>
                    <a:lnTo>
                      <a:pt x="3389" y="1371"/>
                    </a:lnTo>
                    <a:lnTo>
                      <a:pt x="3415" y="1388"/>
                    </a:lnTo>
                    <a:lnTo>
                      <a:pt x="3435" y="1410"/>
                    </a:lnTo>
                    <a:lnTo>
                      <a:pt x="3453" y="1434"/>
                    </a:lnTo>
                    <a:lnTo>
                      <a:pt x="3466" y="1462"/>
                    </a:lnTo>
                    <a:lnTo>
                      <a:pt x="3475" y="1492"/>
                    </a:lnTo>
                    <a:lnTo>
                      <a:pt x="3478" y="1525"/>
                    </a:lnTo>
                    <a:lnTo>
                      <a:pt x="3478" y="1938"/>
                    </a:lnTo>
                    <a:lnTo>
                      <a:pt x="3475" y="1970"/>
                    </a:lnTo>
                    <a:lnTo>
                      <a:pt x="3466" y="1999"/>
                    </a:lnTo>
                    <a:lnTo>
                      <a:pt x="3453" y="2028"/>
                    </a:lnTo>
                    <a:lnTo>
                      <a:pt x="3435" y="2053"/>
                    </a:lnTo>
                    <a:lnTo>
                      <a:pt x="3415" y="2074"/>
                    </a:lnTo>
                    <a:lnTo>
                      <a:pt x="3389" y="2091"/>
                    </a:lnTo>
                    <a:lnTo>
                      <a:pt x="3361" y="2104"/>
                    </a:lnTo>
                    <a:lnTo>
                      <a:pt x="3331" y="2113"/>
                    </a:lnTo>
                    <a:lnTo>
                      <a:pt x="3299" y="2116"/>
                    </a:lnTo>
                    <a:lnTo>
                      <a:pt x="2973" y="2116"/>
                    </a:lnTo>
                    <a:lnTo>
                      <a:pt x="2948" y="2118"/>
                    </a:lnTo>
                    <a:lnTo>
                      <a:pt x="2925" y="2125"/>
                    </a:lnTo>
                    <a:lnTo>
                      <a:pt x="2903" y="2136"/>
                    </a:lnTo>
                    <a:lnTo>
                      <a:pt x="2885" y="2151"/>
                    </a:lnTo>
                    <a:lnTo>
                      <a:pt x="2870" y="2170"/>
                    </a:lnTo>
                    <a:lnTo>
                      <a:pt x="2858" y="2193"/>
                    </a:lnTo>
                    <a:lnTo>
                      <a:pt x="2850" y="2217"/>
                    </a:lnTo>
                    <a:lnTo>
                      <a:pt x="2848" y="2241"/>
                    </a:lnTo>
                    <a:lnTo>
                      <a:pt x="2850" y="2265"/>
                    </a:lnTo>
                    <a:lnTo>
                      <a:pt x="2857" y="2288"/>
                    </a:lnTo>
                    <a:lnTo>
                      <a:pt x="2869" y="2309"/>
                    </a:lnTo>
                    <a:lnTo>
                      <a:pt x="2885" y="2328"/>
                    </a:lnTo>
                    <a:lnTo>
                      <a:pt x="3115" y="2557"/>
                    </a:lnTo>
                    <a:lnTo>
                      <a:pt x="3134" y="2579"/>
                    </a:lnTo>
                    <a:lnTo>
                      <a:pt x="3148" y="2603"/>
                    </a:lnTo>
                    <a:lnTo>
                      <a:pt x="3159" y="2628"/>
                    </a:lnTo>
                    <a:lnTo>
                      <a:pt x="3165" y="2655"/>
                    </a:lnTo>
                    <a:lnTo>
                      <a:pt x="3168" y="2684"/>
                    </a:lnTo>
                    <a:lnTo>
                      <a:pt x="3165" y="2712"/>
                    </a:lnTo>
                    <a:lnTo>
                      <a:pt x="3159" y="2738"/>
                    </a:lnTo>
                    <a:lnTo>
                      <a:pt x="3148" y="2765"/>
                    </a:lnTo>
                    <a:lnTo>
                      <a:pt x="3134" y="2789"/>
                    </a:lnTo>
                    <a:lnTo>
                      <a:pt x="3115" y="2809"/>
                    </a:lnTo>
                    <a:lnTo>
                      <a:pt x="2822" y="3101"/>
                    </a:lnTo>
                    <a:lnTo>
                      <a:pt x="2798" y="3122"/>
                    </a:lnTo>
                    <a:lnTo>
                      <a:pt x="2770" y="3136"/>
                    </a:lnTo>
                    <a:lnTo>
                      <a:pt x="2742" y="3146"/>
                    </a:lnTo>
                    <a:lnTo>
                      <a:pt x="2711" y="3152"/>
                    </a:lnTo>
                    <a:lnTo>
                      <a:pt x="2680" y="3152"/>
                    </a:lnTo>
                    <a:lnTo>
                      <a:pt x="2649" y="3146"/>
                    </a:lnTo>
                    <a:lnTo>
                      <a:pt x="2620" y="3136"/>
                    </a:lnTo>
                    <a:lnTo>
                      <a:pt x="2593" y="3122"/>
                    </a:lnTo>
                    <a:lnTo>
                      <a:pt x="2568" y="3101"/>
                    </a:lnTo>
                    <a:lnTo>
                      <a:pt x="2339" y="2873"/>
                    </a:lnTo>
                    <a:lnTo>
                      <a:pt x="2319" y="2856"/>
                    </a:lnTo>
                    <a:lnTo>
                      <a:pt x="2298" y="2844"/>
                    </a:lnTo>
                    <a:lnTo>
                      <a:pt x="2275" y="2838"/>
                    </a:lnTo>
                    <a:lnTo>
                      <a:pt x="2251" y="2836"/>
                    </a:lnTo>
                    <a:lnTo>
                      <a:pt x="2227" y="2838"/>
                    </a:lnTo>
                    <a:lnTo>
                      <a:pt x="2202" y="2845"/>
                    </a:lnTo>
                    <a:lnTo>
                      <a:pt x="2179" y="2857"/>
                    </a:lnTo>
                    <a:lnTo>
                      <a:pt x="2161" y="2873"/>
                    </a:lnTo>
                    <a:lnTo>
                      <a:pt x="2145" y="2891"/>
                    </a:lnTo>
                    <a:lnTo>
                      <a:pt x="2134" y="2912"/>
                    </a:lnTo>
                    <a:lnTo>
                      <a:pt x="2128" y="2935"/>
                    </a:lnTo>
                    <a:lnTo>
                      <a:pt x="2126" y="2960"/>
                    </a:lnTo>
                    <a:lnTo>
                      <a:pt x="2126" y="3285"/>
                    </a:lnTo>
                    <a:lnTo>
                      <a:pt x="2122" y="3317"/>
                    </a:lnTo>
                    <a:lnTo>
                      <a:pt x="2114" y="3346"/>
                    </a:lnTo>
                    <a:lnTo>
                      <a:pt x="2100" y="3375"/>
                    </a:lnTo>
                    <a:lnTo>
                      <a:pt x="2083" y="3400"/>
                    </a:lnTo>
                    <a:lnTo>
                      <a:pt x="2062" y="3421"/>
                    </a:lnTo>
                    <a:lnTo>
                      <a:pt x="2037" y="3438"/>
                    </a:lnTo>
                    <a:lnTo>
                      <a:pt x="2008" y="3451"/>
                    </a:lnTo>
                    <a:lnTo>
                      <a:pt x="1979" y="3460"/>
                    </a:lnTo>
                    <a:lnTo>
                      <a:pt x="1947" y="3463"/>
                    </a:lnTo>
                    <a:lnTo>
                      <a:pt x="1532" y="3463"/>
                    </a:lnTo>
                    <a:lnTo>
                      <a:pt x="1499" y="3460"/>
                    </a:lnTo>
                    <a:lnTo>
                      <a:pt x="1469" y="3451"/>
                    </a:lnTo>
                    <a:lnTo>
                      <a:pt x="1441" y="3438"/>
                    </a:lnTo>
                    <a:lnTo>
                      <a:pt x="1416" y="3421"/>
                    </a:lnTo>
                    <a:lnTo>
                      <a:pt x="1394" y="3400"/>
                    </a:lnTo>
                    <a:lnTo>
                      <a:pt x="1377" y="3375"/>
                    </a:lnTo>
                    <a:lnTo>
                      <a:pt x="1364" y="3346"/>
                    </a:lnTo>
                    <a:lnTo>
                      <a:pt x="1355" y="3317"/>
                    </a:lnTo>
                    <a:lnTo>
                      <a:pt x="1353" y="3285"/>
                    </a:lnTo>
                    <a:lnTo>
                      <a:pt x="1353" y="2960"/>
                    </a:lnTo>
                    <a:lnTo>
                      <a:pt x="1350" y="2935"/>
                    </a:lnTo>
                    <a:lnTo>
                      <a:pt x="1343" y="2912"/>
                    </a:lnTo>
                    <a:lnTo>
                      <a:pt x="1332" y="2891"/>
                    </a:lnTo>
                    <a:lnTo>
                      <a:pt x="1316" y="2873"/>
                    </a:lnTo>
                    <a:lnTo>
                      <a:pt x="1298" y="2857"/>
                    </a:lnTo>
                    <a:lnTo>
                      <a:pt x="1276" y="2845"/>
                    </a:lnTo>
                    <a:lnTo>
                      <a:pt x="1251" y="2838"/>
                    </a:lnTo>
                    <a:lnTo>
                      <a:pt x="1226" y="2836"/>
                    </a:lnTo>
                    <a:lnTo>
                      <a:pt x="1203" y="2838"/>
                    </a:lnTo>
                    <a:lnTo>
                      <a:pt x="1180" y="2844"/>
                    </a:lnTo>
                    <a:lnTo>
                      <a:pt x="1158" y="2856"/>
                    </a:lnTo>
                    <a:lnTo>
                      <a:pt x="1139" y="2873"/>
                    </a:lnTo>
                    <a:lnTo>
                      <a:pt x="909" y="3101"/>
                    </a:lnTo>
                    <a:lnTo>
                      <a:pt x="885" y="3122"/>
                    </a:lnTo>
                    <a:lnTo>
                      <a:pt x="858" y="3136"/>
                    </a:lnTo>
                    <a:lnTo>
                      <a:pt x="828" y="3146"/>
                    </a:lnTo>
                    <a:lnTo>
                      <a:pt x="798" y="3152"/>
                    </a:lnTo>
                    <a:lnTo>
                      <a:pt x="766" y="3152"/>
                    </a:lnTo>
                    <a:lnTo>
                      <a:pt x="737" y="3146"/>
                    </a:lnTo>
                    <a:lnTo>
                      <a:pt x="707" y="3136"/>
                    </a:lnTo>
                    <a:lnTo>
                      <a:pt x="680" y="3122"/>
                    </a:lnTo>
                    <a:lnTo>
                      <a:pt x="655" y="3101"/>
                    </a:lnTo>
                    <a:lnTo>
                      <a:pt x="362" y="2809"/>
                    </a:lnTo>
                    <a:lnTo>
                      <a:pt x="344" y="2789"/>
                    </a:lnTo>
                    <a:lnTo>
                      <a:pt x="329" y="2765"/>
                    </a:lnTo>
                    <a:lnTo>
                      <a:pt x="318" y="2738"/>
                    </a:lnTo>
                    <a:lnTo>
                      <a:pt x="312" y="2712"/>
                    </a:lnTo>
                    <a:lnTo>
                      <a:pt x="310" y="2684"/>
                    </a:lnTo>
                    <a:lnTo>
                      <a:pt x="312" y="2655"/>
                    </a:lnTo>
                    <a:lnTo>
                      <a:pt x="318" y="2628"/>
                    </a:lnTo>
                    <a:lnTo>
                      <a:pt x="329" y="2603"/>
                    </a:lnTo>
                    <a:lnTo>
                      <a:pt x="344" y="2579"/>
                    </a:lnTo>
                    <a:lnTo>
                      <a:pt x="362" y="2557"/>
                    </a:lnTo>
                    <a:lnTo>
                      <a:pt x="593" y="2328"/>
                    </a:lnTo>
                    <a:lnTo>
                      <a:pt x="608" y="2309"/>
                    </a:lnTo>
                    <a:lnTo>
                      <a:pt x="620" y="2288"/>
                    </a:lnTo>
                    <a:lnTo>
                      <a:pt x="627" y="2265"/>
                    </a:lnTo>
                    <a:lnTo>
                      <a:pt x="629" y="2241"/>
                    </a:lnTo>
                    <a:lnTo>
                      <a:pt x="627" y="2217"/>
                    </a:lnTo>
                    <a:lnTo>
                      <a:pt x="619" y="2193"/>
                    </a:lnTo>
                    <a:lnTo>
                      <a:pt x="607" y="2170"/>
                    </a:lnTo>
                    <a:lnTo>
                      <a:pt x="592" y="2151"/>
                    </a:lnTo>
                    <a:lnTo>
                      <a:pt x="574" y="2136"/>
                    </a:lnTo>
                    <a:lnTo>
                      <a:pt x="552" y="2125"/>
                    </a:lnTo>
                    <a:lnTo>
                      <a:pt x="529" y="2118"/>
                    </a:lnTo>
                    <a:lnTo>
                      <a:pt x="504" y="2116"/>
                    </a:lnTo>
                    <a:lnTo>
                      <a:pt x="179" y="2116"/>
                    </a:lnTo>
                    <a:lnTo>
                      <a:pt x="146" y="2113"/>
                    </a:lnTo>
                    <a:lnTo>
                      <a:pt x="116" y="2104"/>
                    </a:lnTo>
                    <a:lnTo>
                      <a:pt x="88" y="2091"/>
                    </a:lnTo>
                    <a:lnTo>
                      <a:pt x="64" y="2074"/>
                    </a:lnTo>
                    <a:lnTo>
                      <a:pt x="42" y="2053"/>
                    </a:lnTo>
                    <a:lnTo>
                      <a:pt x="24" y="2028"/>
                    </a:lnTo>
                    <a:lnTo>
                      <a:pt x="11" y="1999"/>
                    </a:lnTo>
                    <a:lnTo>
                      <a:pt x="2" y="1970"/>
                    </a:lnTo>
                    <a:lnTo>
                      <a:pt x="0" y="1938"/>
                    </a:lnTo>
                    <a:lnTo>
                      <a:pt x="0" y="1525"/>
                    </a:lnTo>
                    <a:lnTo>
                      <a:pt x="2" y="1492"/>
                    </a:lnTo>
                    <a:lnTo>
                      <a:pt x="11" y="1462"/>
                    </a:lnTo>
                    <a:lnTo>
                      <a:pt x="24" y="1434"/>
                    </a:lnTo>
                    <a:lnTo>
                      <a:pt x="42" y="1410"/>
                    </a:lnTo>
                    <a:lnTo>
                      <a:pt x="64" y="1388"/>
                    </a:lnTo>
                    <a:lnTo>
                      <a:pt x="88" y="1371"/>
                    </a:lnTo>
                    <a:lnTo>
                      <a:pt x="116" y="1357"/>
                    </a:lnTo>
                    <a:lnTo>
                      <a:pt x="146" y="1349"/>
                    </a:lnTo>
                    <a:lnTo>
                      <a:pt x="179" y="1346"/>
                    </a:lnTo>
                    <a:lnTo>
                      <a:pt x="504" y="1346"/>
                    </a:lnTo>
                    <a:lnTo>
                      <a:pt x="529" y="1344"/>
                    </a:lnTo>
                    <a:lnTo>
                      <a:pt x="553" y="1337"/>
                    </a:lnTo>
                    <a:lnTo>
                      <a:pt x="574" y="1326"/>
                    </a:lnTo>
                    <a:lnTo>
                      <a:pt x="593" y="1310"/>
                    </a:lnTo>
                    <a:lnTo>
                      <a:pt x="608" y="1292"/>
                    </a:lnTo>
                    <a:lnTo>
                      <a:pt x="619" y="1270"/>
                    </a:lnTo>
                    <a:lnTo>
                      <a:pt x="627" y="1245"/>
                    </a:lnTo>
                    <a:lnTo>
                      <a:pt x="629" y="1221"/>
                    </a:lnTo>
                    <a:lnTo>
                      <a:pt x="627" y="1198"/>
                    </a:lnTo>
                    <a:lnTo>
                      <a:pt x="620" y="1175"/>
                    </a:lnTo>
                    <a:lnTo>
                      <a:pt x="608" y="1153"/>
                    </a:lnTo>
                    <a:lnTo>
                      <a:pt x="593" y="1133"/>
                    </a:lnTo>
                    <a:lnTo>
                      <a:pt x="362" y="905"/>
                    </a:lnTo>
                    <a:lnTo>
                      <a:pt x="344" y="883"/>
                    </a:lnTo>
                    <a:lnTo>
                      <a:pt x="329" y="860"/>
                    </a:lnTo>
                    <a:lnTo>
                      <a:pt x="318" y="834"/>
                    </a:lnTo>
                    <a:lnTo>
                      <a:pt x="312" y="806"/>
                    </a:lnTo>
                    <a:lnTo>
                      <a:pt x="310" y="779"/>
                    </a:lnTo>
                    <a:lnTo>
                      <a:pt x="312" y="751"/>
                    </a:lnTo>
                    <a:lnTo>
                      <a:pt x="318" y="723"/>
                    </a:lnTo>
                    <a:lnTo>
                      <a:pt x="329" y="698"/>
                    </a:lnTo>
                    <a:lnTo>
                      <a:pt x="344" y="674"/>
                    </a:lnTo>
                    <a:lnTo>
                      <a:pt x="362" y="652"/>
                    </a:lnTo>
                    <a:lnTo>
                      <a:pt x="655" y="360"/>
                    </a:lnTo>
                    <a:lnTo>
                      <a:pt x="680" y="341"/>
                    </a:lnTo>
                    <a:lnTo>
                      <a:pt x="707" y="325"/>
                    </a:lnTo>
                    <a:lnTo>
                      <a:pt x="737" y="315"/>
                    </a:lnTo>
                    <a:lnTo>
                      <a:pt x="766" y="310"/>
                    </a:lnTo>
                    <a:lnTo>
                      <a:pt x="798" y="310"/>
                    </a:lnTo>
                    <a:lnTo>
                      <a:pt x="828" y="315"/>
                    </a:lnTo>
                    <a:lnTo>
                      <a:pt x="858" y="325"/>
                    </a:lnTo>
                    <a:lnTo>
                      <a:pt x="885" y="341"/>
                    </a:lnTo>
                    <a:lnTo>
                      <a:pt x="909" y="360"/>
                    </a:lnTo>
                    <a:lnTo>
                      <a:pt x="1139" y="590"/>
                    </a:lnTo>
                    <a:lnTo>
                      <a:pt x="1158" y="605"/>
                    </a:lnTo>
                    <a:lnTo>
                      <a:pt x="1180" y="617"/>
                    </a:lnTo>
                    <a:lnTo>
                      <a:pt x="1203" y="624"/>
                    </a:lnTo>
                    <a:lnTo>
                      <a:pt x="1226" y="626"/>
                    </a:lnTo>
                    <a:lnTo>
                      <a:pt x="1251" y="624"/>
                    </a:lnTo>
                    <a:lnTo>
                      <a:pt x="1276" y="616"/>
                    </a:lnTo>
                    <a:lnTo>
                      <a:pt x="1298" y="604"/>
                    </a:lnTo>
                    <a:lnTo>
                      <a:pt x="1316" y="589"/>
                    </a:lnTo>
                    <a:lnTo>
                      <a:pt x="1332" y="571"/>
                    </a:lnTo>
                    <a:lnTo>
                      <a:pt x="1343" y="549"/>
                    </a:lnTo>
                    <a:lnTo>
                      <a:pt x="1350" y="526"/>
                    </a:lnTo>
                    <a:lnTo>
                      <a:pt x="1353" y="501"/>
                    </a:lnTo>
                    <a:lnTo>
                      <a:pt x="1353" y="178"/>
                    </a:lnTo>
                    <a:lnTo>
                      <a:pt x="1355" y="145"/>
                    </a:lnTo>
                    <a:lnTo>
                      <a:pt x="1364" y="115"/>
                    </a:lnTo>
                    <a:lnTo>
                      <a:pt x="1377" y="87"/>
                    </a:lnTo>
                    <a:lnTo>
                      <a:pt x="1394" y="63"/>
                    </a:lnTo>
                    <a:lnTo>
                      <a:pt x="1416" y="41"/>
                    </a:lnTo>
                    <a:lnTo>
                      <a:pt x="1441" y="24"/>
                    </a:lnTo>
                    <a:lnTo>
                      <a:pt x="1469" y="10"/>
                    </a:lnTo>
                    <a:lnTo>
                      <a:pt x="1499" y="2"/>
                    </a:lnTo>
                    <a:lnTo>
                      <a:pt x="1532" y="0"/>
                    </a:lnTo>
                    <a:close/>
                  </a:path>
                </a:pathLst>
              </a:custGeom>
              <a:solidFill>
                <a:srgbClr val="686C8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227" name="Freeform 334">
                <a:extLst>
                  <a:ext uri="{FF2B5EF4-FFF2-40B4-BE49-F238E27FC236}">
                    <a16:creationId xmlns:a16="http://schemas.microsoft.com/office/drawing/2014/main" id="{2A63A6C2-C027-3359-D5D8-CF5F548C11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78605" y="3694440"/>
                <a:ext cx="168274" cy="166688"/>
              </a:xfrm>
              <a:custGeom>
                <a:avLst/>
                <a:gdLst>
                  <a:gd name="T0" fmla="*/ 527 w 1160"/>
                  <a:gd name="T1" fmla="*/ 131 h 1155"/>
                  <a:gd name="T2" fmla="*/ 428 w 1160"/>
                  <a:gd name="T3" fmla="*/ 154 h 1155"/>
                  <a:gd name="T4" fmla="*/ 339 w 1160"/>
                  <a:gd name="T5" fmla="*/ 198 h 1155"/>
                  <a:gd name="T6" fmla="*/ 261 w 1160"/>
                  <a:gd name="T7" fmla="*/ 259 h 1155"/>
                  <a:gd name="T8" fmla="*/ 199 w 1160"/>
                  <a:gd name="T9" fmla="*/ 337 h 1155"/>
                  <a:gd name="T10" fmla="*/ 155 w 1160"/>
                  <a:gd name="T11" fmla="*/ 425 h 1155"/>
                  <a:gd name="T12" fmla="*/ 132 w 1160"/>
                  <a:gd name="T13" fmla="*/ 525 h 1155"/>
                  <a:gd name="T14" fmla="*/ 132 w 1160"/>
                  <a:gd name="T15" fmla="*/ 630 h 1155"/>
                  <a:gd name="T16" fmla="*/ 155 w 1160"/>
                  <a:gd name="T17" fmla="*/ 728 h 1155"/>
                  <a:gd name="T18" fmla="*/ 199 w 1160"/>
                  <a:gd name="T19" fmla="*/ 818 h 1155"/>
                  <a:gd name="T20" fmla="*/ 261 w 1160"/>
                  <a:gd name="T21" fmla="*/ 894 h 1155"/>
                  <a:gd name="T22" fmla="*/ 339 w 1160"/>
                  <a:gd name="T23" fmla="*/ 956 h 1155"/>
                  <a:gd name="T24" fmla="*/ 428 w 1160"/>
                  <a:gd name="T25" fmla="*/ 999 h 1155"/>
                  <a:gd name="T26" fmla="*/ 527 w 1160"/>
                  <a:gd name="T27" fmla="*/ 1022 h 1155"/>
                  <a:gd name="T28" fmla="*/ 633 w 1160"/>
                  <a:gd name="T29" fmla="*/ 1022 h 1155"/>
                  <a:gd name="T30" fmla="*/ 732 w 1160"/>
                  <a:gd name="T31" fmla="*/ 999 h 1155"/>
                  <a:gd name="T32" fmla="*/ 822 w 1160"/>
                  <a:gd name="T33" fmla="*/ 956 h 1155"/>
                  <a:gd name="T34" fmla="*/ 899 w 1160"/>
                  <a:gd name="T35" fmla="*/ 894 h 1155"/>
                  <a:gd name="T36" fmla="*/ 960 w 1160"/>
                  <a:gd name="T37" fmla="*/ 818 h 1155"/>
                  <a:gd name="T38" fmla="*/ 1004 w 1160"/>
                  <a:gd name="T39" fmla="*/ 728 h 1155"/>
                  <a:gd name="T40" fmla="*/ 1027 w 1160"/>
                  <a:gd name="T41" fmla="*/ 630 h 1155"/>
                  <a:gd name="T42" fmla="*/ 1027 w 1160"/>
                  <a:gd name="T43" fmla="*/ 525 h 1155"/>
                  <a:gd name="T44" fmla="*/ 1004 w 1160"/>
                  <a:gd name="T45" fmla="*/ 425 h 1155"/>
                  <a:gd name="T46" fmla="*/ 960 w 1160"/>
                  <a:gd name="T47" fmla="*/ 337 h 1155"/>
                  <a:gd name="T48" fmla="*/ 899 w 1160"/>
                  <a:gd name="T49" fmla="*/ 259 h 1155"/>
                  <a:gd name="T50" fmla="*/ 822 w 1160"/>
                  <a:gd name="T51" fmla="*/ 198 h 1155"/>
                  <a:gd name="T52" fmla="*/ 732 w 1160"/>
                  <a:gd name="T53" fmla="*/ 154 h 1155"/>
                  <a:gd name="T54" fmla="*/ 633 w 1160"/>
                  <a:gd name="T55" fmla="*/ 131 h 1155"/>
                  <a:gd name="T56" fmla="*/ 580 w 1160"/>
                  <a:gd name="T57" fmla="*/ 0 h 1155"/>
                  <a:gd name="T58" fmla="*/ 704 w 1160"/>
                  <a:gd name="T59" fmla="*/ 13 h 1155"/>
                  <a:gd name="T60" fmla="*/ 820 w 1160"/>
                  <a:gd name="T61" fmla="*/ 51 h 1155"/>
                  <a:gd name="T62" fmla="*/ 922 w 1160"/>
                  <a:gd name="T63" fmla="*/ 112 h 1155"/>
                  <a:gd name="T64" fmla="*/ 1011 w 1160"/>
                  <a:gd name="T65" fmla="*/ 190 h 1155"/>
                  <a:gd name="T66" fmla="*/ 1081 w 1160"/>
                  <a:gd name="T67" fmla="*/ 285 h 1155"/>
                  <a:gd name="T68" fmla="*/ 1130 w 1160"/>
                  <a:gd name="T69" fmla="*/ 395 h 1155"/>
                  <a:gd name="T70" fmla="*/ 1157 w 1160"/>
                  <a:gd name="T71" fmla="*/ 514 h 1155"/>
                  <a:gd name="T72" fmla="*/ 1157 w 1160"/>
                  <a:gd name="T73" fmla="*/ 640 h 1155"/>
                  <a:gd name="T74" fmla="*/ 1130 w 1160"/>
                  <a:gd name="T75" fmla="*/ 759 h 1155"/>
                  <a:gd name="T76" fmla="*/ 1081 w 1160"/>
                  <a:gd name="T77" fmla="*/ 868 h 1155"/>
                  <a:gd name="T78" fmla="*/ 1011 w 1160"/>
                  <a:gd name="T79" fmla="*/ 963 h 1155"/>
                  <a:gd name="T80" fmla="*/ 922 w 1160"/>
                  <a:gd name="T81" fmla="*/ 1043 h 1155"/>
                  <a:gd name="T82" fmla="*/ 820 w 1160"/>
                  <a:gd name="T83" fmla="*/ 1103 h 1155"/>
                  <a:gd name="T84" fmla="*/ 704 w 1160"/>
                  <a:gd name="T85" fmla="*/ 1142 h 1155"/>
                  <a:gd name="T86" fmla="*/ 580 w 1160"/>
                  <a:gd name="T87" fmla="*/ 1155 h 1155"/>
                  <a:gd name="T88" fmla="*/ 456 w 1160"/>
                  <a:gd name="T89" fmla="*/ 1142 h 1155"/>
                  <a:gd name="T90" fmla="*/ 341 w 1160"/>
                  <a:gd name="T91" fmla="*/ 1103 h 1155"/>
                  <a:gd name="T92" fmla="*/ 238 w 1160"/>
                  <a:gd name="T93" fmla="*/ 1043 h 1155"/>
                  <a:gd name="T94" fmla="*/ 150 w 1160"/>
                  <a:gd name="T95" fmla="*/ 963 h 1155"/>
                  <a:gd name="T96" fmla="*/ 79 w 1160"/>
                  <a:gd name="T97" fmla="*/ 868 h 1155"/>
                  <a:gd name="T98" fmla="*/ 29 w 1160"/>
                  <a:gd name="T99" fmla="*/ 759 h 1155"/>
                  <a:gd name="T100" fmla="*/ 4 w 1160"/>
                  <a:gd name="T101" fmla="*/ 640 h 1155"/>
                  <a:gd name="T102" fmla="*/ 4 w 1160"/>
                  <a:gd name="T103" fmla="*/ 514 h 1155"/>
                  <a:gd name="T104" fmla="*/ 29 w 1160"/>
                  <a:gd name="T105" fmla="*/ 395 h 1155"/>
                  <a:gd name="T106" fmla="*/ 79 w 1160"/>
                  <a:gd name="T107" fmla="*/ 285 h 1155"/>
                  <a:gd name="T108" fmla="*/ 150 w 1160"/>
                  <a:gd name="T109" fmla="*/ 190 h 1155"/>
                  <a:gd name="T110" fmla="*/ 238 w 1160"/>
                  <a:gd name="T111" fmla="*/ 112 h 1155"/>
                  <a:gd name="T112" fmla="*/ 341 w 1160"/>
                  <a:gd name="T113" fmla="*/ 51 h 1155"/>
                  <a:gd name="T114" fmla="*/ 456 w 1160"/>
                  <a:gd name="T115" fmla="*/ 13 h 1155"/>
                  <a:gd name="T116" fmla="*/ 580 w 1160"/>
                  <a:gd name="T117" fmla="*/ 0 h 1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160" h="1155">
                    <a:moveTo>
                      <a:pt x="580" y="128"/>
                    </a:moveTo>
                    <a:lnTo>
                      <a:pt x="527" y="131"/>
                    </a:lnTo>
                    <a:lnTo>
                      <a:pt x="477" y="140"/>
                    </a:lnTo>
                    <a:lnTo>
                      <a:pt x="428" y="154"/>
                    </a:lnTo>
                    <a:lnTo>
                      <a:pt x="381" y="174"/>
                    </a:lnTo>
                    <a:lnTo>
                      <a:pt x="339" y="198"/>
                    </a:lnTo>
                    <a:lnTo>
                      <a:pt x="298" y="226"/>
                    </a:lnTo>
                    <a:lnTo>
                      <a:pt x="261" y="259"/>
                    </a:lnTo>
                    <a:lnTo>
                      <a:pt x="228" y="296"/>
                    </a:lnTo>
                    <a:lnTo>
                      <a:pt x="199" y="337"/>
                    </a:lnTo>
                    <a:lnTo>
                      <a:pt x="175" y="379"/>
                    </a:lnTo>
                    <a:lnTo>
                      <a:pt x="155" y="425"/>
                    </a:lnTo>
                    <a:lnTo>
                      <a:pt x="141" y="475"/>
                    </a:lnTo>
                    <a:lnTo>
                      <a:pt x="132" y="525"/>
                    </a:lnTo>
                    <a:lnTo>
                      <a:pt x="129" y="577"/>
                    </a:lnTo>
                    <a:lnTo>
                      <a:pt x="132" y="630"/>
                    </a:lnTo>
                    <a:lnTo>
                      <a:pt x="141" y="680"/>
                    </a:lnTo>
                    <a:lnTo>
                      <a:pt x="155" y="728"/>
                    </a:lnTo>
                    <a:lnTo>
                      <a:pt x="175" y="774"/>
                    </a:lnTo>
                    <a:lnTo>
                      <a:pt x="199" y="818"/>
                    </a:lnTo>
                    <a:lnTo>
                      <a:pt x="228" y="857"/>
                    </a:lnTo>
                    <a:lnTo>
                      <a:pt x="261" y="894"/>
                    </a:lnTo>
                    <a:lnTo>
                      <a:pt x="298" y="927"/>
                    </a:lnTo>
                    <a:lnTo>
                      <a:pt x="339" y="956"/>
                    </a:lnTo>
                    <a:lnTo>
                      <a:pt x="381" y="980"/>
                    </a:lnTo>
                    <a:lnTo>
                      <a:pt x="428" y="999"/>
                    </a:lnTo>
                    <a:lnTo>
                      <a:pt x="477" y="1014"/>
                    </a:lnTo>
                    <a:lnTo>
                      <a:pt x="527" y="1022"/>
                    </a:lnTo>
                    <a:lnTo>
                      <a:pt x="580" y="1026"/>
                    </a:lnTo>
                    <a:lnTo>
                      <a:pt x="633" y="1022"/>
                    </a:lnTo>
                    <a:lnTo>
                      <a:pt x="683" y="1014"/>
                    </a:lnTo>
                    <a:lnTo>
                      <a:pt x="732" y="999"/>
                    </a:lnTo>
                    <a:lnTo>
                      <a:pt x="778" y="980"/>
                    </a:lnTo>
                    <a:lnTo>
                      <a:pt x="822" y="956"/>
                    </a:lnTo>
                    <a:lnTo>
                      <a:pt x="861" y="927"/>
                    </a:lnTo>
                    <a:lnTo>
                      <a:pt x="899" y="894"/>
                    </a:lnTo>
                    <a:lnTo>
                      <a:pt x="932" y="857"/>
                    </a:lnTo>
                    <a:lnTo>
                      <a:pt x="960" y="818"/>
                    </a:lnTo>
                    <a:lnTo>
                      <a:pt x="984" y="774"/>
                    </a:lnTo>
                    <a:lnTo>
                      <a:pt x="1004" y="728"/>
                    </a:lnTo>
                    <a:lnTo>
                      <a:pt x="1018" y="680"/>
                    </a:lnTo>
                    <a:lnTo>
                      <a:pt x="1027" y="630"/>
                    </a:lnTo>
                    <a:lnTo>
                      <a:pt x="1030" y="577"/>
                    </a:lnTo>
                    <a:lnTo>
                      <a:pt x="1027" y="525"/>
                    </a:lnTo>
                    <a:lnTo>
                      <a:pt x="1018" y="475"/>
                    </a:lnTo>
                    <a:lnTo>
                      <a:pt x="1004" y="425"/>
                    </a:lnTo>
                    <a:lnTo>
                      <a:pt x="984" y="379"/>
                    </a:lnTo>
                    <a:lnTo>
                      <a:pt x="960" y="337"/>
                    </a:lnTo>
                    <a:lnTo>
                      <a:pt x="932" y="296"/>
                    </a:lnTo>
                    <a:lnTo>
                      <a:pt x="899" y="259"/>
                    </a:lnTo>
                    <a:lnTo>
                      <a:pt x="861" y="226"/>
                    </a:lnTo>
                    <a:lnTo>
                      <a:pt x="822" y="198"/>
                    </a:lnTo>
                    <a:lnTo>
                      <a:pt x="778" y="174"/>
                    </a:lnTo>
                    <a:lnTo>
                      <a:pt x="732" y="154"/>
                    </a:lnTo>
                    <a:lnTo>
                      <a:pt x="683" y="140"/>
                    </a:lnTo>
                    <a:lnTo>
                      <a:pt x="633" y="131"/>
                    </a:lnTo>
                    <a:lnTo>
                      <a:pt x="580" y="128"/>
                    </a:lnTo>
                    <a:close/>
                    <a:moveTo>
                      <a:pt x="580" y="0"/>
                    </a:moveTo>
                    <a:lnTo>
                      <a:pt x="643" y="3"/>
                    </a:lnTo>
                    <a:lnTo>
                      <a:pt x="704" y="13"/>
                    </a:lnTo>
                    <a:lnTo>
                      <a:pt x="762" y="28"/>
                    </a:lnTo>
                    <a:lnTo>
                      <a:pt x="820" y="51"/>
                    </a:lnTo>
                    <a:lnTo>
                      <a:pt x="872" y="79"/>
                    </a:lnTo>
                    <a:lnTo>
                      <a:pt x="922" y="112"/>
                    </a:lnTo>
                    <a:lnTo>
                      <a:pt x="968" y="149"/>
                    </a:lnTo>
                    <a:lnTo>
                      <a:pt x="1011" y="190"/>
                    </a:lnTo>
                    <a:lnTo>
                      <a:pt x="1048" y="236"/>
                    </a:lnTo>
                    <a:lnTo>
                      <a:pt x="1081" y="285"/>
                    </a:lnTo>
                    <a:lnTo>
                      <a:pt x="1108" y="339"/>
                    </a:lnTo>
                    <a:lnTo>
                      <a:pt x="1130" y="395"/>
                    </a:lnTo>
                    <a:lnTo>
                      <a:pt x="1147" y="454"/>
                    </a:lnTo>
                    <a:lnTo>
                      <a:pt x="1157" y="514"/>
                    </a:lnTo>
                    <a:lnTo>
                      <a:pt x="1160" y="577"/>
                    </a:lnTo>
                    <a:lnTo>
                      <a:pt x="1157" y="640"/>
                    </a:lnTo>
                    <a:lnTo>
                      <a:pt x="1147" y="701"/>
                    </a:lnTo>
                    <a:lnTo>
                      <a:pt x="1130" y="759"/>
                    </a:lnTo>
                    <a:lnTo>
                      <a:pt x="1108" y="816"/>
                    </a:lnTo>
                    <a:lnTo>
                      <a:pt x="1081" y="868"/>
                    </a:lnTo>
                    <a:lnTo>
                      <a:pt x="1048" y="917"/>
                    </a:lnTo>
                    <a:lnTo>
                      <a:pt x="1011" y="963"/>
                    </a:lnTo>
                    <a:lnTo>
                      <a:pt x="968" y="1006"/>
                    </a:lnTo>
                    <a:lnTo>
                      <a:pt x="922" y="1043"/>
                    </a:lnTo>
                    <a:lnTo>
                      <a:pt x="872" y="1076"/>
                    </a:lnTo>
                    <a:lnTo>
                      <a:pt x="820" y="1103"/>
                    </a:lnTo>
                    <a:lnTo>
                      <a:pt x="762" y="1125"/>
                    </a:lnTo>
                    <a:lnTo>
                      <a:pt x="704" y="1142"/>
                    </a:lnTo>
                    <a:lnTo>
                      <a:pt x="643" y="1151"/>
                    </a:lnTo>
                    <a:lnTo>
                      <a:pt x="580" y="1155"/>
                    </a:lnTo>
                    <a:lnTo>
                      <a:pt x="516" y="1151"/>
                    </a:lnTo>
                    <a:lnTo>
                      <a:pt x="456" y="1142"/>
                    </a:lnTo>
                    <a:lnTo>
                      <a:pt x="397" y="1125"/>
                    </a:lnTo>
                    <a:lnTo>
                      <a:pt x="341" y="1103"/>
                    </a:lnTo>
                    <a:lnTo>
                      <a:pt x="287" y="1076"/>
                    </a:lnTo>
                    <a:lnTo>
                      <a:pt x="238" y="1043"/>
                    </a:lnTo>
                    <a:lnTo>
                      <a:pt x="191" y="1006"/>
                    </a:lnTo>
                    <a:lnTo>
                      <a:pt x="150" y="963"/>
                    </a:lnTo>
                    <a:lnTo>
                      <a:pt x="112" y="917"/>
                    </a:lnTo>
                    <a:lnTo>
                      <a:pt x="79" y="868"/>
                    </a:lnTo>
                    <a:lnTo>
                      <a:pt x="52" y="816"/>
                    </a:lnTo>
                    <a:lnTo>
                      <a:pt x="29" y="759"/>
                    </a:lnTo>
                    <a:lnTo>
                      <a:pt x="14" y="701"/>
                    </a:lnTo>
                    <a:lnTo>
                      <a:pt x="4" y="640"/>
                    </a:lnTo>
                    <a:lnTo>
                      <a:pt x="0" y="577"/>
                    </a:lnTo>
                    <a:lnTo>
                      <a:pt x="4" y="514"/>
                    </a:lnTo>
                    <a:lnTo>
                      <a:pt x="14" y="454"/>
                    </a:lnTo>
                    <a:lnTo>
                      <a:pt x="29" y="395"/>
                    </a:lnTo>
                    <a:lnTo>
                      <a:pt x="52" y="339"/>
                    </a:lnTo>
                    <a:lnTo>
                      <a:pt x="79" y="285"/>
                    </a:lnTo>
                    <a:lnTo>
                      <a:pt x="112" y="236"/>
                    </a:lnTo>
                    <a:lnTo>
                      <a:pt x="150" y="190"/>
                    </a:lnTo>
                    <a:lnTo>
                      <a:pt x="191" y="149"/>
                    </a:lnTo>
                    <a:lnTo>
                      <a:pt x="238" y="112"/>
                    </a:lnTo>
                    <a:lnTo>
                      <a:pt x="287" y="79"/>
                    </a:lnTo>
                    <a:lnTo>
                      <a:pt x="341" y="51"/>
                    </a:lnTo>
                    <a:lnTo>
                      <a:pt x="397" y="28"/>
                    </a:lnTo>
                    <a:lnTo>
                      <a:pt x="456" y="13"/>
                    </a:lnTo>
                    <a:lnTo>
                      <a:pt x="516" y="3"/>
                    </a:lnTo>
                    <a:lnTo>
                      <a:pt x="580" y="0"/>
                    </a:lnTo>
                    <a:close/>
                  </a:path>
                </a:pathLst>
              </a:custGeom>
              <a:solidFill>
                <a:srgbClr val="686C8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</p:grpSp>
        <p:grpSp>
          <p:nvGrpSpPr>
            <p:cNvPr id="228" name="Group 421">
              <a:extLst>
                <a:ext uri="{FF2B5EF4-FFF2-40B4-BE49-F238E27FC236}">
                  <a16:creationId xmlns:a16="http://schemas.microsoft.com/office/drawing/2014/main" id="{8F0517BD-BA0C-3B70-66C3-95B9EAC69E83}"/>
                </a:ext>
              </a:extLst>
            </p:cNvPr>
            <p:cNvGrpSpPr/>
            <p:nvPr/>
          </p:nvGrpSpPr>
          <p:grpSpPr>
            <a:xfrm>
              <a:off x="4372510" y="-2480988"/>
              <a:ext cx="557055" cy="555293"/>
              <a:chOff x="6313816" y="3533071"/>
              <a:chExt cx="501650" cy="500063"/>
            </a:xfrm>
            <a:solidFill>
              <a:schemeClr val="tx1"/>
            </a:solidFill>
          </p:grpSpPr>
          <p:sp>
            <p:nvSpPr>
              <p:cNvPr id="229" name="Freeform 333">
                <a:extLst>
                  <a:ext uri="{FF2B5EF4-FFF2-40B4-BE49-F238E27FC236}">
                    <a16:creationId xmlns:a16="http://schemas.microsoft.com/office/drawing/2014/main" id="{B8A545CD-4108-8C98-101D-636428FC6B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13816" y="3533071"/>
                <a:ext cx="501650" cy="500063"/>
              </a:xfrm>
              <a:custGeom>
                <a:avLst/>
                <a:gdLst>
                  <a:gd name="T0" fmla="*/ 1478 w 3478"/>
                  <a:gd name="T1" fmla="*/ 540 h 3463"/>
                  <a:gd name="T2" fmla="*/ 1288 w 3478"/>
                  <a:gd name="T3" fmla="*/ 747 h 3463"/>
                  <a:gd name="T4" fmla="*/ 818 w 3478"/>
                  <a:gd name="T5" fmla="*/ 451 h 3463"/>
                  <a:gd name="T6" fmla="*/ 439 w 3478"/>
                  <a:gd name="T7" fmla="*/ 770 h 3463"/>
                  <a:gd name="T8" fmla="*/ 754 w 3478"/>
                  <a:gd name="T9" fmla="*/ 1173 h 3463"/>
                  <a:gd name="T10" fmla="*/ 646 w 3478"/>
                  <a:gd name="T11" fmla="*/ 1433 h 3463"/>
                  <a:gd name="T12" fmla="*/ 138 w 3478"/>
                  <a:gd name="T13" fmla="*/ 1495 h 3463"/>
                  <a:gd name="T14" fmla="*/ 179 w 3478"/>
                  <a:gd name="T15" fmla="*/ 1987 h 3463"/>
                  <a:gd name="T16" fmla="*/ 721 w 3478"/>
                  <a:gd name="T17" fmla="*/ 2110 h 3463"/>
                  <a:gd name="T18" fmla="*/ 709 w 3478"/>
                  <a:gd name="T19" fmla="*/ 2390 h 3463"/>
                  <a:gd name="T20" fmla="*/ 747 w 3478"/>
                  <a:gd name="T21" fmla="*/ 3011 h 3463"/>
                  <a:gd name="T22" fmla="*/ 1101 w 3478"/>
                  <a:gd name="T23" fmla="*/ 2740 h 3463"/>
                  <a:gd name="T24" fmla="*/ 1359 w 3478"/>
                  <a:gd name="T25" fmla="*/ 2744 h 3463"/>
                  <a:gd name="T26" fmla="*/ 1481 w 3478"/>
                  <a:gd name="T27" fmla="*/ 3285 h 3463"/>
                  <a:gd name="T28" fmla="*/ 1976 w 3478"/>
                  <a:gd name="T29" fmla="*/ 3325 h 3463"/>
                  <a:gd name="T30" fmla="*/ 2039 w 3478"/>
                  <a:gd name="T31" fmla="*/ 2819 h 3463"/>
                  <a:gd name="T32" fmla="*/ 2300 w 3478"/>
                  <a:gd name="T33" fmla="*/ 2712 h 3463"/>
                  <a:gd name="T34" fmla="*/ 2703 w 3478"/>
                  <a:gd name="T35" fmla="*/ 3025 h 3463"/>
                  <a:gd name="T36" fmla="*/ 3024 w 3478"/>
                  <a:gd name="T37" fmla="*/ 2649 h 3463"/>
                  <a:gd name="T38" fmla="*/ 2727 w 3478"/>
                  <a:gd name="T39" fmla="*/ 2180 h 3463"/>
                  <a:gd name="T40" fmla="*/ 2935 w 3478"/>
                  <a:gd name="T41" fmla="*/ 1990 h 3463"/>
                  <a:gd name="T42" fmla="*/ 3349 w 3478"/>
                  <a:gd name="T43" fmla="*/ 1525 h 3463"/>
                  <a:gd name="T44" fmla="*/ 2899 w 3478"/>
                  <a:gd name="T45" fmla="*/ 1463 h 3463"/>
                  <a:gd name="T46" fmla="*/ 2721 w 3478"/>
                  <a:gd name="T47" fmla="*/ 1245 h 3463"/>
                  <a:gd name="T48" fmla="*/ 3034 w 3478"/>
                  <a:gd name="T49" fmla="*/ 801 h 3463"/>
                  <a:gd name="T50" fmla="*/ 2688 w 3478"/>
                  <a:gd name="T51" fmla="*/ 437 h 3463"/>
                  <a:gd name="T52" fmla="*/ 2264 w 3478"/>
                  <a:gd name="T53" fmla="*/ 755 h 3463"/>
                  <a:gd name="T54" fmla="*/ 2020 w 3478"/>
                  <a:gd name="T55" fmla="*/ 611 h 3463"/>
                  <a:gd name="T56" fmla="*/ 1962 w 3478"/>
                  <a:gd name="T57" fmla="*/ 130 h 3463"/>
                  <a:gd name="T58" fmla="*/ 2062 w 3478"/>
                  <a:gd name="T59" fmla="*/ 41 h 3463"/>
                  <a:gd name="T60" fmla="*/ 2134 w 3478"/>
                  <a:gd name="T61" fmla="*/ 549 h 3463"/>
                  <a:gd name="T62" fmla="*/ 2298 w 3478"/>
                  <a:gd name="T63" fmla="*/ 617 h 3463"/>
                  <a:gd name="T64" fmla="*/ 2711 w 3478"/>
                  <a:gd name="T65" fmla="*/ 310 h 3463"/>
                  <a:gd name="T66" fmla="*/ 3159 w 3478"/>
                  <a:gd name="T67" fmla="*/ 723 h 3463"/>
                  <a:gd name="T68" fmla="*/ 2885 w 3478"/>
                  <a:gd name="T69" fmla="*/ 1133 h 3463"/>
                  <a:gd name="T70" fmla="*/ 2885 w 3478"/>
                  <a:gd name="T71" fmla="*/ 1310 h 3463"/>
                  <a:gd name="T72" fmla="*/ 3389 w 3478"/>
                  <a:gd name="T73" fmla="*/ 1371 h 3463"/>
                  <a:gd name="T74" fmla="*/ 3475 w 3478"/>
                  <a:gd name="T75" fmla="*/ 1970 h 3463"/>
                  <a:gd name="T76" fmla="*/ 3299 w 3478"/>
                  <a:gd name="T77" fmla="*/ 2116 h 3463"/>
                  <a:gd name="T78" fmla="*/ 2850 w 3478"/>
                  <a:gd name="T79" fmla="*/ 2217 h 3463"/>
                  <a:gd name="T80" fmla="*/ 3148 w 3478"/>
                  <a:gd name="T81" fmla="*/ 2603 h 3463"/>
                  <a:gd name="T82" fmla="*/ 3115 w 3478"/>
                  <a:gd name="T83" fmla="*/ 2809 h 3463"/>
                  <a:gd name="T84" fmla="*/ 2620 w 3478"/>
                  <a:gd name="T85" fmla="*/ 3136 h 3463"/>
                  <a:gd name="T86" fmla="*/ 2227 w 3478"/>
                  <a:gd name="T87" fmla="*/ 2838 h 3463"/>
                  <a:gd name="T88" fmla="*/ 2126 w 3478"/>
                  <a:gd name="T89" fmla="*/ 3285 h 3463"/>
                  <a:gd name="T90" fmla="*/ 1979 w 3478"/>
                  <a:gd name="T91" fmla="*/ 3460 h 3463"/>
                  <a:gd name="T92" fmla="*/ 1377 w 3478"/>
                  <a:gd name="T93" fmla="*/ 3375 h 3463"/>
                  <a:gd name="T94" fmla="*/ 1316 w 3478"/>
                  <a:gd name="T95" fmla="*/ 2873 h 3463"/>
                  <a:gd name="T96" fmla="*/ 1139 w 3478"/>
                  <a:gd name="T97" fmla="*/ 2873 h 3463"/>
                  <a:gd name="T98" fmla="*/ 707 w 3478"/>
                  <a:gd name="T99" fmla="*/ 3136 h 3463"/>
                  <a:gd name="T100" fmla="*/ 310 w 3478"/>
                  <a:gd name="T101" fmla="*/ 2684 h 3463"/>
                  <a:gd name="T102" fmla="*/ 620 w 3478"/>
                  <a:gd name="T103" fmla="*/ 2288 h 3463"/>
                  <a:gd name="T104" fmla="*/ 552 w 3478"/>
                  <a:gd name="T105" fmla="*/ 2125 h 3463"/>
                  <a:gd name="T106" fmla="*/ 42 w 3478"/>
                  <a:gd name="T107" fmla="*/ 2053 h 3463"/>
                  <a:gd name="T108" fmla="*/ 24 w 3478"/>
                  <a:gd name="T109" fmla="*/ 1434 h 3463"/>
                  <a:gd name="T110" fmla="*/ 529 w 3478"/>
                  <a:gd name="T111" fmla="*/ 1344 h 3463"/>
                  <a:gd name="T112" fmla="*/ 627 w 3478"/>
                  <a:gd name="T113" fmla="*/ 1198 h 3463"/>
                  <a:gd name="T114" fmla="*/ 312 w 3478"/>
                  <a:gd name="T115" fmla="*/ 806 h 3463"/>
                  <a:gd name="T116" fmla="*/ 680 w 3478"/>
                  <a:gd name="T117" fmla="*/ 341 h 3463"/>
                  <a:gd name="T118" fmla="*/ 909 w 3478"/>
                  <a:gd name="T119" fmla="*/ 360 h 3463"/>
                  <a:gd name="T120" fmla="*/ 1298 w 3478"/>
                  <a:gd name="T121" fmla="*/ 604 h 3463"/>
                  <a:gd name="T122" fmla="*/ 1364 w 3478"/>
                  <a:gd name="T123" fmla="*/ 115 h 3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478" h="3463">
                    <a:moveTo>
                      <a:pt x="1532" y="127"/>
                    </a:moveTo>
                    <a:lnTo>
                      <a:pt x="1515" y="130"/>
                    </a:lnTo>
                    <a:lnTo>
                      <a:pt x="1502" y="137"/>
                    </a:lnTo>
                    <a:lnTo>
                      <a:pt x="1491" y="148"/>
                    </a:lnTo>
                    <a:lnTo>
                      <a:pt x="1483" y="161"/>
                    </a:lnTo>
                    <a:lnTo>
                      <a:pt x="1481" y="178"/>
                    </a:lnTo>
                    <a:lnTo>
                      <a:pt x="1481" y="501"/>
                    </a:lnTo>
                    <a:lnTo>
                      <a:pt x="1478" y="540"/>
                    </a:lnTo>
                    <a:lnTo>
                      <a:pt x="1470" y="577"/>
                    </a:lnTo>
                    <a:lnTo>
                      <a:pt x="1457" y="611"/>
                    </a:lnTo>
                    <a:lnTo>
                      <a:pt x="1439" y="642"/>
                    </a:lnTo>
                    <a:lnTo>
                      <a:pt x="1416" y="671"/>
                    </a:lnTo>
                    <a:lnTo>
                      <a:pt x="1390" y="696"/>
                    </a:lnTo>
                    <a:lnTo>
                      <a:pt x="1359" y="718"/>
                    </a:lnTo>
                    <a:lnTo>
                      <a:pt x="1324" y="735"/>
                    </a:lnTo>
                    <a:lnTo>
                      <a:pt x="1288" y="747"/>
                    </a:lnTo>
                    <a:lnTo>
                      <a:pt x="1251" y="754"/>
                    </a:lnTo>
                    <a:lnTo>
                      <a:pt x="1214" y="755"/>
                    </a:lnTo>
                    <a:lnTo>
                      <a:pt x="1178" y="750"/>
                    </a:lnTo>
                    <a:lnTo>
                      <a:pt x="1143" y="741"/>
                    </a:lnTo>
                    <a:lnTo>
                      <a:pt x="1109" y="725"/>
                    </a:lnTo>
                    <a:lnTo>
                      <a:pt x="1077" y="705"/>
                    </a:lnTo>
                    <a:lnTo>
                      <a:pt x="1047" y="680"/>
                    </a:lnTo>
                    <a:lnTo>
                      <a:pt x="818" y="451"/>
                    </a:lnTo>
                    <a:lnTo>
                      <a:pt x="805" y="442"/>
                    </a:lnTo>
                    <a:lnTo>
                      <a:pt x="791" y="437"/>
                    </a:lnTo>
                    <a:lnTo>
                      <a:pt x="774" y="437"/>
                    </a:lnTo>
                    <a:lnTo>
                      <a:pt x="760" y="442"/>
                    </a:lnTo>
                    <a:lnTo>
                      <a:pt x="747" y="451"/>
                    </a:lnTo>
                    <a:lnTo>
                      <a:pt x="453" y="743"/>
                    </a:lnTo>
                    <a:lnTo>
                      <a:pt x="445" y="756"/>
                    </a:lnTo>
                    <a:lnTo>
                      <a:pt x="439" y="770"/>
                    </a:lnTo>
                    <a:lnTo>
                      <a:pt x="439" y="787"/>
                    </a:lnTo>
                    <a:lnTo>
                      <a:pt x="445" y="801"/>
                    </a:lnTo>
                    <a:lnTo>
                      <a:pt x="453" y="814"/>
                    </a:lnTo>
                    <a:lnTo>
                      <a:pt x="684" y="1043"/>
                    </a:lnTo>
                    <a:lnTo>
                      <a:pt x="709" y="1072"/>
                    </a:lnTo>
                    <a:lnTo>
                      <a:pt x="729" y="1104"/>
                    </a:lnTo>
                    <a:lnTo>
                      <a:pt x="744" y="1137"/>
                    </a:lnTo>
                    <a:lnTo>
                      <a:pt x="754" y="1173"/>
                    </a:lnTo>
                    <a:lnTo>
                      <a:pt x="759" y="1209"/>
                    </a:lnTo>
                    <a:lnTo>
                      <a:pt x="758" y="1245"/>
                    </a:lnTo>
                    <a:lnTo>
                      <a:pt x="751" y="1282"/>
                    </a:lnTo>
                    <a:lnTo>
                      <a:pt x="739" y="1318"/>
                    </a:lnTo>
                    <a:lnTo>
                      <a:pt x="721" y="1353"/>
                    </a:lnTo>
                    <a:lnTo>
                      <a:pt x="699" y="1384"/>
                    </a:lnTo>
                    <a:lnTo>
                      <a:pt x="674" y="1410"/>
                    </a:lnTo>
                    <a:lnTo>
                      <a:pt x="646" y="1433"/>
                    </a:lnTo>
                    <a:lnTo>
                      <a:pt x="614" y="1450"/>
                    </a:lnTo>
                    <a:lnTo>
                      <a:pt x="580" y="1463"/>
                    </a:lnTo>
                    <a:lnTo>
                      <a:pt x="542" y="1471"/>
                    </a:lnTo>
                    <a:lnTo>
                      <a:pt x="504" y="1474"/>
                    </a:lnTo>
                    <a:lnTo>
                      <a:pt x="179" y="1474"/>
                    </a:lnTo>
                    <a:lnTo>
                      <a:pt x="162" y="1477"/>
                    </a:lnTo>
                    <a:lnTo>
                      <a:pt x="149" y="1484"/>
                    </a:lnTo>
                    <a:lnTo>
                      <a:pt x="138" y="1495"/>
                    </a:lnTo>
                    <a:lnTo>
                      <a:pt x="131" y="1508"/>
                    </a:lnTo>
                    <a:lnTo>
                      <a:pt x="128" y="1525"/>
                    </a:lnTo>
                    <a:lnTo>
                      <a:pt x="128" y="1938"/>
                    </a:lnTo>
                    <a:lnTo>
                      <a:pt x="131" y="1953"/>
                    </a:lnTo>
                    <a:lnTo>
                      <a:pt x="138" y="1968"/>
                    </a:lnTo>
                    <a:lnTo>
                      <a:pt x="149" y="1978"/>
                    </a:lnTo>
                    <a:lnTo>
                      <a:pt x="162" y="1985"/>
                    </a:lnTo>
                    <a:lnTo>
                      <a:pt x="179" y="1987"/>
                    </a:lnTo>
                    <a:lnTo>
                      <a:pt x="504" y="1987"/>
                    </a:lnTo>
                    <a:lnTo>
                      <a:pt x="542" y="1990"/>
                    </a:lnTo>
                    <a:lnTo>
                      <a:pt x="580" y="1998"/>
                    </a:lnTo>
                    <a:lnTo>
                      <a:pt x="614" y="2011"/>
                    </a:lnTo>
                    <a:lnTo>
                      <a:pt x="646" y="2030"/>
                    </a:lnTo>
                    <a:lnTo>
                      <a:pt x="674" y="2052"/>
                    </a:lnTo>
                    <a:lnTo>
                      <a:pt x="699" y="2079"/>
                    </a:lnTo>
                    <a:lnTo>
                      <a:pt x="721" y="2110"/>
                    </a:lnTo>
                    <a:lnTo>
                      <a:pt x="739" y="2144"/>
                    </a:lnTo>
                    <a:lnTo>
                      <a:pt x="751" y="2180"/>
                    </a:lnTo>
                    <a:lnTo>
                      <a:pt x="758" y="2217"/>
                    </a:lnTo>
                    <a:lnTo>
                      <a:pt x="759" y="2254"/>
                    </a:lnTo>
                    <a:lnTo>
                      <a:pt x="754" y="2290"/>
                    </a:lnTo>
                    <a:lnTo>
                      <a:pt x="744" y="2325"/>
                    </a:lnTo>
                    <a:lnTo>
                      <a:pt x="729" y="2358"/>
                    </a:lnTo>
                    <a:lnTo>
                      <a:pt x="709" y="2390"/>
                    </a:lnTo>
                    <a:lnTo>
                      <a:pt x="684" y="2419"/>
                    </a:lnTo>
                    <a:lnTo>
                      <a:pt x="453" y="2648"/>
                    </a:lnTo>
                    <a:lnTo>
                      <a:pt x="445" y="2661"/>
                    </a:lnTo>
                    <a:lnTo>
                      <a:pt x="439" y="2676"/>
                    </a:lnTo>
                    <a:lnTo>
                      <a:pt x="439" y="2691"/>
                    </a:lnTo>
                    <a:lnTo>
                      <a:pt x="445" y="2706"/>
                    </a:lnTo>
                    <a:lnTo>
                      <a:pt x="453" y="2719"/>
                    </a:lnTo>
                    <a:lnTo>
                      <a:pt x="747" y="3011"/>
                    </a:lnTo>
                    <a:lnTo>
                      <a:pt x="760" y="3020"/>
                    </a:lnTo>
                    <a:lnTo>
                      <a:pt x="774" y="3025"/>
                    </a:lnTo>
                    <a:lnTo>
                      <a:pt x="791" y="3025"/>
                    </a:lnTo>
                    <a:lnTo>
                      <a:pt x="805" y="3020"/>
                    </a:lnTo>
                    <a:lnTo>
                      <a:pt x="818" y="3011"/>
                    </a:lnTo>
                    <a:lnTo>
                      <a:pt x="1047" y="2782"/>
                    </a:lnTo>
                    <a:lnTo>
                      <a:pt x="1074" y="2759"/>
                    </a:lnTo>
                    <a:lnTo>
                      <a:pt x="1101" y="2740"/>
                    </a:lnTo>
                    <a:lnTo>
                      <a:pt x="1131" y="2726"/>
                    </a:lnTo>
                    <a:lnTo>
                      <a:pt x="1162" y="2715"/>
                    </a:lnTo>
                    <a:lnTo>
                      <a:pt x="1193" y="2709"/>
                    </a:lnTo>
                    <a:lnTo>
                      <a:pt x="1225" y="2707"/>
                    </a:lnTo>
                    <a:lnTo>
                      <a:pt x="1258" y="2709"/>
                    </a:lnTo>
                    <a:lnTo>
                      <a:pt x="1291" y="2715"/>
                    </a:lnTo>
                    <a:lnTo>
                      <a:pt x="1324" y="2727"/>
                    </a:lnTo>
                    <a:lnTo>
                      <a:pt x="1359" y="2744"/>
                    </a:lnTo>
                    <a:lnTo>
                      <a:pt x="1390" y="2766"/>
                    </a:lnTo>
                    <a:lnTo>
                      <a:pt x="1416" y="2791"/>
                    </a:lnTo>
                    <a:lnTo>
                      <a:pt x="1439" y="2819"/>
                    </a:lnTo>
                    <a:lnTo>
                      <a:pt x="1457" y="2851"/>
                    </a:lnTo>
                    <a:lnTo>
                      <a:pt x="1470" y="2886"/>
                    </a:lnTo>
                    <a:lnTo>
                      <a:pt x="1478" y="2922"/>
                    </a:lnTo>
                    <a:lnTo>
                      <a:pt x="1481" y="2960"/>
                    </a:lnTo>
                    <a:lnTo>
                      <a:pt x="1481" y="3285"/>
                    </a:lnTo>
                    <a:lnTo>
                      <a:pt x="1483" y="3300"/>
                    </a:lnTo>
                    <a:lnTo>
                      <a:pt x="1491" y="3314"/>
                    </a:lnTo>
                    <a:lnTo>
                      <a:pt x="1502" y="3325"/>
                    </a:lnTo>
                    <a:lnTo>
                      <a:pt x="1515" y="3332"/>
                    </a:lnTo>
                    <a:lnTo>
                      <a:pt x="1532" y="3334"/>
                    </a:lnTo>
                    <a:lnTo>
                      <a:pt x="1947" y="3334"/>
                    </a:lnTo>
                    <a:lnTo>
                      <a:pt x="1962" y="3332"/>
                    </a:lnTo>
                    <a:lnTo>
                      <a:pt x="1976" y="3325"/>
                    </a:lnTo>
                    <a:lnTo>
                      <a:pt x="1987" y="3314"/>
                    </a:lnTo>
                    <a:lnTo>
                      <a:pt x="1994" y="3300"/>
                    </a:lnTo>
                    <a:lnTo>
                      <a:pt x="1996" y="3285"/>
                    </a:lnTo>
                    <a:lnTo>
                      <a:pt x="1996" y="2960"/>
                    </a:lnTo>
                    <a:lnTo>
                      <a:pt x="1999" y="2922"/>
                    </a:lnTo>
                    <a:lnTo>
                      <a:pt x="2007" y="2886"/>
                    </a:lnTo>
                    <a:lnTo>
                      <a:pt x="2020" y="2851"/>
                    </a:lnTo>
                    <a:lnTo>
                      <a:pt x="2039" y="2819"/>
                    </a:lnTo>
                    <a:lnTo>
                      <a:pt x="2061" y="2791"/>
                    </a:lnTo>
                    <a:lnTo>
                      <a:pt x="2088" y="2766"/>
                    </a:lnTo>
                    <a:lnTo>
                      <a:pt x="2119" y="2744"/>
                    </a:lnTo>
                    <a:lnTo>
                      <a:pt x="2153" y="2727"/>
                    </a:lnTo>
                    <a:lnTo>
                      <a:pt x="2189" y="2715"/>
                    </a:lnTo>
                    <a:lnTo>
                      <a:pt x="2227" y="2709"/>
                    </a:lnTo>
                    <a:lnTo>
                      <a:pt x="2264" y="2708"/>
                    </a:lnTo>
                    <a:lnTo>
                      <a:pt x="2300" y="2712"/>
                    </a:lnTo>
                    <a:lnTo>
                      <a:pt x="2335" y="2722"/>
                    </a:lnTo>
                    <a:lnTo>
                      <a:pt x="2368" y="2736"/>
                    </a:lnTo>
                    <a:lnTo>
                      <a:pt x="2400" y="2757"/>
                    </a:lnTo>
                    <a:lnTo>
                      <a:pt x="2430" y="2782"/>
                    </a:lnTo>
                    <a:lnTo>
                      <a:pt x="2660" y="3011"/>
                    </a:lnTo>
                    <a:lnTo>
                      <a:pt x="2672" y="3020"/>
                    </a:lnTo>
                    <a:lnTo>
                      <a:pt x="2688" y="3025"/>
                    </a:lnTo>
                    <a:lnTo>
                      <a:pt x="2703" y="3025"/>
                    </a:lnTo>
                    <a:lnTo>
                      <a:pt x="2717" y="3020"/>
                    </a:lnTo>
                    <a:lnTo>
                      <a:pt x="2731" y="3011"/>
                    </a:lnTo>
                    <a:lnTo>
                      <a:pt x="3024" y="2719"/>
                    </a:lnTo>
                    <a:lnTo>
                      <a:pt x="3034" y="2706"/>
                    </a:lnTo>
                    <a:lnTo>
                      <a:pt x="3038" y="2691"/>
                    </a:lnTo>
                    <a:lnTo>
                      <a:pt x="3038" y="2676"/>
                    </a:lnTo>
                    <a:lnTo>
                      <a:pt x="3034" y="2661"/>
                    </a:lnTo>
                    <a:lnTo>
                      <a:pt x="3024" y="2649"/>
                    </a:lnTo>
                    <a:lnTo>
                      <a:pt x="2794" y="2419"/>
                    </a:lnTo>
                    <a:lnTo>
                      <a:pt x="2769" y="2390"/>
                    </a:lnTo>
                    <a:lnTo>
                      <a:pt x="2748" y="2358"/>
                    </a:lnTo>
                    <a:lnTo>
                      <a:pt x="2734" y="2325"/>
                    </a:lnTo>
                    <a:lnTo>
                      <a:pt x="2724" y="2290"/>
                    </a:lnTo>
                    <a:lnTo>
                      <a:pt x="2720" y="2254"/>
                    </a:lnTo>
                    <a:lnTo>
                      <a:pt x="2721" y="2217"/>
                    </a:lnTo>
                    <a:lnTo>
                      <a:pt x="2727" y="2180"/>
                    </a:lnTo>
                    <a:lnTo>
                      <a:pt x="2739" y="2144"/>
                    </a:lnTo>
                    <a:lnTo>
                      <a:pt x="2756" y="2110"/>
                    </a:lnTo>
                    <a:lnTo>
                      <a:pt x="2778" y="2079"/>
                    </a:lnTo>
                    <a:lnTo>
                      <a:pt x="2803" y="2052"/>
                    </a:lnTo>
                    <a:lnTo>
                      <a:pt x="2832" y="2030"/>
                    </a:lnTo>
                    <a:lnTo>
                      <a:pt x="2863" y="2011"/>
                    </a:lnTo>
                    <a:lnTo>
                      <a:pt x="2899" y="1998"/>
                    </a:lnTo>
                    <a:lnTo>
                      <a:pt x="2935" y="1990"/>
                    </a:lnTo>
                    <a:lnTo>
                      <a:pt x="2973" y="1987"/>
                    </a:lnTo>
                    <a:lnTo>
                      <a:pt x="3299" y="1987"/>
                    </a:lnTo>
                    <a:lnTo>
                      <a:pt x="3315" y="1985"/>
                    </a:lnTo>
                    <a:lnTo>
                      <a:pt x="3329" y="1978"/>
                    </a:lnTo>
                    <a:lnTo>
                      <a:pt x="3340" y="1968"/>
                    </a:lnTo>
                    <a:lnTo>
                      <a:pt x="3347" y="1953"/>
                    </a:lnTo>
                    <a:lnTo>
                      <a:pt x="3349" y="1938"/>
                    </a:lnTo>
                    <a:lnTo>
                      <a:pt x="3349" y="1525"/>
                    </a:lnTo>
                    <a:lnTo>
                      <a:pt x="3347" y="1508"/>
                    </a:lnTo>
                    <a:lnTo>
                      <a:pt x="3340" y="1495"/>
                    </a:lnTo>
                    <a:lnTo>
                      <a:pt x="3329" y="1484"/>
                    </a:lnTo>
                    <a:lnTo>
                      <a:pt x="3315" y="1477"/>
                    </a:lnTo>
                    <a:lnTo>
                      <a:pt x="3299" y="1474"/>
                    </a:lnTo>
                    <a:lnTo>
                      <a:pt x="2973" y="1474"/>
                    </a:lnTo>
                    <a:lnTo>
                      <a:pt x="2935" y="1472"/>
                    </a:lnTo>
                    <a:lnTo>
                      <a:pt x="2899" y="1463"/>
                    </a:lnTo>
                    <a:lnTo>
                      <a:pt x="2863" y="1450"/>
                    </a:lnTo>
                    <a:lnTo>
                      <a:pt x="2832" y="1433"/>
                    </a:lnTo>
                    <a:lnTo>
                      <a:pt x="2803" y="1410"/>
                    </a:lnTo>
                    <a:lnTo>
                      <a:pt x="2778" y="1384"/>
                    </a:lnTo>
                    <a:lnTo>
                      <a:pt x="2756" y="1353"/>
                    </a:lnTo>
                    <a:lnTo>
                      <a:pt x="2739" y="1319"/>
                    </a:lnTo>
                    <a:lnTo>
                      <a:pt x="2727" y="1282"/>
                    </a:lnTo>
                    <a:lnTo>
                      <a:pt x="2721" y="1245"/>
                    </a:lnTo>
                    <a:lnTo>
                      <a:pt x="2720" y="1209"/>
                    </a:lnTo>
                    <a:lnTo>
                      <a:pt x="2724" y="1173"/>
                    </a:lnTo>
                    <a:lnTo>
                      <a:pt x="2734" y="1138"/>
                    </a:lnTo>
                    <a:lnTo>
                      <a:pt x="2748" y="1104"/>
                    </a:lnTo>
                    <a:lnTo>
                      <a:pt x="2769" y="1072"/>
                    </a:lnTo>
                    <a:lnTo>
                      <a:pt x="2794" y="1043"/>
                    </a:lnTo>
                    <a:lnTo>
                      <a:pt x="3024" y="814"/>
                    </a:lnTo>
                    <a:lnTo>
                      <a:pt x="3034" y="801"/>
                    </a:lnTo>
                    <a:lnTo>
                      <a:pt x="3038" y="787"/>
                    </a:lnTo>
                    <a:lnTo>
                      <a:pt x="3038" y="771"/>
                    </a:lnTo>
                    <a:lnTo>
                      <a:pt x="3034" y="756"/>
                    </a:lnTo>
                    <a:lnTo>
                      <a:pt x="3024" y="743"/>
                    </a:lnTo>
                    <a:lnTo>
                      <a:pt x="2731" y="451"/>
                    </a:lnTo>
                    <a:lnTo>
                      <a:pt x="2717" y="442"/>
                    </a:lnTo>
                    <a:lnTo>
                      <a:pt x="2703" y="437"/>
                    </a:lnTo>
                    <a:lnTo>
                      <a:pt x="2688" y="437"/>
                    </a:lnTo>
                    <a:lnTo>
                      <a:pt x="2672" y="442"/>
                    </a:lnTo>
                    <a:lnTo>
                      <a:pt x="2660" y="451"/>
                    </a:lnTo>
                    <a:lnTo>
                      <a:pt x="2430" y="681"/>
                    </a:lnTo>
                    <a:lnTo>
                      <a:pt x="2400" y="706"/>
                    </a:lnTo>
                    <a:lnTo>
                      <a:pt x="2368" y="725"/>
                    </a:lnTo>
                    <a:lnTo>
                      <a:pt x="2335" y="741"/>
                    </a:lnTo>
                    <a:lnTo>
                      <a:pt x="2300" y="751"/>
                    </a:lnTo>
                    <a:lnTo>
                      <a:pt x="2264" y="755"/>
                    </a:lnTo>
                    <a:lnTo>
                      <a:pt x="2227" y="754"/>
                    </a:lnTo>
                    <a:lnTo>
                      <a:pt x="2189" y="747"/>
                    </a:lnTo>
                    <a:lnTo>
                      <a:pt x="2153" y="735"/>
                    </a:lnTo>
                    <a:lnTo>
                      <a:pt x="2119" y="718"/>
                    </a:lnTo>
                    <a:lnTo>
                      <a:pt x="2088" y="696"/>
                    </a:lnTo>
                    <a:lnTo>
                      <a:pt x="2061" y="671"/>
                    </a:lnTo>
                    <a:lnTo>
                      <a:pt x="2039" y="642"/>
                    </a:lnTo>
                    <a:lnTo>
                      <a:pt x="2020" y="611"/>
                    </a:lnTo>
                    <a:lnTo>
                      <a:pt x="2007" y="577"/>
                    </a:lnTo>
                    <a:lnTo>
                      <a:pt x="1999" y="540"/>
                    </a:lnTo>
                    <a:lnTo>
                      <a:pt x="1996" y="501"/>
                    </a:lnTo>
                    <a:lnTo>
                      <a:pt x="1996" y="178"/>
                    </a:lnTo>
                    <a:lnTo>
                      <a:pt x="1994" y="161"/>
                    </a:lnTo>
                    <a:lnTo>
                      <a:pt x="1987" y="148"/>
                    </a:lnTo>
                    <a:lnTo>
                      <a:pt x="1976" y="137"/>
                    </a:lnTo>
                    <a:lnTo>
                      <a:pt x="1962" y="130"/>
                    </a:lnTo>
                    <a:lnTo>
                      <a:pt x="1947" y="127"/>
                    </a:lnTo>
                    <a:lnTo>
                      <a:pt x="1532" y="127"/>
                    </a:lnTo>
                    <a:close/>
                    <a:moveTo>
                      <a:pt x="1532" y="0"/>
                    </a:moveTo>
                    <a:lnTo>
                      <a:pt x="1947" y="0"/>
                    </a:lnTo>
                    <a:lnTo>
                      <a:pt x="1979" y="2"/>
                    </a:lnTo>
                    <a:lnTo>
                      <a:pt x="2008" y="10"/>
                    </a:lnTo>
                    <a:lnTo>
                      <a:pt x="2037" y="24"/>
                    </a:lnTo>
                    <a:lnTo>
                      <a:pt x="2062" y="41"/>
                    </a:lnTo>
                    <a:lnTo>
                      <a:pt x="2083" y="63"/>
                    </a:lnTo>
                    <a:lnTo>
                      <a:pt x="2100" y="87"/>
                    </a:lnTo>
                    <a:lnTo>
                      <a:pt x="2114" y="115"/>
                    </a:lnTo>
                    <a:lnTo>
                      <a:pt x="2122" y="145"/>
                    </a:lnTo>
                    <a:lnTo>
                      <a:pt x="2126" y="178"/>
                    </a:lnTo>
                    <a:lnTo>
                      <a:pt x="2126" y="501"/>
                    </a:lnTo>
                    <a:lnTo>
                      <a:pt x="2128" y="526"/>
                    </a:lnTo>
                    <a:lnTo>
                      <a:pt x="2134" y="549"/>
                    </a:lnTo>
                    <a:lnTo>
                      <a:pt x="2145" y="571"/>
                    </a:lnTo>
                    <a:lnTo>
                      <a:pt x="2161" y="589"/>
                    </a:lnTo>
                    <a:lnTo>
                      <a:pt x="2179" y="604"/>
                    </a:lnTo>
                    <a:lnTo>
                      <a:pt x="2202" y="616"/>
                    </a:lnTo>
                    <a:lnTo>
                      <a:pt x="2227" y="624"/>
                    </a:lnTo>
                    <a:lnTo>
                      <a:pt x="2251" y="626"/>
                    </a:lnTo>
                    <a:lnTo>
                      <a:pt x="2275" y="624"/>
                    </a:lnTo>
                    <a:lnTo>
                      <a:pt x="2298" y="617"/>
                    </a:lnTo>
                    <a:lnTo>
                      <a:pt x="2319" y="605"/>
                    </a:lnTo>
                    <a:lnTo>
                      <a:pt x="2339" y="590"/>
                    </a:lnTo>
                    <a:lnTo>
                      <a:pt x="2568" y="360"/>
                    </a:lnTo>
                    <a:lnTo>
                      <a:pt x="2593" y="341"/>
                    </a:lnTo>
                    <a:lnTo>
                      <a:pt x="2620" y="325"/>
                    </a:lnTo>
                    <a:lnTo>
                      <a:pt x="2649" y="315"/>
                    </a:lnTo>
                    <a:lnTo>
                      <a:pt x="2680" y="310"/>
                    </a:lnTo>
                    <a:lnTo>
                      <a:pt x="2711" y="310"/>
                    </a:lnTo>
                    <a:lnTo>
                      <a:pt x="2742" y="315"/>
                    </a:lnTo>
                    <a:lnTo>
                      <a:pt x="2770" y="325"/>
                    </a:lnTo>
                    <a:lnTo>
                      <a:pt x="2798" y="341"/>
                    </a:lnTo>
                    <a:lnTo>
                      <a:pt x="2822" y="360"/>
                    </a:lnTo>
                    <a:lnTo>
                      <a:pt x="3115" y="652"/>
                    </a:lnTo>
                    <a:lnTo>
                      <a:pt x="3134" y="674"/>
                    </a:lnTo>
                    <a:lnTo>
                      <a:pt x="3148" y="698"/>
                    </a:lnTo>
                    <a:lnTo>
                      <a:pt x="3159" y="723"/>
                    </a:lnTo>
                    <a:lnTo>
                      <a:pt x="3165" y="751"/>
                    </a:lnTo>
                    <a:lnTo>
                      <a:pt x="3168" y="779"/>
                    </a:lnTo>
                    <a:lnTo>
                      <a:pt x="3165" y="806"/>
                    </a:lnTo>
                    <a:lnTo>
                      <a:pt x="3159" y="834"/>
                    </a:lnTo>
                    <a:lnTo>
                      <a:pt x="3148" y="860"/>
                    </a:lnTo>
                    <a:lnTo>
                      <a:pt x="3134" y="883"/>
                    </a:lnTo>
                    <a:lnTo>
                      <a:pt x="3115" y="905"/>
                    </a:lnTo>
                    <a:lnTo>
                      <a:pt x="2885" y="1133"/>
                    </a:lnTo>
                    <a:lnTo>
                      <a:pt x="2869" y="1153"/>
                    </a:lnTo>
                    <a:lnTo>
                      <a:pt x="2857" y="1175"/>
                    </a:lnTo>
                    <a:lnTo>
                      <a:pt x="2850" y="1198"/>
                    </a:lnTo>
                    <a:lnTo>
                      <a:pt x="2848" y="1221"/>
                    </a:lnTo>
                    <a:lnTo>
                      <a:pt x="2850" y="1245"/>
                    </a:lnTo>
                    <a:lnTo>
                      <a:pt x="2858" y="1270"/>
                    </a:lnTo>
                    <a:lnTo>
                      <a:pt x="2870" y="1292"/>
                    </a:lnTo>
                    <a:lnTo>
                      <a:pt x="2885" y="1310"/>
                    </a:lnTo>
                    <a:lnTo>
                      <a:pt x="2904" y="1326"/>
                    </a:lnTo>
                    <a:lnTo>
                      <a:pt x="2925" y="1337"/>
                    </a:lnTo>
                    <a:lnTo>
                      <a:pt x="2948" y="1344"/>
                    </a:lnTo>
                    <a:lnTo>
                      <a:pt x="2973" y="1346"/>
                    </a:lnTo>
                    <a:lnTo>
                      <a:pt x="3299" y="1346"/>
                    </a:lnTo>
                    <a:lnTo>
                      <a:pt x="3331" y="1349"/>
                    </a:lnTo>
                    <a:lnTo>
                      <a:pt x="3361" y="1357"/>
                    </a:lnTo>
                    <a:lnTo>
                      <a:pt x="3389" y="1371"/>
                    </a:lnTo>
                    <a:lnTo>
                      <a:pt x="3415" y="1388"/>
                    </a:lnTo>
                    <a:lnTo>
                      <a:pt x="3435" y="1410"/>
                    </a:lnTo>
                    <a:lnTo>
                      <a:pt x="3453" y="1434"/>
                    </a:lnTo>
                    <a:lnTo>
                      <a:pt x="3466" y="1462"/>
                    </a:lnTo>
                    <a:lnTo>
                      <a:pt x="3475" y="1492"/>
                    </a:lnTo>
                    <a:lnTo>
                      <a:pt x="3478" y="1525"/>
                    </a:lnTo>
                    <a:lnTo>
                      <a:pt x="3478" y="1938"/>
                    </a:lnTo>
                    <a:lnTo>
                      <a:pt x="3475" y="1970"/>
                    </a:lnTo>
                    <a:lnTo>
                      <a:pt x="3466" y="1999"/>
                    </a:lnTo>
                    <a:lnTo>
                      <a:pt x="3453" y="2028"/>
                    </a:lnTo>
                    <a:lnTo>
                      <a:pt x="3435" y="2053"/>
                    </a:lnTo>
                    <a:lnTo>
                      <a:pt x="3415" y="2074"/>
                    </a:lnTo>
                    <a:lnTo>
                      <a:pt x="3389" y="2091"/>
                    </a:lnTo>
                    <a:lnTo>
                      <a:pt x="3361" y="2104"/>
                    </a:lnTo>
                    <a:lnTo>
                      <a:pt x="3331" y="2113"/>
                    </a:lnTo>
                    <a:lnTo>
                      <a:pt x="3299" y="2116"/>
                    </a:lnTo>
                    <a:lnTo>
                      <a:pt x="2973" y="2116"/>
                    </a:lnTo>
                    <a:lnTo>
                      <a:pt x="2948" y="2118"/>
                    </a:lnTo>
                    <a:lnTo>
                      <a:pt x="2925" y="2125"/>
                    </a:lnTo>
                    <a:lnTo>
                      <a:pt x="2903" y="2136"/>
                    </a:lnTo>
                    <a:lnTo>
                      <a:pt x="2885" y="2151"/>
                    </a:lnTo>
                    <a:lnTo>
                      <a:pt x="2870" y="2170"/>
                    </a:lnTo>
                    <a:lnTo>
                      <a:pt x="2858" y="2193"/>
                    </a:lnTo>
                    <a:lnTo>
                      <a:pt x="2850" y="2217"/>
                    </a:lnTo>
                    <a:lnTo>
                      <a:pt x="2848" y="2241"/>
                    </a:lnTo>
                    <a:lnTo>
                      <a:pt x="2850" y="2265"/>
                    </a:lnTo>
                    <a:lnTo>
                      <a:pt x="2857" y="2288"/>
                    </a:lnTo>
                    <a:lnTo>
                      <a:pt x="2869" y="2309"/>
                    </a:lnTo>
                    <a:lnTo>
                      <a:pt x="2885" y="2328"/>
                    </a:lnTo>
                    <a:lnTo>
                      <a:pt x="3115" y="2557"/>
                    </a:lnTo>
                    <a:lnTo>
                      <a:pt x="3134" y="2579"/>
                    </a:lnTo>
                    <a:lnTo>
                      <a:pt x="3148" y="2603"/>
                    </a:lnTo>
                    <a:lnTo>
                      <a:pt x="3159" y="2628"/>
                    </a:lnTo>
                    <a:lnTo>
                      <a:pt x="3165" y="2655"/>
                    </a:lnTo>
                    <a:lnTo>
                      <a:pt x="3168" y="2684"/>
                    </a:lnTo>
                    <a:lnTo>
                      <a:pt x="3165" y="2712"/>
                    </a:lnTo>
                    <a:lnTo>
                      <a:pt x="3159" y="2738"/>
                    </a:lnTo>
                    <a:lnTo>
                      <a:pt x="3148" y="2765"/>
                    </a:lnTo>
                    <a:lnTo>
                      <a:pt x="3134" y="2789"/>
                    </a:lnTo>
                    <a:lnTo>
                      <a:pt x="3115" y="2809"/>
                    </a:lnTo>
                    <a:lnTo>
                      <a:pt x="2822" y="3101"/>
                    </a:lnTo>
                    <a:lnTo>
                      <a:pt x="2798" y="3122"/>
                    </a:lnTo>
                    <a:lnTo>
                      <a:pt x="2770" y="3136"/>
                    </a:lnTo>
                    <a:lnTo>
                      <a:pt x="2742" y="3146"/>
                    </a:lnTo>
                    <a:lnTo>
                      <a:pt x="2711" y="3152"/>
                    </a:lnTo>
                    <a:lnTo>
                      <a:pt x="2680" y="3152"/>
                    </a:lnTo>
                    <a:lnTo>
                      <a:pt x="2649" y="3146"/>
                    </a:lnTo>
                    <a:lnTo>
                      <a:pt x="2620" y="3136"/>
                    </a:lnTo>
                    <a:lnTo>
                      <a:pt x="2593" y="3122"/>
                    </a:lnTo>
                    <a:lnTo>
                      <a:pt x="2568" y="3101"/>
                    </a:lnTo>
                    <a:lnTo>
                      <a:pt x="2339" y="2873"/>
                    </a:lnTo>
                    <a:lnTo>
                      <a:pt x="2319" y="2856"/>
                    </a:lnTo>
                    <a:lnTo>
                      <a:pt x="2298" y="2844"/>
                    </a:lnTo>
                    <a:lnTo>
                      <a:pt x="2275" y="2838"/>
                    </a:lnTo>
                    <a:lnTo>
                      <a:pt x="2251" y="2836"/>
                    </a:lnTo>
                    <a:lnTo>
                      <a:pt x="2227" y="2838"/>
                    </a:lnTo>
                    <a:lnTo>
                      <a:pt x="2202" y="2845"/>
                    </a:lnTo>
                    <a:lnTo>
                      <a:pt x="2179" y="2857"/>
                    </a:lnTo>
                    <a:lnTo>
                      <a:pt x="2161" y="2873"/>
                    </a:lnTo>
                    <a:lnTo>
                      <a:pt x="2145" y="2891"/>
                    </a:lnTo>
                    <a:lnTo>
                      <a:pt x="2134" y="2912"/>
                    </a:lnTo>
                    <a:lnTo>
                      <a:pt x="2128" y="2935"/>
                    </a:lnTo>
                    <a:lnTo>
                      <a:pt x="2126" y="2960"/>
                    </a:lnTo>
                    <a:lnTo>
                      <a:pt x="2126" y="3285"/>
                    </a:lnTo>
                    <a:lnTo>
                      <a:pt x="2122" y="3317"/>
                    </a:lnTo>
                    <a:lnTo>
                      <a:pt x="2114" y="3346"/>
                    </a:lnTo>
                    <a:lnTo>
                      <a:pt x="2100" y="3375"/>
                    </a:lnTo>
                    <a:lnTo>
                      <a:pt x="2083" y="3400"/>
                    </a:lnTo>
                    <a:lnTo>
                      <a:pt x="2062" y="3421"/>
                    </a:lnTo>
                    <a:lnTo>
                      <a:pt x="2037" y="3438"/>
                    </a:lnTo>
                    <a:lnTo>
                      <a:pt x="2008" y="3451"/>
                    </a:lnTo>
                    <a:lnTo>
                      <a:pt x="1979" y="3460"/>
                    </a:lnTo>
                    <a:lnTo>
                      <a:pt x="1947" y="3463"/>
                    </a:lnTo>
                    <a:lnTo>
                      <a:pt x="1532" y="3463"/>
                    </a:lnTo>
                    <a:lnTo>
                      <a:pt x="1499" y="3460"/>
                    </a:lnTo>
                    <a:lnTo>
                      <a:pt x="1469" y="3451"/>
                    </a:lnTo>
                    <a:lnTo>
                      <a:pt x="1441" y="3438"/>
                    </a:lnTo>
                    <a:lnTo>
                      <a:pt x="1416" y="3421"/>
                    </a:lnTo>
                    <a:lnTo>
                      <a:pt x="1394" y="3400"/>
                    </a:lnTo>
                    <a:lnTo>
                      <a:pt x="1377" y="3375"/>
                    </a:lnTo>
                    <a:lnTo>
                      <a:pt x="1364" y="3346"/>
                    </a:lnTo>
                    <a:lnTo>
                      <a:pt x="1355" y="3317"/>
                    </a:lnTo>
                    <a:lnTo>
                      <a:pt x="1353" y="3285"/>
                    </a:lnTo>
                    <a:lnTo>
                      <a:pt x="1353" y="2960"/>
                    </a:lnTo>
                    <a:lnTo>
                      <a:pt x="1350" y="2935"/>
                    </a:lnTo>
                    <a:lnTo>
                      <a:pt x="1343" y="2912"/>
                    </a:lnTo>
                    <a:lnTo>
                      <a:pt x="1332" y="2891"/>
                    </a:lnTo>
                    <a:lnTo>
                      <a:pt x="1316" y="2873"/>
                    </a:lnTo>
                    <a:lnTo>
                      <a:pt x="1298" y="2857"/>
                    </a:lnTo>
                    <a:lnTo>
                      <a:pt x="1276" y="2845"/>
                    </a:lnTo>
                    <a:lnTo>
                      <a:pt x="1251" y="2838"/>
                    </a:lnTo>
                    <a:lnTo>
                      <a:pt x="1226" y="2836"/>
                    </a:lnTo>
                    <a:lnTo>
                      <a:pt x="1203" y="2838"/>
                    </a:lnTo>
                    <a:lnTo>
                      <a:pt x="1180" y="2844"/>
                    </a:lnTo>
                    <a:lnTo>
                      <a:pt x="1158" y="2856"/>
                    </a:lnTo>
                    <a:lnTo>
                      <a:pt x="1139" y="2873"/>
                    </a:lnTo>
                    <a:lnTo>
                      <a:pt x="909" y="3101"/>
                    </a:lnTo>
                    <a:lnTo>
                      <a:pt x="885" y="3122"/>
                    </a:lnTo>
                    <a:lnTo>
                      <a:pt x="858" y="3136"/>
                    </a:lnTo>
                    <a:lnTo>
                      <a:pt x="828" y="3146"/>
                    </a:lnTo>
                    <a:lnTo>
                      <a:pt x="798" y="3152"/>
                    </a:lnTo>
                    <a:lnTo>
                      <a:pt x="766" y="3152"/>
                    </a:lnTo>
                    <a:lnTo>
                      <a:pt x="737" y="3146"/>
                    </a:lnTo>
                    <a:lnTo>
                      <a:pt x="707" y="3136"/>
                    </a:lnTo>
                    <a:lnTo>
                      <a:pt x="680" y="3122"/>
                    </a:lnTo>
                    <a:lnTo>
                      <a:pt x="655" y="3101"/>
                    </a:lnTo>
                    <a:lnTo>
                      <a:pt x="362" y="2809"/>
                    </a:lnTo>
                    <a:lnTo>
                      <a:pt x="344" y="2789"/>
                    </a:lnTo>
                    <a:lnTo>
                      <a:pt x="329" y="2765"/>
                    </a:lnTo>
                    <a:lnTo>
                      <a:pt x="318" y="2738"/>
                    </a:lnTo>
                    <a:lnTo>
                      <a:pt x="312" y="2712"/>
                    </a:lnTo>
                    <a:lnTo>
                      <a:pt x="310" y="2684"/>
                    </a:lnTo>
                    <a:lnTo>
                      <a:pt x="312" y="2655"/>
                    </a:lnTo>
                    <a:lnTo>
                      <a:pt x="318" y="2628"/>
                    </a:lnTo>
                    <a:lnTo>
                      <a:pt x="329" y="2603"/>
                    </a:lnTo>
                    <a:lnTo>
                      <a:pt x="344" y="2579"/>
                    </a:lnTo>
                    <a:lnTo>
                      <a:pt x="362" y="2557"/>
                    </a:lnTo>
                    <a:lnTo>
                      <a:pt x="593" y="2328"/>
                    </a:lnTo>
                    <a:lnTo>
                      <a:pt x="608" y="2309"/>
                    </a:lnTo>
                    <a:lnTo>
                      <a:pt x="620" y="2288"/>
                    </a:lnTo>
                    <a:lnTo>
                      <a:pt x="627" y="2265"/>
                    </a:lnTo>
                    <a:lnTo>
                      <a:pt x="629" y="2241"/>
                    </a:lnTo>
                    <a:lnTo>
                      <a:pt x="627" y="2217"/>
                    </a:lnTo>
                    <a:lnTo>
                      <a:pt x="619" y="2193"/>
                    </a:lnTo>
                    <a:lnTo>
                      <a:pt x="607" y="2170"/>
                    </a:lnTo>
                    <a:lnTo>
                      <a:pt x="592" y="2151"/>
                    </a:lnTo>
                    <a:lnTo>
                      <a:pt x="574" y="2136"/>
                    </a:lnTo>
                    <a:lnTo>
                      <a:pt x="552" y="2125"/>
                    </a:lnTo>
                    <a:lnTo>
                      <a:pt x="529" y="2118"/>
                    </a:lnTo>
                    <a:lnTo>
                      <a:pt x="504" y="2116"/>
                    </a:lnTo>
                    <a:lnTo>
                      <a:pt x="179" y="2116"/>
                    </a:lnTo>
                    <a:lnTo>
                      <a:pt x="146" y="2113"/>
                    </a:lnTo>
                    <a:lnTo>
                      <a:pt x="116" y="2104"/>
                    </a:lnTo>
                    <a:lnTo>
                      <a:pt x="88" y="2091"/>
                    </a:lnTo>
                    <a:lnTo>
                      <a:pt x="64" y="2074"/>
                    </a:lnTo>
                    <a:lnTo>
                      <a:pt x="42" y="2053"/>
                    </a:lnTo>
                    <a:lnTo>
                      <a:pt x="24" y="2028"/>
                    </a:lnTo>
                    <a:lnTo>
                      <a:pt x="11" y="1999"/>
                    </a:lnTo>
                    <a:lnTo>
                      <a:pt x="2" y="1970"/>
                    </a:lnTo>
                    <a:lnTo>
                      <a:pt x="0" y="1938"/>
                    </a:lnTo>
                    <a:lnTo>
                      <a:pt x="0" y="1525"/>
                    </a:lnTo>
                    <a:lnTo>
                      <a:pt x="2" y="1492"/>
                    </a:lnTo>
                    <a:lnTo>
                      <a:pt x="11" y="1462"/>
                    </a:lnTo>
                    <a:lnTo>
                      <a:pt x="24" y="1434"/>
                    </a:lnTo>
                    <a:lnTo>
                      <a:pt x="42" y="1410"/>
                    </a:lnTo>
                    <a:lnTo>
                      <a:pt x="64" y="1388"/>
                    </a:lnTo>
                    <a:lnTo>
                      <a:pt x="88" y="1371"/>
                    </a:lnTo>
                    <a:lnTo>
                      <a:pt x="116" y="1357"/>
                    </a:lnTo>
                    <a:lnTo>
                      <a:pt x="146" y="1349"/>
                    </a:lnTo>
                    <a:lnTo>
                      <a:pt x="179" y="1346"/>
                    </a:lnTo>
                    <a:lnTo>
                      <a:pt x="504" y="1346"/>
                    </a:lnTo>
                    <a:lnTo>
                      <a:pt x="529" y="1344"/>
                    </a:lnTo>
                    <a:lnTo>
                      <a:pt x="553" y="1337"/>
                    </a:lnTo>
                    <a:lnTo>
                      <a:pt x="574" y="1326"/>
                    </a:lnTo>
                    <a:lnTo>
                      <a:pt x="593" y="1310"/>
                    </a:lnTo>
                    <a:lnTo>
                      <a:pt x="608" y="1292"/>
                    </a:lnTo>
                    <a:lnTo>
                      <a:pt x="619" y="1270"/>
                    </a:lnTo>
                    <a:lnTo>
                      <a:pt x="627" y="1245"/>
                    </a:lnTo>
                    <a:lnTo>
                      <a:pt x="629" y="1221"/>
                    </a:lnTo>
                    <a:lnTo>
                      <a:pt x="627" y="1198"/>
                    </a:lnTo>
                    <a:lnTo>
                      <a:pt x="620" y="1175"/>
                    </a:lnTo>
                    <a:lnTo>
                      <a:pt x="608" y="1153"/>
                    </a:lnTo>
                    <a:lnTo>
                      <a:pt x="593" y="1133"/>
                    </a:lnTo>
                    <a:lnTo>
                      <a:pt x="362" y="905"/>
                    </a:lnTo>
                    <a:lnTo>
                      <a:pt x="344" y="883"/>
                    </a:lnTo>
                    <a:lnTo>
                      <a:pt x="329" y="860"/>
                    </a:lnTo>
                    <a:lnTo>
                      <a:pt x="318" y="834"/>
                    </a:lnTo>
                    <a:lnTo>
                      <a:pt x="312" y="806"/>
                    </a:lnTo>
                    <a:lnTo>
                      <a:pt x="310" y="779"/>
                    </a:lnTo>
                    <a:lnTo>
                      <a:pt x="312" y="751"/>
                    </a:lnTo>
                    <a:lnTo>
                      <a:pt x="318" y="723"/>
                    </a:lnTo>
                    <a:lnTo>
                      <a:pt x="329" y="698"/>
                    </a:lnTo>
                    <a:lnTo>
                      <a:pt x="344" y="674"/>
                    </a:lnTo>
                    <a:lnTo>
                      <a:pt x="362" y="652"/>
                    </a:lnTo>
                    <a:lnTo>
                      <a:pt x="655" y="360"/>
                    </a:lnTo>
                    <a:lnTo>
                      <a:pt x="680" y="341"/>
                    </a:lnTo>
                    <a:lnTo>
                      <a:pt x="707" y="325"/>
                    </a:lnTo>
                    <a:lnTo>
                      <a:pt x="737" y="315"/>
                    </a:lnTo>
                    <a:lnTo>
                      <a:pt x="766" y="310"/>
                    </a:lnTo>
                    <a:lnTo>
                      <a:pt x="798" y="310"/>
                    </a:lnTo>
                    <a:lnTo>
                      <a:pt x="828" y="315"/>
                    </a:lnTo>
                    <a:lnTo>
                      <a:pt x="858" y="325"/>
                    </a:lnTo>
                    <a:lnTo>
                      <a:pt x="885" y="341"/>
                    </a:lnTo>
                    <a:lnTo>
                      <a:pt x="909" y="360"/>
                    </a:lnTo>
                    <a:lnTo>
                      <a:pt x="1139" y="590"/>
                    </a:lnTo>
                    <a:lnTo>
                      <a:pt x="1158" y="605"/>
                    </a:lnTo>
                    <a:lnTo>
                      <a:pt x="1180" y="617"/>
                    </a:lnTo>
                    <a:lnTo>
                      <a:pt x="1203" y="624"/>
                    </a:lnTo>
                    <a:lnTo>
                      <a:pt x="1226" y="626"/>
                    </a:lnTo>
                    <a:lnTo>
                      <a:pt x="1251" y="624"/>
                    </a:lnTo>
                    <a:lnTo>
                      <a:pt x="1276" y="616"/>
                    </a:lnTo>
                    <a:lnTo>
                      <a:pt x="1298" y="604"/>
                    </a:lnTo>
                    <a:lnTo>
                      <a:pt x="1316" y="589"/>
                    </a:lnTo>
                    <a:lnTo>
                      <a:pt x="1332" y="571"/>
                    </a:lnTo>
                    <a:lnTo>
                      <a:pt x="1343" y="549"/>
                    </a:lnTo>
                    <a:lnTo>
                      <a:pt x="1350" y="526"/>
                    </a:lnTo>
                    <a:lnTo>
                      <a:pt x="1353" y="501"/>
                    </a:lnTo>
                    <a:lnTo>
                      <a:pt x="1353" y="178"/>
                    </a:lnTo>
                    <a:lnTo>
                      <a:pt x="1355" y="145"/>
                    </a:lnTo>
                    <a:lnTo>
                      <a:pt x="1364" y="115"/>
                    </a:lnTo>
                    <a:lnTo>
                      <a:pt x="1377" y="87"/>
                    </a:lnTo>
                    <a:lnTo>
                      <a:pt x="1394" y="63"/>
                    </a:lnTo>
                    <a:lnTo>
                      <a:pt x="1416" y="41"/>
                    </a:lnTo>
                    <a:lnTo>
                      <a:pt x="1441" y="24"/>
                    </a:lnTo>
                    <a:lnTo>
                      <a:pt x="1469" y="10"/>
                    </a:lnTo>
                    <a:lnTo>
                      <a:pt x="1499" y="2"/>
                    </a:lnTo>
                    <a:lnTo>
                      <a:pt x="1532" y="0"/>
                    </a:lnTo>
                    <a:close/>
                  </a:path>
                </a:pathLst>
              </a:custGeom>
              <a:solidFill>
                <a:srgbClr val="686C8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230" name="Freeform 334">
                <a:extLst>
                  <a:ext uri="{FF2B5EF4-FFF2-40B4-BE49-F238E27FC236}">
                    <a16:creationId xmlns:a16="http://schemas.microsoft.com/office/drawing/2014/main" id="{781C4B6F-5207-2C73-AC78-C296AD72C0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80506" y="3699758"/>
                <a:ext cx="168275" cy="166687"/>
              </a:xfrm>
              <a:custGeom>
                <a:avLst/>
                <a:gdLst>
                  <a:gd name="T0" fmla="*/ 527 w 1160"/>
                  <a:gd name="T1" fmla="*/ 131 h 1155"/>
                  <a:gd name="T2" fmla="*/ 428 w 1160"/>
                  <a:gd name="T3" fmla="*/ 154 h 1155"/>
                  <a:gd name="T4" fmla="*/ 339 w 1160"/>
                  <a:gd name="T5" fmla="*/ 198 h 1155"/>
                  <a:gd name="T6" fmla="*/ 261 w 1160"/>
                  <a:gd name="T7" fmla="*/ 259 h 1155"/>
                  <a:gd name="T8" fmla="*/ 199 w 1160"/>
                  <a:gd name="T9" fmla="*/ 337 h 1155"/>
                  <a:gd name="T10" fmla="*/ 155 w 1160"/>
                  <a:gd name="T11" fmla="*/ 425 h 1155"/>
                  <a:gd name="T12" fmla="*/ 132 w 1160"/>
                  <a:gd name="T13" fmla="*/ 525 h 1155"/>
                  <a:gd name="T14" fmla="*/ 132 w 1160"/>
                  <a:gd name="T15" fmla="*/ 630 h 1155"/>
                  <a:gd name="T16" fmla="*/ 155 w 1160"/>
                  <a:gd name="T17" fmla="*/ 728 h 1155"/>
                  <a:gd name="T18" fmla="*/ 199 w 1160"/>
                  <a:gd name="T19" fmla="*/ 818 h 1155"/>
                  <a:gd name="T20" fmla="*/ 261 w 1160"/>
                  <a:gd name="T21" fmla="*/ 894 h 1155"/>
                  <a:gd name="T22" fmla="*/ 339 w 1160"/>
                  <a:gd name="T23" fmla="*/ 956 h 1155"/>
                  <a:gd name="T24" fmla="*/ 428 w 1160"/>
                  <a:gd name="T25" fmla="*/ 999 h 1155"/>
                  <a:gd name="T26" fmla="*/ 527 w 1160"/>
                  <a:gd name="T27" fmla="*/ 1022 h 1155"/>
                  <a:gd name="T28" fmla="*/ 633 w 1160"/>
                  <a:gd name="T29" fmla="*/ 1022 h 1155"/>
                  <a:gd name="T30" fmla="*/ 732 w 1160"/>
                  <a:gd name="T31" fmla="*/ 999 h 1155"/>
                  <a:gd name="T32" fmla="*/ 822 w 1160"/>
                  <a:gd name="T33" fmla="*/ 956 h 1155"/>
                  <a:gd name="T34" fmla="*/ 899 w 1160"/>
                  <a:gd name="T35" fmla="*/ 894 h 1155"/>
                  <a:gd name="T36" fmla="*/ 960 w 1160"/>
                  <a:gd name="T37" fmla="*/ 818 h 1155"/>
                  <a:gd name="T38" fmla="*/ 1004 w 1160"/>
                  <a:gd name="T39" fmla="*/ 728 h 1155"/>
                  <a:gd name="T40" fmla="*/ 1027 w 1160"/>
                  <a:gd name="T41" fmla="*/ 630 h 1155"/>
                  <a:gd name="T42" fmla="*/ 1027 w 1160"/>
                  <a:gd name="T43" fmla="*/ 525 h 1155"/>
                  <a:gd name="T44" fmla="*/ 1004 w 1160"/>
                  <a:gd name="T45" fmla="*/ 425 h 1155"/>
                  <a:gd name="T46" fmla="*/ 960 w 1160"/>
                  <a:gd name="T47" fmla="*/ 337 h 1155"/>
                  <a:gd name="T48" fmla="*/ 899 w 1160"/>
                  <a:gd name="T49" fmla="*/ 259 h 1155"/>
                  <a:gd name="T50" fmla="*/ 822 w 1160"/>
                  <a:gd name="T51" fmla="*/ 198 h 1155"/>
                  <a:gd name="T52" fmla="*/ 732 w 1160"/>
                  <a:gd name="T53" fmla="*/ 154 h 1155"/>
                  <a:gd name="T54" fmla="*/ 633 w 1160"/>
                  <a:gd name="T55" fmla="*/ 131 h 1155"/>
                  <a:gd name="T56" fmla="*/ 580 w 1160"/>
                  <a:gd name="T57" fmla="*/ 0 h 1155"/>
                  <a:gd name="T58" fmla="*/ 704 w 1160"/>
                  <a:gd name="T59" fmla="*/ 13 h 1155"/>
                  <a:gd name="T60" fmla="*/ 820 w 1160"/>
                  <a:gd name="T61" fmla="*/ 51 h 1155"/>
                  <a:gd name="T62" fmla="*/ 922 w 1160"/>
                  <a:gd name="T63" fmla="*/ 112 h 1155"/>
                  <a:gd name="T64" fmla="*/ 1011 w 1160"/>
                  <a:gd name="T65" fmla="*/ 190 h 1155"/>
                  <a:gd name="T66" fmla="*/ 1081 w 1160"/>
                  <a:gd name="T67" fmla="*/ 285 h 1155"/>
                  <a:gd name="T68" fmla="*/ 1130 w 1160"/>
                  <a:gd name="T69" fmla="*/ 395 h 1155"/>
                  <a:gd name="T70" fmla="*/ 1157 w 1160"/>
                  <a:gd name="T71" fmla="*/ 514 h 1155"/>
                  <a:gd name="T72" fmla="*/ 1157 w 1160"/>
                  <a:gd name="T73" fmla="*/ 640 h 1155"/>
                  <a:gd name="T74" fmla="*/ 1130 w 1160"/>
                  <a:gd name="T75" fmla="*/ 759 h 1155"/>
                  <a:gd name="T76" fmla="*/ 1081 w 1160"/>
                  <a:gd name="T77" fmla="*/ 868 h 1155"/>
                  <a:gd name="T78" fmla="*/ 1011 w 1160"/>
                  <a:gd name="T79" fmla="*/ 963 h 1155"/>
                  <a:gd name="T80" fmla="*/ 922 w 1160"/>
                  <a:gd name="T81" fmla="*/ 1043 h 1155"/>
                  <a:gd name="T82" fmla="*/ 820 w 1160"/>
                  <a:gd name="T83" fmla="*/ 1103 h 1155"/>
                  <a:gd name="T84" fmla="*/ 704 w 1160"/>
                  <a:gd name="T85" fmla="*/ 1142 h 1155"/>
                  <a:gd name="T86" fmla="*/ 580 w 1160"/>
                  <a:gd name="T87" fmla="*/ 1155 h 1155"/>
                  <a:gd name="T88" fmla="*/ 456 w 1160"/>
                  <a:gd name="T89" fmla="*/ 1142 h 1155"/>
                  <a:gd name="T90" fmla="*/ 341 w 1160"/>
                  <a:gd name="T91" fmla="*/ 1103 h 1155"/>
                  <a:gd name="T92" fmla="*/ 238 w 1160"/>
                  <a:gd name="T93" fmla="*/ 1043 h 1155"/>
                  <a:gd name="T94" fmla="*/ 150 w 1160"/>
                  <a:gd name="T95" fmla="*/ 963 h 1155"/>
                  <a:gd name="T96" fmla="*/ 79 w 1160"/>
                  <a:gd name="T97" fmla="*/ 868 h 1155"/>
                  <a:gd name="T98" fmla="*/ 29 w 1160"/>
                  <a:gd name="T99" fmla="*/ 759 h 1155"/>
                  <a:gd name="T100" fmla="*/ 4 w 1160"/>
                  <a:gd name="T101" fmla="*/ 640 h 1155"/>
                  <a:gd name="T102" fmla="*/ 4 w 1160"/>
                  <a:gd name="T103" fmla="*/ 514 h 1155"/>
                  <a:gd name="T104" fmla="*/ 29 w 1160"/>
                  <a:gd name="T105" fmla="*/ 395 h 1155"/>
                  <a:gd name="T106" fmla="*/ 79 w 1160"/>
                  <a:gd name="T107" fmla="*/ 285 h 1155"/>
                  <a:gd name="T108" fmla="*/ 150 w 1160"/>
                  <a:gd name="T109" fmla="*/ 190 h 1155"/>
                  <a:gd name="T110" fmla="*/ 238 w 1160"/>
                  <a:gd name="T111" fmla="*/ 112 h 1155"/>
                  <a:gd name="T112" fmla="*/ 341 w 1160"/>
                  <a:gd name="T113" fmla="*/ 51 h 1155"/>
                  <a:gd name="T114" fmla="*/ 456 w 1160"/>
                  <a:gd name="T115" fmla="*/ 13 h 1155"/>
                  <a:gd name="T116" fmla="*/ 580 w 1160"/>
                  <a:gd name="T117" fmla="*/ 0 h 1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160" h="1155">
                    <a:moveTo>
                      <a:pt x="580" y="128"/>
                    </a:moveTo>
                    <a:lnTo>
                      <a:pt x="527" y="131"/>
                    </a:lnTo>
                    <a:lnTo>
                      <a:pt x="477" y="140"/>
                    </a:lnTo>
                    <a:lnTo>
                      <a:pt x="428" y="154"/>
                    </a:lnTo>
                    <a:lnTo>
                      <a:pt x="381" y="174"/>
                    </a:lnTo>
                    <a:lnTo>
                      <a:pt x="339" y="198"/>
                    </a:lnTo>
                    <a:lnTo>
                      <a:pt x="298" y="226"/>
                    </a:lnTo>
                    <a:lnTo>
                      <a:pt x="261" y="259"/>
                    </a:lnTo>
                    <a:lnTo>
                      <a:pt x="228" y="296"/>
                    </a:lnTo>
                    <a:lnTo>
                      <a:pt x="199" y="337"/>
                    </a:lnTo>
                    <a:lnTo>
                      <a:pt x="175" y="379"/>
                    </a:lnTo>
                    <a:lnTo>
                      <a:pt x="155" y="425"/>
                    </a:lnTo>
                    <a:lnTo>
                      <a:pt x="141" y="475"/>
                    </a:lnTo>
                    <a:lnTo>
                      <a:pt x="132" y="525"/>
                    </a:lnTo>
                    <a:lnTo>
                      <a:pt x="129" y="577"/>
                    </a:lnTo>
                    <a:lnTo>
                      <a:pt x="132" y="630"/>
                    </a:lnTo>
                    <a:lnTo>
                      <a:pt x="141" y="680"/>
                    </a:lnTo>
                    <a:lnTo>
                      <a:pt x="155" y="728"/>
                    </a:lnTo>
                    <a:lnTo>
                      <a:pt x="175" y="774"/>
                    </a:lnTo>
                    <a:lnTo>
                      <a:pt x="199" y="818"/>
                    </a:lnTo>
                    <a:lnTo>
                      <a:pt x="228" y="857"/>
                    </a:lnTo>
                    <a:lnTo>
                      <a:pt x="261" y="894"/>
                    </a:lnTo>
                    <a:lnTo>
                      <a:pt x="298" y="927"/>
                    </a:lnTo>
                    <a:lnTo>
                      <a:pt x="339" y="956"/>
                    </a:lnTo>
                    <a:lnTo>
                      <a:pt x="381" y="980"/>
                    </a:lnTo>
                    <a:lnTo>
                      <a:pt x="428" y="999"/>
                    </a:lnTo>
                    <a:lnTo>
                      <a:pt x="477" y="1014"/>
                    </a:lnTo>
                    <a:lnTo>
                      <a:pt x="527" y="1022"/>
                    </a:lnTo>
                    <a:lnTo>
                      <a:pt x="580" y="1026"/>
                    </a:lnTo>
                    <a:lnTo>
                      <a:pt x="633" y="1022"/>
                    </a:lnTo>
                    <a:lnTo>
                      <a:pt x="683" y="1014"/>
                    </a:lnTo>
                    <a:lnTo>
                      <a:pt x="732" y="999"/>
                    </a:lnTo>
                    <a:lnTo>
                      <a:pt x="778" y="980"/>
                    </a:lnTo>
                    <a:lnTo>
                      <a:pt x="822" y="956"/>
                    </a:lnTo>
                    <a:lnTo>
                      <a:pt x="861" y="927"/>
                    </a:lnTo>
                    <a:lnTo>
                      <a:pt x="899" y="894"/>
                    </a:lnTo>
                    <a:lnTo>
                      <a:pt x="932" y="857"/>
                    </a:lnTo>
                    <a:lnTo>
                      <a:pt x="960" y="818"/>
                    </a:lnTo>
                    <a:lnTo>
                      <a:pt x="984" y="774"/>
                    </a:lnTo>
                    <a:lnTo>
                      <a:pt x="1004" y="728"/>
                    </a:lnTo>
                    <a:lnTo>
                      <a:pt x="1018" y="680"/>
                    </a:lnTo>
                    <a:lnTo>
                      <a:pt x="1027" y="630"/>
                    </a:lnTo>
                    <a:lnTo>
                      <a:pt x="1030" y="577"/>
                    </a:lnTo>
                    <a:lnTo>
                      <a:pt x="1027" y="525"/>
                    </a:lnTo>
                    <a:lnTo>
                      <a:pt x="1018" y="475"/>
                    </a:lnTo>
                    <a:lnTo>
                      <a:pt x="1004" y="425"/>
                    </a:lnTo>
                    <a:lnTo>
                      <a:pt x="984" y="379"/>
                    </a:lnTo>
                    <a:lnTo>
                      <a:pt x="960" y="337"/>
                    </a:lnTo>
                    <a:lnTo>
                      <a:pt x="932" y="296"/>
                    </a:lnTo>
                    <a:lnTo>
                      <a:pt x="899" y="259"/>
                    </a:lnTo>
                    <a:lnTo>
                      <a:pt x="861" y="226"/>
                    </a:lnTo>
                    <a:lnTo>
                      <a:pt x="822" y="198"/>
                    </a:lnTo>
                    <a:lnTo>
                      <a:pt x="778" y="174"/>
                    </a:lnTo>
                    <a:lnTo>
                      <a:pt x="732" y="154"/>
                    </a:lnTo>
                    <a:lnTo>
                      <a:pt x="683" y="140"/>
                    </a:lnTo>
                    <a:lnTo>
                      <a:pt x="633" y="131"/>
                    </a:lnTo>
                    <a:lnTo>
                      <a:pt x="580" y="128"/>
                    </a:lnTo>
                    <a:close/>
                    <a:moveTo>
                      <a:pt x="580" y="0"/>
                    </a:moveTo>
                    <a:lnTo>
                      <a:pt x="643" y="3"/>
                    </a:lnTo>
                    <a:lnTo>
                      <a:pt x="704" y="13"/>
                    </a:lnTo>
                    <a:lnTo>
                      <a:pt x="762" y="28"/>
                    </a:lnTo>
                    <a:lnTo>
                      <a:pt x="820" y="51"/>
                    </a:lnTo>
                    <a:lnTo>
                      <a:pt x="872" y="79"/>
                    </a:lnTo>
                    <a:lnTo>
                      <a:pt x="922" y="112"/>
                    </a:lnTo>
                    <a:lnTo>
                      <a:pt x="968" y="149"/>
                    </a:lnTo>
                    <a:lnTo>
                      <a:pt x="1011" y="190"/>
                    </a:lnTo>
                    <a:lnTo>
                      <a:pt x="1048" y="236"/>
                    </a:lnTo>
                    <a:lnTo>
                      <a:pt x="1081" y="285"/>
                    </a:lnTo>
                    <a:lnTo>
                      <a:pt x="1108" y="339"/>
                    </a:lnTo>
                    <a:lnTo>
                      <a:pt x="1130" y="395"/>
                    </a:lnTo>
                    <a:lnTo>
                      <a:pt x="1147" y="454"/>
                    </a:lnTo>
                    <a:lnTo>
                      <a:pt x="1157" y="514"/>
                    </a:lnTo>
                    <a:lnTo>
                      <a:pt x="1160" y="577"/>
                    </a:lnTo>
                    <a:lnTo>
                      <a:pt x="1157" y="640"/>
                    </a:lnTo>
                    <a:lnTo>
                      <a:pt x="1147" y="701"/>
                    </a:lnTo>
                    <a:lnTo>
                      <a:pt x="1130" y="759"/>
                    </a:lnTo>
                    <a:lnTo>
                      <a:pt x="1108" y="816"/>
                    </a:lnTo>
                    <a:lnTo>
                      <a:pt x="1081" y="868"/>
                    </a:lnTo>
                    <a:lnTo>
                      <a:pt x="1048" y="917"/>
                    </a:lnTo>
                    <a:lnTo>
                      <a:pt x="1011" y="963"/>
                    </a:lnTo>
                    <a:lnTo>
                      <a:pt x="968" y="1006"/>
                    </a:lnTo>
                    <a:lnTo>
                      <a:pt x="922" y="1043"/>
                    </a:lnTo>
                    <a:lnTo>
                      <a:pt x="872" y="1076"/>
                    </a:lnTo>
                    <a:lnTo>
                      <a:pt x="820" y="1103"/>
                    </a:lnTo>
                    <a:lnTo>
                      <a:pt x="762" y="1125"/>
                    </a:lnTo>
                    <a:lnTo>
                      <a:pt x="704" y="1142"/>
                    </a:lnTo>
                    <a:lnTo>
                      <a:pt x="643" y="1151"/>
                    </a:lnTo>
                    <a:lnTo>
                      <a:pt x="580" y="1155"/>
                    </a:lnTo>
                    <a:lnTo>
                      <a:pt x="516" y="1151"/>
                    </a:lnTo>
                    <a:lnTo>
                      <a:pt x="456" y="1142"/>
                    </a:lnTo>
                    <a:lnTo>
                      <a:pt x="397" y="1125"/>
                    </a:lnTo>
                    <a:lnTo>
                      <a:pt x="341" y="1103"/>
                    </a:lnTo>
                    <a:lnTo>
                      <a:pt x="287" y="1076"/>
                    </a:lnTo>
                    <a:lnTo>
                      <a:pt x="238" y="1043"/>
                    </a:lnTo>
                    <a:lnTo>
                      <a:pt x="191" y="1006"/>
                    </a:lnTo>
                    <a:lnTo>
                      <a:pt x="150" y="963"/>
                    </a:lnTo>
                    <a:lnTo>
                      <a:pt x="112" y="917"/>
                    </a:lnTo>
                    <a:lnTo>
                      <a:pt x="79" y="868"/>
                    </a:lnTo>
                    <a:lnTo>
                      <a:pt x="52" y="816"/>
                    </a:lnTo>
                    <a:lnTo>
                      <a:pt x="29" y="759"/>
                    </a:lnTo>
                    <a:lnTo>
                      <a:pt x="14" y="701"/>
                    </a:lnTo>
                    <a:lnTo>
                      <a:pt x="4" y="640"/>
                    </a:lnTo>
                    <a:lnTo>
                      <a:pt x="0" y="577"/>
                    </a:lnTo>
                    <a:lnTo>
                      <a:pt x="4" y="514"/>
                    </a:lnTo>
                    <a:lnTo>
                      <a:pt x="14" y="454"/>
                    </a:lnTo>
                    <a:lnTo>
                      <a:pt x="29" y="395"/>
                    </a:lnTo>
                    <a:lnTo>
                      <a:pt x="52" y="339"/>
                    </a:lnTo>
                    <a:lnTo>
                      <a:pt x="79" y="285"/>
                    </a:lnTo>
                    <a:lnTo>
                      <a:pt x="112" y="236"/>
                    </a:lnTo>
                    <a:lnTo>
                      <a:pt x="150" y="190"/>
                    </a:lnTo>
                    <a:lnTo>
                      <a:pt x="191" y="149"/>
                    </a:lnTo>
                    <a:lnTo>
                      <a:pt x="238" y="112"/>
                    </a:lnTo>
                    <a:lnTo>
                      <a:pt x="287" y="79"/>
                    </a:lnTo>
                    <a:lnTo>
                      <a:pt x="341" y="51"/>
                    </a:lnTo>
                    <a:lnTo>
                      <a:pt x="397" y="28"/>
                    </a:lnTo>
                    <a:lnTo>
                      <a:pt x="456" y="13"/>
                    </a:lnTo>
                    <a:lnTo>
                      <a:pt x="516" y="3"/>
                    </a:lnTo>
                    <a:lnTo>
                      <a:pt x="580" y="0"/>
                    </a:lnTo>
                    <a:close/>
                  </a:path>
                </a:pathLst>
              </a:custGeom>
              <a:solidFill>
                <a:srgbClr val="686C8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</p:grpSp>
        <p:grpSp>
          <p:nvGrpSpPr>
            <p:cNvPr id="231" name="Group 421">
              <a:extLst>
                <a:ext uri="{FF2B5EF4-FFF2-40B4-BE49-F238E27FC236}">
                  <a16:creationId xmlns:a16="http://schemas.microsoft.com/office/drawing/2014/main" id="{4A0ED71F-68FD-A47D-7972-D9C37EF8C8D1}"/>
                </a:ext>
              </a:extLst>
            </p:cNvPr>
            <p:cNvGrpSpPr/>
            <p:nvPr/>
          </p:nvGrpSpPr>
          <p:grpSpPr>
            <a:xfrm>
              <a:off x="4848845" y="-2184809"/>
              <a:ext cx="498567" cy="496990"/>
              <a:chOff x="6315717" y="3538390"/>
              <a:chExt cx="501650" cy="500063"/>
            </a:xfrm>
            <a:solidFill>
              <a:schemeClr val="tx1"/>
            </a:solidFill>
          </p:grpSpPr>
          <p:sp>
            <p:nvSpPr>
              <p:cNvPr id="232" name="Freeform 333">
                <a:extLst>
                  <a:ext uri="{FF2B5EF4-FFF2-40B4-BE49-F238E27FC236}">
                    <a16:creationId xmlns:a16="http://schemas.microsoft.com/office/drawing/2014/main" id="{094E1700-7030-1B0F-0C44-7B8620993B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15717" y="3538390"/>
                <a:ext cx="501650" cy="500063"/>
              </a:xfrm>
              <a:custGeom>
                <a:avLst/>
                <a:gdLst>
                  <a:gd name="T0" fmla="*/ 1478 w 3478"/>
                  <a:gd name="T1" fmla="*/ 540 h 3463"/>
                  <a:gd name="T2" fmla="*/ 1288 w 3478"/>
                  <a:gd name="T3" fmla="*/ 747 h 3463"/>
                  <a:gd name="T4" fmla="*/ 818 w 3478"/>
                  <a:gd name="T5" fmla="*/ 451 h 3463"/>
                  <a:gd name="T6" fmla="*/ 439 w 3478"/>
                  <a:gd name="T7" fmla="*/ 770 h 3463"/>
                  <a:gd name="T8" fmla="*/ 754 w 3478"/>
                  <a:gd name="T9" fmla="*/ 1173 h 3463"/>
                  <a:gd name="T10" fmla="*/ 646 w 3478"/>
                  <a:gd name="T11" fmla="*/ 1433 h 3463"/>
                  <a:gd name="T12" fmla="*/ 138 w 3478"/>
                  <a:gd name="T13" fmla="*/ 1495 h 3463"/>
                  <a:gd name="T14" fmla="*/ 179 w 3478"/>
                  <a:gd name="T15" fmla="*/ 1987 h 3463"/>
                  <a:gd name="T16" fmla="*/ 721 w 3478"/>
                  <a:gd name="T17" fmla="*/ 2110 h 3463"/>
                  <a:gd name="T18" fmla="*/ 709 w 3478"/>
                  <a:gd name="T19" fmla="*/ 2390 h 3463"/>
                  <a:gd name="T20" fmla="*/ 747 w 3478"/>
                  <a:gd name="T21" fmla="*/ 3011 h 3463"/>
                  <a:gd name="T22" fmla="*/ 1101 w 3478"/>
                  <a:gd name="T23" fmla="*/ 2740 h 3463"/>
                  <a:gd name="T24" fmla="*/ 1359 w 3478"/>
                  <a:gd name="T25" fmla="*/ 2744 h 3463"/>
                  <a:gd name="T26" fmla="*/ 1481 w 3478"/>
                  <a:gd name="T27" fmla="*/ 3285 h 3463"/>
                  <a:gd name="T28" fmla="*/ 1976 w 3478"/>
                  <a:gd name="T29" fmla="*/ 3325 h 3463"/>
                  <a:gd name="T30" fmla="*/ 2039 w 3478"/>
                  <a:gd name="T31" fmla="*/ 2819 h 3463"/>
                  <a:gd name="T32" fmla="*/ 2300 w 3478"/>
                  <a:gd name="T33" fmla="*/ 2712 h 3463"/>
                  <a:gd name="T34" fmla="*/ 2703 w 3478"/>
                  <a:gd name="T35" fmla="*/ 3025 h 3463"/>
                  <a:gd name="T36" fmla="*/ 3024 w 3478"/>
                  <a:gd name="T37" fmla="*/ 2649 h 3463"/>
                  <a:gd name="T38" fmla="*/ 2727 w 3478"/>
                  <a:gd name="T39" fmla="*/ 2180 h 3463"/>
                  <a:gd name="T40" fmla="*/ 2935 w 3478"/>
                  <a:gd name="T41" fmla="*/ 1990 h 3463"/>
                  <a:gd name="T42" fmla="*/ 3349 w 3478"/>
                  <a:gd name="T43" fmla="*/ 1525 h 3463"/>
                  <a:gd name="T44" fmla="*/ 2899 w 3478"/>
                  <a:gd name="T45" fmla="*/ 1463 h 3463"/>
                  <a:gd name="T46" fmla="*/ 2721 w 3478"/>
                  <a:gd name="T47" fmla="*/ 1245 h 3463"/>
                  <a:gd name="T48" fmla="*/ 3034 w 3478"/>
                  <a:gd name="T49" fmla="*/ 801 h 3463"/>
                  <a:gd name="T50" fmla="*/ 2688 w 3478"/>
                  <a:gd name="T51" fmla="*/ 437 h 3463"/>
                  <a:gd name="T52" fmla="*/ 2264 w 3478"/>
                  <a:gd name="T53" fmla="*/ 755 h 3463"/>
                  <a:gd name="T54" fmla="*/ 2020 w 3478"/>
                  <a:gd name="T55" fmla="*/ 611 h 3463"/>
                  <a:gd name="T56" fmla="*/ 1962 w 3478"/>
                  <a:gd name="T57" fmla="*/ 130 h 3463"/>
                  <a:gd name="T58" fmla="*/ 2062 w 3478"/>
                  <a:gd name="T59" fmla="*/ 41 h 3463"/>
                  <a:gd name="T60" fmla="*/ 2134 w 3478"/>
                  <a:gd name="T61" fmla="*/ 549 h 3463"/>
                  <a:gd name="T62" fmla="*/ 2298 w 3478"/>
                  <a:gd name="T63" fmla="*/ 617 h 3463"/>
                  <a:gd name="T64" fmla="*/ 2711 w 3478"/>
                  <a:gd name="T65" fmla="*/ 310 h 3463"/>
                  <a:gd name="T66" fmla="*/ 3159 w 3478"/>
                  <a:gd name="T67" fmla="*/ 723 h 3463"/>
                  <a:gd name="T68" fmla="*/ 2885 w 3478"/>
                  <a:gd name="T69" fmla="*/ 1133 h 3463"/>
                  <a:gd name="T70" fmla="*/ 2885 w 3478"/>
                  <a:gd name="T71" fmla="*/ 1310 h 3463"/>
                  <a:gd name="T72" fmla="*/ 3389 w 3478"/>
                  <a:gd name="T73" fmla="*/ 1371 h 3463"/>
                  <a:gd name="T74" fmla="*/ 3475 w 3478"/>
                  <a:gd name="T75" fmla="*/ 1970 h 3463"/>
                  <a:gd name="T76" fmla="*/ 3299 w 3478"/>
                  <a:gd name="T77" fmla="*/ 2116 h 3463"/>
                  <a:gd name="T78" fmla="*/ 2850 w 3478"/>
                  <a:gd name="T79" fmla="*/ 2217 h 3463"/>
                  <a:gd name="T80" fmla="*/ 3148 w 3478"/>
                  <a:gd name="T81" fmla="*/ 2603 h 3463"/>
                  <a:gd name="T82" fmla="*/ 3115 w 3478"/>
                  <a:gd name="T83" fmla="*/ 2809 h 3463"/>
                  <a:gd name="T84" fmla="*/ 2620 w 3478"/>
                  <a:gd name="T85" fmla="*/ 3136 h 3463"/>
                  <a:gd name="T86" fmla="*/ 2227 w 3478"/>
                  <a:gd name="T87" fmla="*/ 2838 h 3463"/>
                  <a:gd name="T88" fmla="*/ 2126 w 3478"/>
                  <a:gd name="T89" fmla="*/ 3285 h 3463"/>
                  <a:gd name="T90" fmla="*/ 1979 w 3478"/>
                  <a:gd name="T91" fmla="*/ 3460 h 3463"/>
                  <a:gd name="T92" fmla="*/ 1377 w 3478"/>
                  <a:gd name="T93" fmla="*/ 3375 h 3463"/>
                  <a:gd name="T94" fmla="*/ 1316 w 3478"/>
                  <a:gd name="T95" fmla="*/ 2873 h 3463"/>
                  <a:gd name="T96" fmla="*/ 1139 w 3478"/>
                  <a:gd name="T97" fmla="*/ 2873 h 3463"/>
                  <a:gd name="T98" fmla="*/ 707 w 3478"/>
                  <a:gd name="T99" fmla="*/ 3136 h 3463"/>
                  <a:gd name="T100" fmla="*/ 310 w 3478"/>
                  <a:gd name="T101" fmla="*/ 2684 h 3463"/>
                  <a:gd name="T102" fmla="*/ 620 w 3478"/>
                  <a:gd name="T103" fmla="*/ 2288 h 3463"/>
                  <a:gd name="T104" fmla="*/ 552 w 3478"/>
                  <a:gd name="T105" fmla="*/ 2125 h 3463"/>
                  <a:gd name="T106" fmla="*/ 42 w 3478"/>
                  <a:gd name="T107" fmla="*/ 2053 h 3463"/>
                  <a:gd name="T108" fmla="*/ 24 w 3478"/>
                  <a:gd name="T109" fmla="*/ 1434 h 3463"/>
                  <a:gd name="T110" fmla="*/ 529 w 3478"/>
                  <a:gd name="T111" fmla="*/ 1344 h 3463"/>
                  <a:gd name="T112" fmla="*/ 627 w 3478"/>
                  <a:gd name="T113" fmla="*/ 1198 h 3463"/>
                  <a:gd name="T114" fmla="*/ 312 w 3478"/>
                  <a:gd name="T115" fmla="*/ 806 h 3463"/>
                  <a:gd name="T116" fmla="*/ 680 w 3478"/>
                  <a:gd name="T117" fmla="*/ 341 h 3463"/>
                  <a:gd name="T118" fmla="*/ 909 w 3478"/>
                  <a:gd name="T119" fmla="*/ 360 h 3463"/>
                  <a:gd name="T120" fmla="*/ 1298 w 3478"/>
                  <a:gd name="T121" fmla="*/ 604 h 3463"/>
                  <a:gd name="T122" fmla="*/ 1364 w 3478"/>
                  <a:gd name="T123" fmla="*/ 115 h 3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478" h="3463">
                    <a:moveTo>
                      <a:pt x="1532" y="127"/>
                    </a:moveTo>
                    <a:lnTo>
                      <a:pt x="1515" y="130"/>
                    </a:lnTo>
                    <a:lnTo>
                      <a:pt x="1502" y="137"/>
                    </a:lnTo>
                    <a:lnTo>
                      <a:pt x="1491" y="148"/>
                    </a:lnTo>
                    <a:lnTo>
                      <a:pt x="1483" y="161"/>
                    </a:lnTo>
                    <a:lnTo>
                      <a:pt x="1481" y="178"/>
                    </a:lnTo>
                    <a:lnTo>
                      <a:pt x="1481" y="501"/>
                    </a:lnTo>
                    <a:lnTo>
                      <a:pt x="1478" y="540"/>
                    </a:lnTo>
                    <a:lnTo>
                      <a:pt x="1470" y="577"/>
                    </a:lnTo>
                    <a:lnTo>
                      <a:pt x="1457" y="611"/>
                    </a:lnTo>
                    <a:lnTo>
                      <a:pt x="1439" y="642"/>
                    </a:lnTo>
                    <a:lnTo>
                      <a:pt x="1416" y="671"/>
                    </a:lnTo>
                    <a:lnTo>
                      <a:pt x="1390" y="696"/>
                    </a:lnTo>
                    <a:lnTo>
                      <a:pt x="1359" y="718"/>
                    </a:lnTo>
                    <a:lnTo>
                      <a:pt x="1324" y="735"/>
                    </a:lnTo>
                    <a:lnTo>
                      <a:pt x="1288" y="747"/>
                    </a:lnTo>
                    <a:lnTo>
                      <a:pt x="1251" y="754"/>
                    </a:lnTo>
                    <a:lnTo>
                      <a:pt x="1214" y="755"/>
                    </a:lnTo>
                    <a:lnTo>
                      <a:pt x="1178" y="750"/>
                    </a:lnTo>
                    <a:lnTo>
                      <a:pt x="1143" y="741"/>
                    </a:lnTo>
                    <a:lnTo>
                      <a:pt x="1109" y="725"/>
                    </a:lnTo>
                    <a:lnTo>
                      <a:pt x="1077" y="705"/>
                    </a:lnTo>
                    <a:lnTo>
                      <a:pt x="1047" y="680"/>
                    </a:lnTo>
                    <a:lnTo>
                      <a:pt x="818" y="451"/>
                    </a:lnTo>
                    <a:lnTo>
                      <a:pt x="805" y="442"/>
                    </a:lnTo>
                    <a:lnTo>
                      <a:pt x="791" y="437"/>
                    </a:lnTo>
                    <a:lnTo>
                      <a:pt x="774" y="437"/>
                    </a:lnTo>
                    <a:lnTo>
                      <a:pt x="760" y="442"/>
                    </a:lnTo>
                    <a:lnTo>
                      <a:pt x="747" y="451"/>
                    </a:lnTo>
                    <a:lnTo>
                      <a:pt x="453" y="743"/>
                    </a:lnTo>
                    <a:lnTo>
                      <a:pt x="445" y="756"/>
                    </a:lnTo>
                    <a:lnTo>
                      <a:pt x="439" y="770"/>
                    </a:lnTo>
                    <a:lnTo>
                      <a:pt x="439" y="787"/>
                    </a:lnTo>
                    <a:lnTo>
                      <a:pt x="445" y="801"/>
                    </a:lnTo>
                    <a:lnTo>
                      <a:pt x="453" y="814"/>
                    </a:lnTo>
                    <a:lnTo>
                      <a:pt x="684" y="1043"/>
                    </a:lnTo>
                    <a:lnTo>
                      <a:pt x="709" y="1072"/>
                    </a:lnTo>
                    <a:lnTo>
                      <a:pt x="729" y="1104"/>
                    </a:lnTo>
                    <a:lnTo>
                      <a:pt x="744" y="1137"/>
                    </a:lnTo>
                    <a:lnTo>
                      <a:pt x="754" y="1173"/>
                    </a:lnTo>
                    <a:lnTo>
                      <a:pt x="759" y="1209"/>
                    </a:lnTo>
                    <a:lnTo>
                      <a:pt x="758" y="1245"/>
                    </a:lnTo>
                    <a:lnTo>
                      <a:pt x="751" y="1282"/>
                    </a:lnTo>
                    <a:lnTo>
                      <a:pt x="739" y="1318"/>
                    </a:lnTo>
                    <a:lnTo>
                      <a:pt x="721" y="1353"/>
                    </a:lnTo>
                    <a:lnTo>
                      <a:pt x="699" y="1384"/>
                    </a:lnTo>
                    <a:lnTo>
                      <a:pt x="674" y="1410"/>
                    </a:lnTo>
                    <a:lnTo>
                      <a:pt x="646" y="1433"/>
                    </a:lnTo>
                    <a:lnTo>
                      <a:pt x="614" y="1450"/>
                    </a:lnTo>
                    <a:lnTo>
                      <a:pt x="580" y="1463"/>
                    </a:lnTo>
                    <a:lnTo>
                      <a:pt x="542" y="1471"/>
                    </a:lnTo>
                    <a:lnTo>
                      <a:pt x="504" y="1474"/>
                    </a:lnTo>
                    <a:lnTo>
                      <a:pt x="179" y="1474"/>
                    </a:lnTo>
                    <a:lnTo>
                      <a:pt x="162" y="1477"/>
                    </a:lnTo>
                    <a:lnTo>
                      <a:pt x="149" y="1484"/>
                    </a:lnTo>
                    <a:lnTo>
                      <a:pt x="138" y="1495"/>
                    </a:lnTo>
                    <a:lnTo>
                      <a:pt x="131" y="1508"/>
                    </a:lnTo>
                    <a:lnTo>
                      <a:pt x="128" y="1525"/>
                    </a:lnTo>
                    <a:lnTo>
                      <a:pt x="128" y="1938"/>
                    </a:lnTo>
                    <a:lnTo>
                      <a:pt x="131" y="1953"/>
                    </a:lnTo>
                    <a:lnTo>
                      <a:pt x="138" y="1968"/>
                    </a:lnTo>
                    <a:lnTo>
                      <a:pt x="149" y="1978"/>
                    </a:lnTo>
                    <a:lnTo>
                      <a:pt x="162" y="1985"/>
                    </a:lnTo>
                    <a:lnTo>
                      <a:pt x="179" y="1987"/>
                    </a:lnTo>
                    <a:lnTo>
                      <a:pt x="504" y="1987"/>
                    </a:lnTo>
                    <a:lnTo>
                      <a:pt x="542" y="1990"/>
                    </a:lnTo>
                    <a:lnTo>
                      <a:pt x="580" y="1998"/>
                    </a:lnTo>
                    <a:lnTo>
                      <a:pt x="614" y="2011"/>
                    </a:lnTo>
                    <a:lnTo>
                      <a:pt x="646" y="2030"/>
                    </a:lnTo>
                    <a:lnTo>
                      <a:pt x="674" y="2052"/>
                    </a:lnTo>
                    <a:lnTo>
                      <a:pt x="699" y="2079"/>
                    </a:lnTo>
                    <a:lnTo>
                      <a:pt x="721" y="2110"/>
                    </a:lnTo>
                    <a:lnTo>
                      <a:pt x="739" y="2144"/>
                    </a:lnTo>
                    <a:lnTo>
                      <a:pt x="751" y="2180"/>
                    </a:lnTo>
                    <a:lnTo>
                      <a:pt x="758" y="2217"/>
                    </a:lnTo>
                    <a:lnTo>
                      <a:pt x="759" y="2254"/>
                    </a:lnTo>
                    <a:lnTo>
                      <a:pt x="754" y="2290"/>
                    </a:lnTo>
                    <a:lnTo>
                      <a:pt x="744" y="2325"/>
                    </a:lnTo>
                    <a:lnTo>
                      <a:pt x="729" y="2358"/>
                    </a:lnTo>
                    <a:lnTo>
                      <a:pt x="709" y="2390"/>
                    </a:lnTo>
                    <a:lnTo>
                      <a:pt x="684" y="2419"/>
                    </a:lnTo>
                    <a:lnTo>
                      <a:pt x="453" y="2648"/>
                    </a:lnTo>
                    <a:lnTo>
                      <a:pt x="445" y="2661"/>
                    </a:lnTo>
                    <a:lnTo>
                      <a:pt x="439" y="2676"/>
                    </a:lnTo>
                    <a:lnTo>
                      <a:pt x="439" y="2691"/>
                    </a:lnTo>
                    <a:lnTo>
                      <a:pt x="445" y="2706"/>
                    </a:lnTo>
                    <a:lnTo>
                      <a:pt x="453" y="2719"/>
                    </a:lnTo>
                    <a:lnTo>
                      <a:pt x="747" y="3011"/>
                    </a:lnTo>
                    <a:lnTo>
                      <a:pt x="760" y="3020"/>
                    </a:lnTo>
                    <a:lnTo>
                      <a:pt x="774" y="3025"/>
                    </a:lnTo>
                    <a:lnTo>
                      <a:pt x="791" y="3025"/>
                    </a:lnTo>
                    <a:lnTo>
                      <a:pt x="805" y="3020"/>
                    </a:lnTo>
                    <a:lnTo>
                      <a:pt x="818" y="3011"/>
                    </a:lnTo>
                    <a:lnTo>
                      <a:pt x="1047" y="2782"/>
                    </a:lnTo>
                    <a:lnTo>
                      <a:pt x="1074" y="2759"/>
                    </a:lnTo>
                    <a:lnTo>
                      <a:pt x="1101" y="2740"/>
                    </a:lnTo>
                    <a:lnTo>
                      <a:pt x="1131" y="2726"/>
                    </a:lnTo>
                    <a:lnTo>
                      <a:pt x="1162" y="2715"/>
                    </a:lnTo>
                    <a:lnTo>
                      <a:pt x="1193" y="2709"/>
                    </a:lnTo>
                    <a:lnTo>
                      <a:pt x="1225" y="2707"/>
                    </a:lnTo>
                    <a:lnTo>
                      <a:pt x="1258" y="2709"/>
                    </a:lnTo>
                    <a:lnTo>
                      <a:pt x="1291" y="2715"/>
                    </a:lnTo>
                    <a:lnTo>
                      <a:pt x="1324" y="2727"/>
                    </a:lnTo>
                    <a:lnTo>
                      <a:pt x="1359" y="2744"/>
                    </a:lnTo>
                    <a:lnTo>
                      <a:pt x="1390" y="2766"/>
                    </a:lnTo>
                    <a:lnTo>
                      <a:pt x="1416" y="2791"/>
                    </a:lnTo>
                    <a:lnTo>
                      <a:pt x="1439" y="2819"/>
                    </a:lnTo>
                    <a:lnTo>
                      <a:pt x="1457" y="2851"/>
                    </a:lnTo>
                    <a:lnTo>
                      <a:pt x="1470" y="2886"/>
                    </a:lnTo>
                    <a:lnTo>
                      <a:pt x="1478" y="2922"/>
                    </a:lnTo>
                    <a:lnTo>
                      <a:pt x="1481" y="2960"/>
                    </a:lnTo>
                    <a:lnTo>
                      <a:pt x="1481" y="3285"/>
                    </a:lnTo>
                    <a:lnTo>
                      <a:pt x="1483" y="3300"/>
                    </a:lnTo>
                    <a:lnTo>
                      <a:pt x="1491" y="3314"/>
                    </a:lnTo>
                    <a:lnTo>
                      <a:pt x="1502" y="3325"/>
                    </a:lnTo>
                    <a:lnTo>
                      <a:pt x="1515" y="3332"/>
                    </a:lnTo>
                    <a:lnTo>
                      <a:pt x="1532" y="3334"/>
                    </a:lnTo>
                    <a:lnTo>
                      <a:pt x="1947" y="3334"/>
                    </a:lnTo>
                    <a:lnTo>
                      <a:pt x="1962" y="3332"/>
                    </a:lnTo>
                    <a:lnTo>
                      <a:pt x="1976" y="3325"/>
                    </a:lnTo>
                    <a:lnTo>
                      <a:pt x="1987" y="3314"/>
                    </a:lnTo>
                    <a:lnTo>
                      <a:pt x="1994" y="3300"/>
                    </a:lnTo>
                    <a:lnTo>
                      <a:pt x="1996" y="3285"/>
                    </a:lnTo>
                    <a:lnTo>
                      <a:pt x="1996" y="2960"/>
                    </a:lnTo>
                    <a:lnTo>
                      <a:pt x="1999" y="2922"/>
                    </a:lnTo>
                    <a:lnTo>
                      <a:pt x="2007" y="2886"/>
                    </a:lnTo>
                    <a:lnTo>
                      <a:pt x="2020" y="2851"/>
                    </a:lnTo>
                    <a:lnTo>
                      <a:pt x="2039" y="2819"/>
                    </a:lnTo>
                    <a:lnTo>
                      <a:pt x="2061" y="2791"/>
                    </a:lnTo>
                    <a:lnTo>
                      <a:pt x="2088" y="2766"/>
                    </a:lnTo>
                    <a:lnTo>
                      <a:pt x="2119" y="2744"/>
                    </a:lnTo>
                    <a:lnTo>
                      <a:pt x="2153" y="2727"/>
                    </a:lnTo>
                    <a:lnTo>
                      <a:pt x="2189" y="2715"/>
                    </a:lnTo>
                    <a:lnTo>
                      <a:pt x="2227" y="2709"/>
                    </a:lnTo>
                    <a:lnTo>
                      <a:pt x="2264" y="2708"/>
                    </a:lnTo>
                    <a:lnTo>
                      <a:pt x="2300" y="2712"/>
                    </a:lnTo>
                    <a:lnTo>
                      <a:pt x="2335" y="2722"/>
                    </a:lnTo>
                    <a:lnTo>
                      <a:pt x="2368" y="2736"/>
                    </a:lnTo>
                    <a:lnTo>
                      <a:pt x="2400" y="2757"/>
                    </a:lnTo>
                    <a:lnTo>
                      <a:pt x="2430" y="2782"/>
                    </a:lnTo>
                    <a:lnTo>
                      <a:pt x="2660" y="3011"/>
                    </a:lnTo>
                    <a:lnTo>
                      <a:pt x="2672" y="3020"/>
                    </a:lnTo>
                    <a:lnTo>
                      <a:pt x="2688" y="3025"/>
                    </a:lnTo>
                    <a:lnTo>
                      <a:pt x="2703" y="3025"/>
                    </a:lnTo>
                    <a:lnTo>
                      <a:pt x="2717" y="3020"/>
                    </a:lnTo>
                    <a:lnTo>
                      <a:pt x="2731" y="3011"/>
                    </a:lnTo>
                    <a:lnTo>
                      <a:pt x="3024" y="2719"/>
                    </a:lnTo>
                    <a:lnTo>
                      <a:pt x="3034" y="2706"/>
                    </a:lnTo>
                    <a:lnTo>
                      <a:pt x="3038" y="2691"/>
                    </a:lnTo>
                    <a:lnTo>
                      <a:pt x="3038" y="2676"/>
                    </a:lnTo>
                    <a:lnTo>
                      <a:pt x="3034" y="2661"/>
                    </a:lnTo>
                    <a:lnTo>
                      <a:pt x="3024" y="2649"/>
                    </a:lnTo>
                    <a:lnTo>
                      <a:pt x="2794" y="2419"/>
                    </a:lnTo>
                    <a:lnTo>
                      <a:pt x="2769" y="2390"/>
                    </a:lnTo>
                    <a:lnTo>
                      <a:pt x="2748" y="2358"/>
                    </a:lnTo>
                    <a:lnTo>
                      <a:pt x="2734" y="2325"/>
                    </a:lnTo>
                    <a:lnTo>
                      <a:pt x="2724" y="2290"/>
                    </a:lnTo>
                    <a:lnTo>
                      <a:pt x="2720" y="2254"/>
                    </a:lnTo>
                    <a:lnTo>
                      <a:pt x="2721" y="2217"/>
                    </a:lnTo>
                    <a:lnTo>
                      <a:pt x="2727" y="2180"/>
                    </a:lnTo>
                    <a:lnTo>
                      <a:pt x="2739" y="2144"/>
                    </a:lnTo>
                    <a:lnTo>
                      <a:pt x="2756" y="2110"/>
                    </a:lnTo>
                    <a:lnTo>
                      <a:pt x="2778" y="2079"/>
                    </a:lnTo>
                    <a:lnTo>
                      <a:pt x="2803" y="2052"/>
                    </a:lnTo>
                    <a:lnTo>
                      <a:pt x="2832" y="2030"/>
                    </a:lnTo>
                    <a:lnTo>
                      <a:pt x="2863" y="2011"/>
                    </a:lnTo>
                    <a:lnTo>
                      <a:pt x="2899" y="1998"/>
                    </a:lnTo>
                    <a:lnTo>
                      <a:pt x="2935" y="1990"/>
                    </a:lnTo>
                    <a:lnTo>
                      <a:pt x="2973" y="1987"/>
                    </a:lnTo>
                    <a:lnTo>
                      <a:pt x="3299" y="1987"/>
                    </a:lnTo>
                    <a:lnTo>
                      <a:pt x="3315" y="1985"/>
                    </a:lnTo>
                    <a:lnTo>
                      <a:pt x="3329" y="1978"/>
                    </a:lnTo>
                    <a:lnTo>
                      <a:pt x="3340" y="1968"/>
                    </a:lnTo>
                    <a:lnTo>
                      <a:pt x="3347" y="1953"/>
                    </a:lnTo>
                    <a:lnTo>
                      <a:pt x="3349" y="1938"/>
                    </a:lnTo>
                    <a:lnTo>
                      <a:pt x="3349" y="1525"/>
                    </a:lnTo>
                    <a:lnTo>
                      <a:pt x="3347" y="1508"/>
                    </a:lnTo>
                    <a:lnTo>
                      <a:pt x="3340" y="1495"/>
                    </a:lnTo>
                    <a:lnTo>
                      <a:pt x="3329" y="1484"/>
                    </a:lnTo>
                    <a:lnTo>
                      <a:pt x="3315" y="1477"/>
                    </a:lnTo>
                    <a:lnTo>
                      <a:pt x="3299" y="1474"/>
                    </a:lnTo>
                    <a:lnTo>
                      <a:pt x="2973" y="1474"/>
                    </a:lnTo>
                    <a:lnTo>
                      <a:pt x="2935" y="1472"/>
                    </a:lnTo>
                    <a:lnTo>
                      <a:pt x="2899" y="1463"/>
                    </a:lnTo>
                    <a:lnTo>
                      <a:pt x="2863" y="1450"/>
                    </a:lnTo>
                    <a:lnTo>
                      <a:pt x="2832" y="1433"/>
                    </a:lnTo>
                    <a:lnTo>
                      <a:pt x="2803" y="1410"/>
                    </a:lnTo>
                    <a:lnTo>
                      <a:pt x="2778" y="1384"/>
                    </a:lnTo>
                    <a:lnTo>
                      <a:pt x="2756" y="1353"/>
                    </a:lnTo>
                    <a:lnTo>
                      <a:pt x="2739" y="1319"/>
                    </a:lnTo>
                    <a:lnTo>
                      <a:pt x="2727" y="1282"/>
                    </a:lnTo>
                    <a:lnTo>
                      <a:pt x="2721" y="1245"/>
                    </a:lnTo>
                    <a:lnTo>
                      <a:pt x="2720" y="1209"/>
                    </a:lnTo>
                    <a:lnTo>
                      <a:pt x="2724" y="1173"/>
                    </a:lnTo>
                    <a:lnTo>
                      <a:pt x="2734" y="1138"/>
                    </a:lnTo>
                    <a:lnTo>
                      <a:pt x="2748" y="1104"/>
                    </a:lnTo>
                    <a:lnTo>
                      <a:pt x="2769" y="1072"/>
                    </a:lnTo>
                    <a:lnTo>
                      <a:pt x="2794" y="1043"/>
                    </a:lnTo>
                    <a:lnTo>
                      <a:pt x="3024" y="814"/>
                    </a:lnTo>
                    <a:lnTo>
                      <a:pt x="3034" y="801"/>
                    </a:lnTo>
                    <a:lnTo>
                      <a:pt x="3038" y="787"/>
                    </a:lnTo>
                    <a:lnTo>
                      <a:pt x="3038" y="771"/>
                    </a:lnTo>
                    <a:lnTo>
                      <a:pt x="3034" y="756"/>
                    </a:lnTo>
                    <a:lnTo>
                      <a:pt x="3024" y="743"/>
                    </a:lnTo>
                    <a:lnTo>
                      <a:pt x="2731" y="451"/>
                    </a:lnTo>
                    <a:lnTo>
                      <a:pt x="2717" y="442"/>
                    </a:lnTo>
                    <a:lnTo>
                      <a:pt x="2703" y="437"/>
                    </a:lnTo>
                    <a:lnTo>
                      <a:pt x="2688" y="437"/>
                    </a:lnTo>
                    <a:lnTo>
                      <a:pt x="2672" y="442"/>
                    </a:lnTo>
                    <a:lnTo>
                      <a:pt x="2660" y="451"/>
                    </a:lnTo>
                    <a:lnTo>
                      <a:pt x="2430" y="681"/>
                    </a:lnTo>
                    <a:lnTo>
                      <a:pt x="2400" y="706"/>
                    </a:lnTo>
                    <a:lnTo>
                      <a:pt x="2368" y="725"/>
                    </a:lnTo>
                    <a:lnTo>
                      <a:pt x="2335" y="741"/>
                    </a:lnTo>
                    <a:lnTo>
                      <a:pt x="2300" y="751"/>
                    </a:lnTo>
                    <a:lnTo>
                      <a:pt x="2264" y="755"/>
                    </a:lnTo>
                    <a:lnTo>
                      <a:pt x="2227" y="754"/>
                    </a:lnTo>
                    <a:lnTo>
                      <a:pt x="2189" y="747"/>
                    </a:lnTo>
                    <a:lnTo>
                      <a:pt x="2153" y="735"/>
                    </a:lnTo>
                    <a:lnTo>
                      <a:pt x="2119" y="718"/>
                    </a:lnTo>
                    <a:lnTo>
                      <a:pt x="2088" y="696"/>
                    </a:lnTo>
                    <a:lnTo>
                      <a:pt x="2061" y="671"/>
                    </a:lnTo>
                    <a:lnTo>
                      <a:pt x="2039" y="642"/>
                    </a:lnTo>
                    <a:lnTo>
                      <a:pt x="2020" y="611"/>
                    </a:lnTo>
                    <a:lnTo>
                      <a:pt x="2007" y="577"/>
                    </a:lnTo>
                    <a:lnTo>
                      <a:pt x="1999" y="540"/>
                    </a:lnTo>
                    <a:lnTo>
                      <a:pt x="1996" y="501"/>
                    </a:lnTo>
                    <a:lnTo>
                      <a:pt x="1996" y="178"/>
                    </a:lnTo>
                    <a:lnTo>
                      <a:pt x="1994" y="161"/>
                    </a:lnTo>
                    <a:lnTo>
                      <a:pt x="1987" y="148"/>
                    </a:lnTo>
                    <a:lnTo>
                      <a:pt x="1976" y="137"/>
                    </a:lnTo>
                    <a:lnTo>
                      <a:pt x="1962" y="130"/>
                    </a:lnTo>
                    <a:lnTo>
                      <a:pt x="1947" y="127"/>
                    </a:lnTo>
                    <a:lnTo>
                      <a:pt x="1532" y="127"/>
                    </a:lnTo>
                    <a:close/>
                    <a:moveTo>
                      <a:pt x="1532" y="0"/>
                    </a:moveTo>
                    <a:lnTo>
                      <a:pt x="1947" y="0"/>
                    </a:lnTo>
                    <a:lnTo>
                      <a:pt x="1979" y="2"/>
                    </a:lnTo>
                    <a:lnTo>
                      <a:pt x="2008" y="10"/>
                    </a:lnTo>
                    <a:lnTo>
                      <a:pt x="2037" y="24"/>
                    </a:lnTo>
                    <a:lnTo>
                      <a:pt x="2062" y="41"/>
                    </a:lnTo>
                    <a:lnTo>
                      <a:pt x="2083" y="63"/>
                    </a:lnTo>
                    <a:lnTo>
                      <a:pt x="2100" y="87"/>
                    </a:lnTo>
                    <a:lnTo>
                      <a:pt x="2114" y="115"/>
                    </a:lnTo>
                    <a:lnTo>
                      <a:pt x="2122" y="145"/>
                    </a:lnTo>
                    <a:lnTo>
                      <a:pt x="2126" y="178"/>
                    </a:lnTo>
                    <a:lnTo>
                      <a:pt x="2126" y="501"/>
                    </a:lnTo>
                    <a:lnTo>
                      <a:pt x="2128" y="526"/>
                    </a:lnTo>
                    <a:lnTo>
                      <a:pt x="2134" y="549"/>
                    </a:lnTo>
                    <a:lnTo>
                      <a:pt x="2145" y="571"/>
                    </a:lnTo>
                    <a:lnTo>
                      <a:pt x="2161" y="589"/>
                    </a:lnTo>
                    <a:lnTo>
                      <a:pt x="2179" y="604"/>
                    </a:lnTo>
                    <a:lnTo>
                      <a:pt x="2202" y="616"/>
                    </a:lnTo>
                    <a:lnTo>
                      <a:pt x="2227" y="624"/>
                    </a:lnTo>
                    <a:lnTo>
                      <a:pt x="2251" y="626"/>
                    </a:lnTo>
                    <a:lnTo>
                      <a:pt x="2275" y="624"/>
                    </a:lnTo>
                    <a:lnTo>
                      <a:pt x="2298" y="617"/>
                    </a:lnTo>
                    <a:lnTo>
                      <a:pt x="2319" y="605"/>
                    </a:lnTo>
                    <a:lnTo>
                      <a:pt x="2339" y="590"/>
                    </a:lnTo>
                    <a:lnTo>
                      <a:pt x="2568" y="360"/>
                    </a:lnTo>
                    <a:lnTo>
                      <a:pt x="2593" y="341"/>
                    </a:lnTo>
                    <a:lnTo>
                      <a:pt x="2620" y="325"/>
                    </a:lnTo>
                    <a:lnTo>
                      <a:pt x="2649" y="315"/>
                    </a:lnTo>
                    <a:lnTo>
                      <a:pt x="2680" y="310"/>
                    </a:lnTo>
                    <a:lnTo>
                      <a:pt x="2711" y="310"/>
                    </a:lnTo>
                    <a:lnTo>
                      <a:pt x="2742" y="315"/>
                    </a:lnTo>
                    <a:lnTo>
                      <a:pt x="2770" y="325"/>
                    </a:lnTo>
                    <a:lnTo>
                      <a:pt x="2798" y="341"/>
                    </a:lnTo>
                    <a:lnTo>
                      <a:pt x="2822" y="360"/>
                    </a:lnTo>
                    <a:lnTo>
                      <a:pt x="3115" y="652"/>
                    </a:lnTo>
                    <a:lnTo>
                      <a:pt x="3134" y="674"/>
                    </a:lnTo>
                    <a:lnTo>
                      <a:pt x="3148" y="698"/>
                    </a:lnTo>
                    <a:lnTo>
                      <a:pt x="3159" y="723"/>
                    </a:lnTo>
                    <a:lnTo>
                      <a:pt x="3165" y="751"/>
                    </a:lnTo>
                    <a:lnTo>
                      <a:pt x="3168" y="779"/>
                    </a:lnTo>
                    <a:lnTo>
                      <a:pt x="3165" y="806"/>
                    </a:lnTo>
                    <a:lnTo>
                      <a:pt x="3159" y="834"/>
                    </a:lnTo>
                    <a:lnTo>
                      <a:pt x="3148" y="860"/>
                    </a:lnTo>
                    <a:lnTo>
                      <a:pt x="3134" y="883"/>
                    </a:lnTo>
                    <a:lnTo>
                      <a:pt x="3115" y="905"/>
                    </a:lnTo>
                    <a:lnTo>
                      <a:pt x="2885" y="1133"/>
                    </a:lnTo>
                    <a:lnTo>
                      <a:pt x="2869" y="1153"/>
                    </a:lnTo>
                    <a:lnTo>
                      <a:pt x="2857" y="1175"/>
                    </a:lnTo>
                    <a:lnTo>
                      <a:pt x="2850" y="1198"/>
                    </a:lnTo>
                    <a:lnTo>
                      <a:pt x="2848" y="1221"/>
                    </a:lnTo>
                    <a:lnTo>
                      <a:pt x="2850" y="1245"/>
                    </a:lnTo>
                    <a:lnTo>
                      <a:pt x="2858" y="1270"/>
                    </a:lnTo>
                    <a:lnTo>
                      <a:pt x="2870" y="1292"/>
                    </a:lnTo>
                    <a:lnTo>
                      <a:pt x="2885" y="1310"/>
                    </a:lnTo>
                    <a:lnTo>
                      <a:pt x="2904" y="1326"/>
                    </a:lnTo>
                    <a:lnTo>
                      <a:pt x="2925" y="1337"/>
                    </a:lnTo>
                    <a:lnTo>
                      <a:pt x="2948" y="1344"/>
                    </a:lnTo>
                    <a:lnTo>
                      <a:pt x="2973" y="1346"/>
                    </a:lnTo>
                    <a:lnTo>
                      <a:pt x="3299" y="1346"/>
                    </a:lnTo>
                    <a:lnTo>
                      <a:pt x="3331" y="1349"/>
                    </a:lnTo>
                    <a:lnTo>
                      <a:pt x="3361" y="1357"/>
                    </a:lnTo>
                    <a:lnTo>
                      <a:pt x="3389" y="1371"/>
                    </a:lnTo>
                    <a:lnTo>
                      <a:pt x="3415" y="1388"/>
                    </a:lnTo>
                    <a:lnTo>
                      <a:pt x="3435" y="1410"/>
                    </a:lnTo>
                    <a:lnTo>
                      <a:pt x="3453" y="1434"/>
                    </a:lnTo>
                    <a:lnTo>
                      <a:pt x="3466" y="1462"/>
                    </a:lnTo>
                    <a:lnTo>
                      <a:pt x="3475" y="1492"/>
                    </a:lnTo>
                    <a:lnTo>
                      <a:pt x="3478" y="1525"/>
                    </a:lnTo>
                    <a:lnTo>
                      <a:pt x="3478" y="1938"/>
                    </a:lnTo>
                    <a:lnTo>
                      <a:pt x="3475" y="1970"/>
                    </a:lnTo>
                    <a:lnTo>
                      <a:pt x="3466" y="1999"/>
                    </a:lnTo>
                    <a:lnTo>
                      <a:pt x="3453" y="2028"/>
                    </a:lnTo>
                    <a:lnTo>
                      <a:pt x="3435" y="2053"/>
                    </a:lnTo>
                    <a:lnTo>
                      <a:pt x="3415" y="2074"/>
                    </a:lnTo>
                    <a:lnTo>
                      <a:pt x="3389" y="2091"/>
                    </a:lnTo>
                    <a:lnTo>
                      <a:pt x="3361" y="2104"/>
                    </a:lnTo>
                    <a:lnTo>
                      <a:pt x="3331" y="2113"/>
                    </a:lnTo>
                    <a:lnTo>
                      <a:pt x="3299" y="2116"/>
                    </a:lnTo>
                    <a:lnTo>
                      <a:pt x="2973" y="2116"/>
                    </a:lnTo>
                    <a:lnTo>
                      <a:pt x="2948" y="2118"/>
                    </a:lnTo>
                    <a:lnTo>
                      <a:pt x="2925" y="2125"/>
                    </a:lnTo>
                    <a:lnTo>
                      <a:pt x="2903" y="2136"/>
                    </a:lnTo>
                    <a:lnTo>
                      <a:pt x="2885" y="2151"/>
                    </a:lnTo>
                    <a:lnTo>
                      <a:pt x="2870" y="2170"/>
                    </a:lnTo>
                    <a:lnTo>
                      <a:pt x="2858" y="2193"/>
                    </a:lnTo>
                    <a:lnTo>
                      <a:pt x="2850" y="2217"/>
                    </a:lnTo>
                    <a:lnTo>
                      <a:pt x="2848" y="2241"/>
                    </a:lnTo>
                    <a:lnTo>
                      <a:pt x="2850" y="2265"/>
                    </a:lnTo>
                    <a:lnTo>
                      <a:pt x="2857" y="2288"/>
                    </a:lnTo>
                    <a:lnTo>
                      <a:pt x="2869" y="2309"/>
                    </a:lnTo>
                    <a:lnTo>
                      <a:pt x="2885" y="2328"/>
                    </a:lnTo>
                    <a:lnTo>
                      <a:pt x="3115" y="2557"/>
                    </a:lnTo>
                    <a:lnTo>
                      <a:pt x="3134" y="2579"/>
                    </a:lnTo>
                    <a:lnTo>
                      <a:pt x="3148" y="2603"/>
                    </a:lnTo>
                    <a:lnTo>
                      <a:pt x="3159" y="2628"/>
                    </a:lnTo>
                    <a:lnTo>
                      <a:pt x="3165" y="2655"/>
                    </a:lnTo>
                    <a:lnTo>
                      <a:pt x="3168" y="2684"/>
                    </a:lnTo>
                    <a:lnTo>
                      <a:pt x="3165" y="2712"/>
                    </a:lnTo>
                    <a:lnTo>
                      <a:pt x="3159" y="2738"/>
                    </a:lnTo>
                    <a:lnTo>
                      <a:pt x="3148" y="2765"/>
                    </a:lnTo>
                    <a:lnTo>
                      <a:pt x="3134" y="2789"/>
                    </a:lnTo>
                    <a:lnTo>
                      <a:pt x="3115" y="2809"/>
                    </a:lnTo>
                    <a:lnTo>
                      <a:pt x="2822" y="3101"/>
                    </a:lnTo>
                    <a:lnTo>
                      <a:pt x="2798" y="3122"/>
                    </a:lnTo>
                    <a:lnTo>
                      <a:pt x="2770" y="3136"/>
                    </a:lnTo>
                    <a:lnTo>
                      <a:pt x="2742" y="3146"/>
                    </a:lnTo>
                    <a:lnTo>
                      <a:pt x="2711" y="3152"/>
                    </a:lnTo>
                    <a:lnTo>
                      <a:pt x="2680" y="3152"/>
                    </a:lnTo>
                    <a:lnTo>
                      <a:pt x="2649" y="3146"/>
                    </a:lnTo>
                    <a:lnTo>
                      <a:pt x="2620" y="3136"/>
                    </a:lnTo>
                    <a:lnTo>
                      <a:pt x="2593" y="3122"/>
                    </a:lnTo>
                    <a:lnTo>
                      <a:pt x="2568" y="3101"/>
                    </a:lnTo>
                    <a:lnTo>
                      <a:pt x="2339" y="2873"/>
                    </a:lnTo>
                    <a:lnTo>
                      <a:pt x="2319" y="2856"/>
                    </a:lnTo>
                    <a:lnTo>
                      <a:pt x="2298" y="2844"/>
                    </a:lnTo>
                    <a:lnTo>
                      <a:pt x="2275" y="2838"/>
                    </a:lnTo>
                    <a:lnTo>
                      <a:pt x="2251" y="2836"/>
                    </a:lnTo>
                    <a:lnTo>
                      <a:pt x="2227" y="2838"/>
                    </a:lnTo>
                    <a:lnTo>
                      <a:pt x="2202" y="2845"/>
                    </a:lnTo>
                    <a:lnTo>
                      <a:pt x="2179" y="2857"/>
                    </a:lnTo>
                    <a:lnTo>
                      <a:pt x="2161" y="2873"/>
                    </a:lnTo>
                    <a:lnTo>
                      <a:pt x="2145" y="2891"/>
                    </a:lnTo>
                    <a:lnTo>
                      <a:pt x="2134" y="2912"/>
                    </a:lnTo>
                    <a:lnTo>
                      <a:pt x="2128" y="2935"/>
                    </a:lnTo>
                    <a:lnTo>
                      <a:pt x="2126" y="2960"/>
                    </a:lnTo>
                    <a:lnTo>
                      <a:pt x="2126" y="3285"/>
                    </a:lnTo>
                    <a:lnTo>
                      <a:pt x="2122" y="3317"/>
                    </a:lnTo>
                    <a:lnTo>
                      <a:pt x="2114" y="3346"/>
                    </a:lnTo>
                    <a:lnTo>
                      <a:pt x="2100" y="3375"/>
                    </a:lnTo>
                    <a:lnTo>
                      <a:pt x="2083" y="3400"/>
                    </a:lnTo>
                    <a:lnTo>
                      <a:pt x="2062" y="3421"/>
                    </a:lnTo>
                    <a:lnTo>
                      <a:pt x="2037" y="3438"/>
                    </a:lnTo>
                    <a:lnTo>
                      <a:pt x="2008" y="3451"/>
                    </a:lnTo>
                    <a:lnTo>
                      <a:pt x="1979" y="3460"/>
                    </a:lnTo>
                    <a:lnTo>
                      <a:pt x="1947" y="3463"/>
                    </a:lnTo>
                    <a:lnTo>
                      <a:pt x="1532" y="3463"/>
                    </a:lnTo>
                    <a:lnTo>
                      <a:pt x="1499" y="3460"/>
                    </a:lnTo>
                    <a:lnTo>
                      <a:pt x="1469" y="3451"/>
                    </a:lnTo>
                    <a:lnTo>
                      <a:pt x="1441" y="3438"/>
                    </a:lnTo>
                    <a:lnTo>
                      <a:pt x="1416" y="3421"/>
                    </a:lnTo>
                    <a:lnTo>
                      <a:pt x="1394" y="3400"/>
                    </a:lnTo>
                    <a:lnTo>
                      <a:pt x="1377" y="3375"/>
                    </a:lnTo>
                    <a:lnTo>
                      <a:pt x="1364" y="3346"/>
                    </a:lnTo>
                    <a:lnTo>
                      <a:pt x="1355" y="3317"/>
                    </a:lnTo>
                    <a:lnTo>
                      <a:pt x="1353" y="3285"/>
                    </a:lnTo>
                    <a:lnTo>
                      <a:pt x="1353" y="2960"/>
                    </a:lnTo>
                    <a:lnTo>
                      <a:pt x="1350" y="2935"/>
                    </a:lnTo>
                    <a:lnTo>
                      <a:pt x="1343" y="2912"/>
                    </a:lnTo>
                    <a:lnTo>
                      <a:pt x="1332" y="2891"/>
                    </a:lnTo>
                    <a:lnTo>
                      <a:pt x="1316" y="2873"/>
                    </a:lnTo>
                    <a:lnTo>
                      <a:pt x="1298" y="2857"/>
                    </a:lnTo>
                    <a:lnTo>
                      <a:pt x="1276" y="2845"/>
                    </a:lnTo>
                    <a:lnTo>
                      <a:pt x="1251" y="2838"/>
                    </a:lnTo>
                    <a:lnTo>
                      <a:pt x="1226" y="2836"/>
                    </a:lnTo>
                    <a:lnTo>
                      <a:pt x="1203" y="2838"/>
                    </a:lnTo>
                    <a:lnTo>
                      <a:pt x="1180" y="2844"/>
                    </a:lnTo>
                    <a:lnTo>
                      <a:pt x="1158" y="2856"/>
                    </a:lnTo>
                    <a:lnTo>
                      <a:pt x="1139" y="2873"/>
                    </a:lnTo>
                    <a:lnTo>
                      <a:pt x="909" y="3101"/>
                    </a:lnTo>
                    <a:lnTo>
                      <a:pt x="885" y="3122"/>
                    </a:lnTo>
                    <a:lnTo>
                      <a:pt x="858" y="3136"/>
                    </a:lnTo>
                    <a:lnTo>
                      <a:pt x="828" y="3146"/>
                    </a:lnTo>
                    <a:lnTo>
                      <a:pt x="798" y="3152"/>
                    </a:lnTo>
                    <a:lnTo>
                      <a:pt x="766" y="3152"/>
                    </a:lnTo>
                    <a:lnTo>
                      <a:pt x="737" y="3146"/>
                    </a:lnTo>
                    <a:lnTo>
                      <a:pt x="707" y="3136"/>
                    </a:lnTo>
                    <a:lnTo>
                      <a:pt x="680" y="3122"/>
                    </a:lnTo>
                    <a:lnTo>
                      <a:pt x="655" y="3101"/>
                    </a:lnTo>
                    <a:lnTo>
                      <a:pt x="362" y="2809"/>
                    </a:lnTo>
                    <a:lnTo>
                      <a:pt x="344" y="2789"/>
                    </a:lnTo>
                    <a:lnTo>
                      <a:pt x="329" y="2765"/>
                    </a:lnTo>
                    <a:lnTo>
                      <a:pt x="318" y="2738"/>
                    </a:lnTo>
                    <a:lnTo>
                      <a:pt x="312" y="2712"/>
                    </a:lnTo>
                    <a:lnTo>
                      <a:pt x="310" y="2684"/>
                    </a:lnTo>
                    <a:lnTo>
                      <a:pt x="312" y="2655"/>
                    </a:lnTo>
                    <a:lnTo>
                      <a:pt x="318" y="2628"/>
                    </a:lnTo>
                    <a:lnTo>
                      <a:pt x="329" y="2603"/>
                    </a:lnTo>
                    <a:lnTo>
                      <a:pt x="344" y="2579"/>
                    </a:lnTo>
                    <a:lnTo>
                      <a:pt x="362" y="2557"/>
                    </a:lnTo>
                    <a:lnTo>
                      <a:pt x="593" y="2328"/>
                    </a:lnTo>
                    <a:lnTo>
                      <a:pt x="608" y="2309"/>
                    </a:lnTo>
                    <a:lnTo>
                      <a:pt x="620" y="2288"/>
                    </a:lnTo>
                    <a:lnTo>
                      <a:pt x="627" y="2265"/>
                    </a:lnTo>
                    <a:lnTo>
                      <a:pt x="629" y="2241"/>
                    </a:lnTo>
                    <a:lnTo>
                      <a:pt x="627" y="2217"/>
                    </a:lnTo>
                    <a:lnTo>
                      <a:pt x="619" y="2193"/>
                    </a:lnTo>
                    <a:lnTo>
                      <a:pt x="607" y="2170"/>
                    </a:lnTo>
                    <a:lnTo>
                      <a:pt x="592" y="2151"/>
                    </a:lnTo>
                    <a:lnTo>
                      <a:pt x="574" y="2136"/>
                    </a:lnTo>
                    <a:lnTo>
                      <a:pt x="552" y="2125"/>
                    </a:lnTo>
                    <a:lnTo>
                      <a:pt x="529" y="2118"/>
                    </a:lnTo>
                    <a:lnTo>
                      <a:pt x="504" y="2116"/>
                    </a:lnTo>
                    <a:lnTo>
                      <a:pt x="179" y="2116"/>
                    </a:lnTo>
                    <a:lnTo>
                      <a:pt x="146" y="2113"/>
                    </a:lnTo>
                    <a:lnTo>
                      <a:pt x="116" y="2104"/>
                    </a:lnTo>
                    <a:lnTo>
                      <a:pt x="88" y="2091"/>
                    </a:lnTo>
                    <a:lnTo>
                      <a:pt x="64" y="2074"/>
                    </a:lnTo>
                    <a:lnTo>
                      <a:pt x="42" y="2053"/>
                    </a:lnTo>
                    <a:lnTo>
                      <a:pt x="24" y="2028"/>
                    </a:lnTo>
                    <a:lnTo>
                      <a:pt x="11" y="1999"/>
                    </a:lnTo>
                    <a:lnTo>
                      <a:pt x="2" y="1970"/>
                    </a:lnTo>
                    <a:lnTo>
                      <a:pt x="0" y="1938"/>
                    </a:lnTo>
                    <a:lnTo>
                      <a:pt x="0" y="1525"/>
                    </a:lnTo>
                    <a:lnTo>
                      <a:pt x="2" y="1492"/>
                    </a:lnTo>
                    <a:lnTo>
                      <a:pt x="11" y="1462"/>
                    </a:lnTo>
                    <a:lnTo>
                      <a:pt x="24" y="1434"/>
                    </a:lnTo>
                    <a:lnTo>
                      <a:pt x="42" y="1410"/>
                    </a:lnTo>
                    <a:lnTo>
                      <a:pt x="64" y="1388"/>
                    </a:lnTo>
                    <a:lnTo>
                      <a:pt x="88" y="1371"/>
                    </a:lnTo>
                    <a:lnTo>
                      <a:pt x="116" y="1357"/>
                    </a:lnTo>
                    <a:lnTo>
                      <a:pt x="146" y="1349"/>
                    </a:lnTo>
                    <a:lnTo>
                      <a:pt x="179" y="1346"/>
                    </a:lnTo>
                    <a:lnTo>
                      <a:pt x="504" y="1346"/>
                    </a:lnTo>
                    <a:lnTo>
                      <a:pt x="529" y="1344"/>
                    </a:lnTo>
                    <a:lnTo>
                      <a:pt x="553" y="1337"/>
                    </a:lnTo>
                    <a:lnTo>
                      <a:pt x="574" y="1326"/>
                    </a:lnTo>
                    <a:lnTo>
                      <a:pt x="593" y="1310"/>
                    </a:lnTo>
                    <a:lnTo>
                      <a:pt x="608" y="1292"/>
                    </a:lnTo>
                    <a:lnTo>
                      <a:pt x="619" y="1270"/>
                    </a:lnTo>
                    <a:lnTo>
                      <a:pt x="627" y="1245"/>
                    </a:lnTo>
                    <a:lnTo>
                      <a:pt x="629" y="1221"/>
                    </a:lnTo>
                    <a:lnTo>
                      <a:pt x="627" y="1198"/>
                    </a:lnTo>
                    <a:lnTo>
                      <a:pt x="620" y="1175"/>
                    </a:lnTo>
                    <a:lnTo>
                      <a:pt x="608" y="1153"/>
                    </a:lnTo>
                    <a:lnTo>
                      <a:pt x="593" y="1133"/>
                    </a:lnTo>
                    <a:lnTo>
                      <a:pt x="362" y="905"/>
                    </a:lnTo>
                    <a:lnTo>
                      <a:pt x="344" y="883"/>
                    </a:lnTo>
                    <a:lnTo>
                      <a:pt x="329" y="860"/>
                    </a:lnTo>
                    <a:lnTo>
                      <a:pt x="318" y="834"/>
                    </a:lnTo>
                    <a:lnTo>
                      <a:pt x="312" y="806"/>
                    </a:lnTo>
                    <a:lnTo>
                      <a:pt x="310" y="779"/>
                    </a:lnTo>
                    <a:lnTo>
                      <a:pt x="312" y="751"/>
                    </a:lnTo>
                    <a:lnTo>
                      <a:pt x="318" y="723"/>
                    </a:lnTo>
                    <a:lnTo>
                      <a:pt x="329" y="698"/>
                    </a:lnTo>
                    <a:lnTo>
                      <a:pt x="344" y="674"/>
                    </a:lnTo>
                    <a:lnTo>
                      <a:pt x="362" y="652"/>
                    </a:lnTo>
                    <a:lnTo>
                      <a:pt x="655" y="360"/>
                    </a:lnTo>
                    <a:lnTo>
                      <a:pt x="680" y="341"/>
                    </a:lnTo>
                    <a:lnTo>
                      <a:pt x="707" y="325"/>
                    </a:lnTo>
                    <a:lnTo>
                      <a:pt x="737" y="315"/>
                    </a:lnTo>
                    <a:lnTo>
                      <a:pt x="766" y="310"/>
                    </a:lnTo>
                    <a:lnTo>
                      <a:pt x="798" y="310"/>
                    </a:lnTo>
                    <a:lnTo>
                      <a:pt x="828" y="315"/>
                    </a:lnTo>
                    <a:lnTo>
                      <a:pt x="858" y="325"/>
                    </a:lnTo>
                    <a:lnTo>
                      <a:pt x="885" y="341"/>
                    </a:lnTo>
                    <a:lnTo>
                      <a:pt x="909" y="360"/>
                    </a:lnTo>
                    <a:lnTo>
                      <a:pt x="1139" y="590"/>
                    </a:lnTo>
                    <a:lnTo>
                      <a:pt x="1158" y="605"/>
                    </a:lnTo>
                    <a:lnTo>
                      <a:pt x="1180" y="617"/>
                    </a:lnTo>
                    <a:lnTo>
                      <a:pt x="1203" y="624"/>
                    </a:lnTo>
                    <a:lnTo>
                      <a:pt x="1226" y="626"/>
                    </a:lnTo>
                    <a:lnTo>
                      <a:pt x="1251" y="624"/>
                    </a:lnTo>
                    <a:lnTo>
                      <a:pt x="1276" y="616"/>
                    </a:lnTo>
                    <a:lnTo>
                      <a:pt x="1298" y="604"/>
                    </a:lnTo>
                    <a:lnTo>
                      <a:pt x="1316" y="589"/>
                    </a:lnTo>
                    <a:lnTo>
                      <a:pt x="1332" y="571"/>
                    </a:lnTo>
                    <a:lnTo>
                      <a:pt x="1343" y="549"/>
                    </a:lnTo>
                    <a:lnTo>
                      <a:pt x="1350" y="526"/>
                    </a:lnTo>
                    <a:lnTo>
                      <a:pt x="1353" y="501"/>
                    </a:lnTo>
                    <a:lnTo>
                      <a:pt x="1353" y="178"/>
                    </a:lnTo>
                    <a:lnTo>
                      <a:pt x="1355" y="145"/>
                    </a:lnTo>
                    <a:lnTo>
                      <a:pt x="1364" y="115"/>
                    </a:lnTo>
                    <a:lnTo>
                      <a:pt x="1377" y="87"/>
                    </a:lnTo>
                    <a:lnTo>
                      <a:pt x="1394" y="63"/>
                    </a:lnTo>
                    <a:lnTo>
                      <a:pt x="1416" y="41"/>
                    </a:lnTo>
                    <a:lnTo>
                      <a:pt x="1441" y="24"/>
                    </a:lnTo>
                    <a:lnTo>
                      <a:pt x="1469" y="10"/>
                    </a:lnTo>
                    <a:lnTo>
                      <a:pt x="1499" y="2"/>
                    </a:lnTo>
                    <a:lnTo>
                      <a:pt x="1532" y="0"/>
                    </a:lnTo>
                    <a:close/>
                  </a:path>
                </a:pathLst>
              </a:custGeom>
              <a:solidFill>
                <a:srgbClr val="686C8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233" name="Freeform 334">
                <a:extLst>
                  <a:ext uri="{FF2B5EF4-FFF2-40B4-BE49-F238E27FC236}">
                    <a16:creationId xmlns:a16="http://schemas.microsoft.com/office/drawing/2014/main" id="{C22AC6A0-F3FA-0F00-C30A-27C91ED332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82404" y="3705078"/>
                <a:ext cx="168275" cy="166688"/>
              </a:xfrm>
              <a:custGeom>
                <a:avLst/>
                <a:gdLst>
                  <a:gd name="T0" fmla="*/ 527 w 1160"/>
                  <a:gd name="T1" fmla="*/ 131 h 1155"/>
                  <a:gd name="T2" fmla="*/ 428 w 1160"/>
                  <a:gd name="T3" fmla="*/ 154 h 1155"/>
                  <a:gd name="T4" fmla="*/ 339 w 1160"/>
                  <a:gd name="T5" fmla="*/ 198 h 1155"/>
                  <a:gd name="T6" fmla="*/ 261 w 1160"/>
                  <a:gd name="T7" fmla="*/ 259 h 1155"/>
                  <a:gd name="T8" fmla="*/ 199 w 1160"/>
                  <a:gd name="T9" fmla="*/ 337 h 1155"/>
                  <a:gd name="T10" fmla="*/ 155 w 1160"/>
                  <a:gd name="T11" fmla="*/ 425 h 1155"/>
                  <a:gd name="T12" fmla="*/ 132 w 1160"/>
                  <a:gd name="T13" fmla="*/ 525 h 1155"/>
                  <a:gd name="T14" fmla="*/ 132 w 1160"/>
                  <a:gd name="T15" fmla="*/ 630 h 1155"/>
                  <a:gd name="T16" fmla="*/ 155 w 1160"/>
                  <a:gd name="T17" fmla="*/ 728 h 1155"/>
                  <a:gd name="T18" fmla="*/ 199 w 1160"/>
                  <a:gd name="T19" fmla="*/ 818 h 1155"/>
                  <a:gd name="T20" fmla="*/ 261 w 1160"/>
                  <a:gd name="T21" fmla="*/ 894 h 1155"/>
                  <a:gd name="T22" fmla="*/ 339 w 1160"/>
                  <a:gd name="T23" fmla="*/ 956 h 1155"/>
                  <a:gd name="T24" fmla="*/ 428 w 1160"/>
                  <a:gd name="T25" fmla="*/ 999 h 1155"/>
                  <a:gd name="T26" fmla="*/ 527 w 1160"/>
                  <a:gd name="T27" fmla="*/ 1022 h 1155"/>
                  <a:gd name="T28" fmla="*/ 633 w 1160"/>
                  <a:gd name="T29" fmla="*/ 1022 h 1155"/>
                  <a:gd name="T30" fmla="*/ 732 w 1160"/>
                  <a:gd name="T31" fmla="*/ 999 h 1155"/>
                  <a:gd name="T32" fmla="*/ 822 w 1160"/>
                  <a:gd name="T33" fmla="*/ 956 h 1155"/>
                  <a:gd name="T34" fmla="*/ 899 w 1160"/>
                  <a:gd name="T35" fmla="*/ 894 h 1155"/>
                  <a:gd name="T36" fmla="*/ 960 w 1160"/>
                  <a:gd name="T37" fmla="*/ 818 h 1155"/>
                  <a:gd name="T38" fmla="*/ 1004 w 1160"/>
                  <a:gd name="T39" fmla="*/ 728 h 1155"/>
                  <a:gd name="T40" fmla="*/ 1027 w 1160"/>
                  <a:gd name="T41" fmla="*/ 630 h 1155"/>
                  <a:gd name="T42" fmla="*/ 1027 w 1160"/>
                  <a:gd name="T43" fmla="*/ 525 h 1155"/>
                  <a:gd name="T44" fmla="*/ 1004 w 1160"/>
                  <a:gd name="T45" fmla="*/ 425 h 1155"/>
                  <a:gd name="T46" fmla="*/ 960 w 1160"/>
                  <a:gd name="T47" fmla="*/ 337 h 1155"/>
                  <a:gd name="T48" fmla="*/ 899 w 1160"/>
                  <a:gd name="T49" fmla="*/ 259 h 1155"/>
                  <a:gd name="T50" fmla="*/ 822 w 1160"/>
                  <a:gd name="T51" fmla="*/ 198 h 1155"/>
                  <a:gd name="T52" fmla="*/ 732 w 1160"/>
                  <a:gd name="T53" fmla="*/ 154 h 1155"/>
                  <a:gd name="T54" fmla="*/ 633 w 1160"/>
                  <a:gd name="T55" fmla="*/ 131 h 1155"/>
                  <a:gd name="T56" fmla="*/ 580 w 1160"/>
                  <a:gd name="T57" fmla="*/ 0 h 1155"/>
                  <a:gd name="T58" fmla="*/ 704 w 1160"/>
                  <a:gd name="T59" fmla="*/ 13 h 1155"/>
                  <a:gd name="T60" fmla="*/ 820 w 1160"/>
                  <a:gd name="T61" fmla="*/ 51 h 1155"/>
                  <a:gd name="T62" fmla="*/ 922 w 1160"/>
                  <a:gd name="T63" fmla="*/ 112 h 1155"/>
                  <a:gd name="T64" fmla="*/ 1011 w 1160"/>
                  <a:gd name="T65" fmla="*/ 190 h 1155"/>
                  <a:gd name="T66" fmla="*/ 1081 w 1160"/>
                  <a:gd name="T67" fmla="*/ 285 h 1155"/>
                  <a:gd name="T68" fmla="*/ 1130 w 1160"/>
                  <a:gd name="T69" fmla="*/ 395 h 1155"/>
                  <a:gd name="T70" fmla="*/ 1157 w 1160"/>
                  <a:gd name="T71" fmla="*/ 514 h 1155"/>
                  <a:gd name="T72" fmla="*/ 1157 w 1160"/>
                  <a:gd name="T73" fmla="*/ 640 h 1155"/>
                  <a:gd name="T74" fmla="*/ 1130 w 1160"/>
                  <a:gd name="T75" fmla="*/ 759 h 1155"/>
                  <a:gd name="T76" fmla="*/ 1081 w 1160"/>
                  <a:gd name="T77" fmla="*/ 868 h 1155"/>
                  <a:gd name="T78" fmla="*/ 1011 w 1160"/>
                  <a:gd name="T79" fmla="*/ 963 h 1155"/>
                  <a:gd name="T80" fmla="*/ 922 w 1160"/>
                  <a:gd name="T81" fmla="*/ 1043 h 1155"/>
                  <a:gd name="T82" fmla="*/ 820 w 1160"/>
                  <a:gd name="T83" fmla="*/ 1103 h 1155"/>
                  <a:gd name="T84" fmla="*/ 704 w 1160"/>
                  <a:gd name="T85" fmla="*/ 1142 h 1155"/>
                  <a:gd name="T86" fmla="*/ 580 w 1160"/>
                  <a:gd name="T87" fmla="*/ 1155 h 1155"/>
                  <a:gd name="T88" fmla="*/ 456 w 1160"/>
                  <a:gd name="T89" fmla="*/ 1142 h 1155"/>
                  <a:gd name="T90" fmla="*/ 341 w 1160"/>
                  <a:gd name="T91" fmla="*/ 1103 h 1155"/>
                  <a:gd name="T92" fmla="*/ 238 w 1160"/>
                  <a:gd name="T93" fmla="*/ 1043 h 1155"/>
                  <a:gd name="T94" fmla="*/ 150 w 1160"/>
                  <a:gd name="T95" fmla="*/ 963 h 1155"/>
                  <a:gd name="T96" fmla="*/ 79 w 1160"/>
                  <a:gd name="T97" fmla="*/ 868 h 1155"/>
                  <a:gd name="T98" fmla="*/ 29 w 1160"/>
                  <a:gd name="T99" fmla="*/ 759 h 1155"/>
                  <a:gd name="T100" fmla="*/ 4 w 1160"/>
                  <a:gd name="T101" fmla="*/ 640 h 1155"/>
                  <a:gd name="T102" fmla="*/ 4 w 1160"/>
                  <a:gd name="T103" fmla="*/ 514 h 1155"/>
                  <a:gd name="T104" fmla="*/ 29 w 1160"/>
                  <a:gd name="T105" fmla="*/ 395 h 1155"/>
                  <a:gd name="T106" fmla="*/ 79 w 1160"/>
                  <a:gd name="T107" fmla="*/ 285 h 1155"/>
                  <a:gd name="T108" fmla="*/ 150 w 1160"/>
                  <a:gd name="T109" fmla="*/ 190 h 1155"/>
                  <a:gd name="T110" fmla="*/ 238 w 1160"/>
                  <a:gd name="T111" fmla="*/ 112 h 1155"/>
                  <a:gd name="T112" fmla="*/ 341 w 1160"/>
                  <a:gd name="T113" fmla="*/ 51 h 1155"/>
                  <a:gd name="T114" fmla="*/ 456 w 1160"/>
                  <a:gd name="T115" fmla="*/ 13 h 1155"/>
                  <a:gd name="T116" fmla="*/ 580 w 1160"/>
                  <a:gd name="T117" fmla="*/ 0 h 1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160" h="1155">
                    <a:moveTo>
                      <a:pt x="580" y="128"/>
                    </a:moveTo>
                    <a:lnTo>
                      <a:pt x="527" y="131"/>
                    </a:lnTo>
                    <a:lnTo>
                      <a:pt x="477" y="140"/>
                    </a:lnTo>
                    <a:lnTo>
                      <a:pt x="428" y="154"/>
                    </a:lnTo>
                    <a:lnTo>
                      <a:pt x="381" y="174"/>
                    </a:lnTo>
                    <a:lnTo>
                      <a:pt x="339" y="198"/>
                    </a:lnTo>
                    <a:lnTo>
                      <a:pt x="298" y="226"/>
                    </a:lnTo>
                    <a:lnTo>
                      <a:pt x="261" y="259"/>
                    </a:lnTo>
                    <a:lnTo>
                      <a:pt x="228" y="296"/>
                    </a:lnTo>
                    <a:lnTo>
                      <a:pt x="199" y="337"/>
                    </a:lnTo>
                    <a:lnTo>
                      <a:pt x="175" y="379"/>
                    </a:lnTo>
                    <a:lnTo>
                      <a:pt x="155" y="425"/>
                    </a:lnTo>
                    <a:lnTo>
                      <a:pt x="141" y="475"/>
                    </a:lnTo>
                    <a:lnTo>
                      <a:pt x="132" y="525"/>
                    </a:lnTo>
                    <a:lnTo>
                      <a:pt x="129" y="577"/>
                    </a:lnTo>
                    <a:lnTo>
                      <a:pt x="132" y="630"/>
                    </a:lnTo>
                    <a:lnTo>
                      <a:pt x="141" y="680"/>
                    </a:lnTo>
                    <a:lnTo>
                      <a:pt x="155" y="728"/>
                    </a:lnTo>
                    <a:lnTo>
                      <a:pt x="175" y="774"/>
                    </a:lnTo>
                    <a:lnTo>
                      <a:pt x="199" y="818"/>
                    </a:lnTo>
                    <a:lnTo>
                      <a:pt x="228" y="857"/>
                    </a:lnTo>
                    <a:lnTo>
                      <a:pt x="261" y="894"/>
                    </a:lnTo>
                    <a:lnTo>
                      <a:pt x="298" y="927"/>
                    </a:lnTo>
                    <a:lnTo>
                      <a:pt x="339" y="956"/>
                    </a:lnTo>
                    <a:lnTo>
                      <a:pt x="381" y="980"/>
                    </a:lnTo>
                    <a:lnTo>
                      <a:pt x="428" y="999"/>
                    </a:lnTo>
                    <a:lnTo>
                      <a:pt x="477" y="1014"/>
                    </a:lnTo>
                    <a:lnTo>
                      <a:pt x="527" y="1022"/>
                    </a:lnTo>
                    <a:lnTo>
                      <a:pt x="580" y="1026"/>
                    </a:lnTo>
                    <a:lnTo>
                      <a:pt x="633" y="1022"/>
                    </a:lnTo>
                    <a:lnTo>
                      <a:pt x="683" y="1014"/>
                    </a:lnTo>
                    <a:lnTo>
                      <a:pt x="732" y="999"/>
                    </a:lnTo>
                    <a:lnTo>
                      <a:pt x="778" y="980"/>
                    </a:lnTo>
                    <a:lnTo>
                      <a:pt x="822" y="956"/>
                    </a:lnTo>
                    <a:lnTo>
                      <a:pt x="861" y="927"/>
                    </a:lnTo>
                    <a:lnTo>
                      <a:pt x="899" y="894"/>
                    </a:lnTo>
                    <a:lnTo>
                      <a:pt x="932" y="857"/>
                    </a:lnTo>
                    <a:lnTo>
                      <a:pt x="960" y="818"/>
                    </a:lnTo>
                    <a:lnTo>
                      <a:pt x="984" y="774"/>
                    </a:lnTo>
                    <a:lnTo>
                      <a:pt x="1004" y="728"/>
                    </a:lnTo>
                    <a:lnTo>
                      <a:pt x="1018" y="680"/>
                    </a:lnTo>
                    <a:lnTo>
                      <a:pt x="1027" y="630"/>
                    </a:lnTo>
                    <a:lnTo>
                      <a:pt x="1030" y="577"/>
                    </a:lnTo>
                    <a:lnTo>
                      <a:pt x="1027" y="525"/>
                    </a:lnTo>
                    <a:lnTo>
                      <a:pt x="1018" y="475"/>
                    </a:lnTo>
                    <a:lnTo>
                      <a:pt x="1004" y="425"/>
                    </a:lnTo>
                    <a:lnTo>
                      <a:pt x="984" y="379"/>
                    </a:lnTo>
                    <a:lnTo>
                      <a:pt x="960" y="337"/>
                    </a:lnTo>
                    <a:lnTo>
                      <a:pt x="932" y="296"/>
                    </a:lnTo>
                    <a:lnTo>
                      <a:pt x="899" y="259"/>
                    </a:lnTo>
                    <a:lnTo>
                      <a:pt x="861" y="226"/>
                    </a:lnTo>
                    <a:lnTo>
                      <a:pt x="822" y="198"/>
                    </a:lnTo>
                    <a:lnTo>
                      <a:pt x="778" y="174"/>
                    </a:lnTo>
                    <a:lnTo>
                      <a:pt x="732" y="154"/>
                    </a:lnTo>
                    <a:lnTo>
                      <a:pt x="683" y="140"/>
                    </a:lnTo>
                    <a:lnTo>
                      <a:pt x="633" y="131"/>
                    </a:lnTo>
                    <a:lnTo>
                      <a:pt x="580" y="128"/>
                    </a:lnTo>
                    <a:close/>
                    <a:moveTo>
                      <a:pt x="580" y="0"/>
                    </a:moveTo>
                    <a:lnTo>
                      <a:pt x="643" y="3"/>
                    </a:lnTo>
                    <a:lnTo>
                      <a:pt x="704" y="13"/>
                    </a:lnTo>
                    <a:lnTo>
                      <a:pt x="762" y="28"/>
                    </a:lnTo>
                    <a:lnTo>
                      <a:pt x="820" y="51"/>
                    </a:lnTo>
                    <a:lnTo>
                      <a:pt x="872" y="79"/>
                    </a:lnTo>
                    <a:lnTo>
                      <a:pt x="922" y="112"/>
                    </a:lnTo>
                    <a:lnTo>
                      <a:pt x="968" y="149"/>
                    </a:lnTo>
                    <a:lnTo>
                      <a:pt x="1011" y="190"/>
                    </a:lnTo>
                    <a:lnTo>
                      <a:pt x="1048" y="236"/>
                    </a:lnTo>
                    <a:lnTo>
                      <a:pt x="1081" y="285"/>
                    </a:lnTo>
                    <a:lnTo>
                      <a:pt x="1108" y="339"/>
                    </a:lnTo>
                    <a:lnTo>
                      <a:pt x="1130" y="395"/>
                    </a:lnTo>
                    <a:lnTo>
                      <a:pt x="1147" y="454"/>
                    </a:lnTo>
                    <a:lnTo>
                      <a:pt x="1157" y="514"/>
                    </a:lnTo>
                    <a:lnTo>
                      <a:pt x="1160" y="577"/>
                    </a:lnTo>
                    <a:lnTo>
                      <a:pt x="1157" y="640"/>
                    </a:lnTo>
                    <a:lnTo>
                      <a:pt x="1147" y="701"/>
                    </a:lnTo>
                    <a:lnTo>
                      <a:pt x="1130" y="759"/>
                    </a:lnTo>
                    <a:lnTo>
                      <a:pt x="1108" y="816"/>
                    </a:lnTo>
                    <a:lnTo>
                      <a:pt x="1081" y="868"/>
                    </a:lnTo>
                    <a:lnTo>
                      <a:pt x="1048" y="917"/>
                    </a:lnTo>
                    <a:lnTo>
                      <a:pt x="1011" y="963"/>
                    </a:lnTo>
                    <a:lnTo>
                      <a:pt x="968" y="1006"/>
                    </a:lnTo>
                    <a:lnTo>
                      <a:pt x="922" y="1043"/>
                    </a:lnTo>
                    <a:lnTo>
                      <a:pt x="872" y="1076"/>
                    </a:lnTo>
                    <a:lnTo>
                      <a:pt x="820" y="1103"/>
                    </a:lnTo>
                    <a:lnTo>
                      <a:pt x="762" y="1125"/>
                    </a:lnTo>
                    <a:lnTo>
                      <a:pt x="704" y="1142"/>
                    </a:lnTo>
                    <a:lnTo>
                      <a:pt x="643" y="1151"/>
                    </a:lnTo>
                    <a:lnTo>
                      <a:pt x="580" y="1155"/>
                    </a:lnTo>
                    <a:lnTo>
                      <a:pt x="516" y="1151"/>
                    </a:lnTo>
                    <a:lnTo>
                      <a:pt x="456" y="1142"/>
                    </a:lnTo>
                    <a:lnTo>
                      <a:pt x="397" y="1125"/>
                    </a:lnTo>
                    <a:lnTo>
                      <a:pt x="341" y="1103"/>
                    </a:lnTo>
                    <a:lnTo>
                      <a:pt x="287" y="1076"/>
                    </a:lnTo>
                    <a:lnTo>
                      <a:pt x="238" y="1043"/>
                    </a:lnTo>
                    <a:lnTo>
                      <a:pt x="191" y="1006"/>
                    </a:lnTo>
                    <a:lnTo>
                      <a:pt x="150" y="963"/>
                    </a:lnTo>
                    <a:lnTo>
                      <a:pt x="112" y="917"/>
                    </a:lnTo>
                    <a:lnTo>
                      <a:pt x="79" y="868"/>
                    </a:lnTo>
                    <a:lnTo>
                      <a:pt x="52" y="816"/>
                    </a:lnTo>
                    <a:lnTo>
                      <a:pt x="29" y="759"/>
                    </a:lnTo>
                    <a:lnTo>
                      <a:pt x="14" y="701"/>
                    </a:lnTo>
                    <a:lnTo>
                      <a:pt x="4" y="640"/>
                    </a:lnTo>
                    <a:lnTo>
                      <a:pt x="0" y="577"/>
                    </a:lnTo>
                    <a:lnTo>
                      <a:pt x="4" y="514"/>
                    </a:lnTo>
                    <a:lnTo>
                      <a:pt x="14" y="454"/>
                    </a:lnTo>
                    <a:lnTo>
                      <a:pt x="29" y="395"/>
                    </a:lnTo>
                    <a:lnTo>
                      <a:pt x="52" y="339"/>
                    </a:lnTo>
                    <a:lnTo>
                      <a:pt x="79" y="285"/>
                    </a:lnTo>
                    <a:lnTo>
                      <a:pt x="112" y="236"/>
                    </a:lnTo>
                    <a:lnTo>
                      <a:pt x="150" y="190"/>
                    </a:lnTo>
                    <a:lnTo>
                      <a:pt x="191" y="149"/>
                    </a:lnTo>
                    <a:lnTo>
                      <a:pt x="238" y="112"/>
                    </a:lnTo>
                    <a:lnTo>
                      <a:pt x="287" y="79"/>
                    </a:lnTo>
                    <a:lnTo>
                      <a:pt x="341" y="51"/>
                    </a:lnTo>
                    <a:lnTo>
                      <a:pt x="397" y="28"/>
                    </a:lnTo>
                    <a:lnTo>
                      <a:pt x="456" y="13"/>
                    </a:lnTo>
                    <a:lnTo>
                      <a:pt x="516" y="3"/>
                    </a:lnTo>
                    <a:lnTo>
                      <a:pt x="580" y="0"/>
                    </a:lnTo>
                    <a:close/>
                  </a:path>
                </a:pathLst>
              </a:custGeom>
              <a:solidFill>
                <a:srgbClr val="686C8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999120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4119679-DA75-5588-771F-C87491A50D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7776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119679-DA75-5588-771F-C87491A50D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F0B94B2-BE2B-DF78-C4E2-FF57B0702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IN" dirty="0" err="1">
                <a:latin typeface="Montserrat SemiBold"/>
              </a:rPr>
              <a:t>Polarion</a:t>
            </a:r>
            <a:r>
              <a:rPr lang="en-US" dirty="0">
                <a:latin typeface="Montserrat SemiBold"/>
              </a:rPr>
              <a:t> Integration With Other Applications</a:t>
            </a:r>
            <a:endParaRPr lang="en-IN" dirty="0">
              <a:solidFill>
                <a:srgbClr val="000000"/>
              </a:solidFill>
              <a:latin typeface="Montserrat SemiBold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CB6F4CD-ACFB-34D9-15AC-60D1F56354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1439063"/>
              </p:ext>
            </p:extLst>
          </p:nvPr>
        </p:nvGraphicFramePr>
        <p:xfrm>
          <a:off x="838199" y="1164700"/>
          <a:ext cx="10621048" cy="54705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55262">
                  <a:extLst>
                    <a:ext uri="{9D8B030D-6E8A-4147-A177-3AD203B41FA5}">
                      <a16:colId xmlns:a16="http://schemas.microsoft.com/office/drawing/2014/main" val="1360135161"/>
                    </a:ext>
                  </a:extLst>
                </a:gridCol>
                <a:gridCol w="2655262">
                  <a:extLst>
                    <a:ext uri="{9D8B030D-6E8A-4147-A177-3AD203B41FA5}">
                      <a16:colId xmlns:a16="http://schemas.microsoft.com/office/drawing/2014/main" val="3712296157"/>
                    </a:ext>
                  </a:extLst>
                </a:gridCol>
                <a:gridCol w="2655262">
                  <a:extLst>
                    <a:ext uri="{9D8B030D-6E8A-4147-A177-3AD203B41FA5}">
                      <a16:colId xmlns:a16="http://schemas.microsoft.com/office/drawing/2014/main" val="822597171"/>
                    </a:ext>
                  </a:extLst>
                </a:gridCol>
                <a:gridCol w="2655262">
                  <a:extLst>
                    <a:ext uri="{9D8B030D-6E8A-4147-A177-3AD203B41FA5}">
                      <a16:colId xmlns:a16="http://schemas.microsoft.com/office/drawing/2014/main" val="1262157629"/>
                    </a:ext>
                  </a:extLst>
                </a:gridCol>
              </a:tblGrid>
              <a:tr h="471816">
                <a:tc>
                  <a:txBody>
                    <a:bodyPr/>
                    <a:lstStyle/>
                    <a:p>
                      <a:r>
                        <a:rPr lang="de-DE" dirty="0"/>
                        <a:t>Polarion with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Effective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dditional Effor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Challeng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8389423"/>
                  </a:ext>
                </a:extLst>
              </a:tr>
              <a:tr h="471816">
                <a:tc>
                  <a:txBody>
                    <a:bodyPr/>
                    <a:lstStyle/>
                    <a:p>
                      <a:r>
                        <a:rPr lang="de-DE" sz="1400" dirty="0"/>
                        <a:t>JIRA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Works well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Customisation for workflow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/>
                        <a:t>Minor Sync delay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3341613"/>
                  </a:ext>
                </a:extLst>
              </a:tr>
              <a:tr h="471816">
                <a:tc>
                  <a:txBody>
                    <a:bodyPr/>
                    <a:lstStyle/>
                    <a:p>
                      <a:r>
                        <a:rPr lang="de-DE" sz="1400" dirty="0"/>
                        <a:t>Teamcenter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Requires additional effort to make effective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Custom development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/>
                        <a:t>Data mapping issue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0894108"/>
                  </a:ext>
                </a:extLst>
              </a:tr>
              <a:tr h="471816">
                <a:tc>
                  <a:txBody>
                    <a:bodyPr/>
                    <a:lstStyle/>
                    <a:p>
                      <a:r>
                        <a:rPr lang="de-DE" sz="1400" dirty="0"/>
                        <a:t>CATIA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Generally effective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Custom scripts for automation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/>
                        <a:t>Setup is complex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387490"/>
                  </a:ext>
                </a:extLst>
              </a:tr>
              <a:tr h="471816">
                <a:tc>
                  <a:txBody>
                    <a:bodyPr/>
                    <a:lstStyle/>
                    <a:p>
                      <a:r>
                        <a:rPr lang="de-DE" sz="1400" dirty="0"/>
                        <a:t>Windchill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/>
                        <a:t>Works well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Customisation for syncing needed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/>
                        <a:t>Change management is complex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679156"/>
                  </a:ext>
                </a:extLst>
              </a:tr>
              <a:tr h="471816">
                <a:tc>
                  <a:txBody>
                    <a:bodyPr/>
                    <a:lstStyle/>
                    <a:p>
                      <a:r>
                        <a:rPr lang="de-DE" sz="1400" dirty="0"/>
                        <a:t>ERP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Significant effort required to set up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Extensive customisation required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/>
                        <a:t>Integration complexity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2341458"/>
                  </a:ext>
                </a:extLst>
              </a:tr>
              <a:tr h="471816">
                <a:tc>
                  <a:txBody>
                    <a:bodyPr/>
                    <a:lstStyle/>
                    <a:p>
                      <a:r>
                        <a:rPr lang="de-DE" sz="1400" dirty="0"/>
                        <a:t>MATLAB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Traceability and good in collaboration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Custom API needs to be developed and maintained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Compatibility issues, data security concerns and ongoing maintenance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8798097"/>
                  </a:ext>
                </a:extLst>
              </a:tr>
              <a:tr h="47181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400"/>
                        <a:t>NX</a:t>
                      </a:r>
                      <a:endParaRPr lang="de-DE" sz="14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400" b="0" i="0" u="none" strike="noStrike" noProof="0">
                          <a:latin typeface="Montserrat Medium"/>
                        </a:rPr>
                        <a:t>Traceability, collaboration, and improving product development efficiency</a:t>
                      </a:r>
                      <a:endParaRPr lang="en-US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400" b="0" i="0" u="none" strike="noStrike" noProof="0">
                          <a:solidFill>
                            <a:srgbClr val="063853"/>
                          </a:solidFill>
                          <a:latin typeface="Montserrat Medium"/>
                        </a:rPr>
                        <a:t>Customisation for syncing needed</a:t>
                      </a:r>
                      <a:endParaRPr lang="en-US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400" b="0" i="0" u="none" strike="noStrike" noProof="0" dirty="0">
                          <a:latin typeface="Montserrat Medium"/>
                        </a:rPr>
                        <a:t>Complexity of data mapping, ensuring API </a:t>
                      </a:r>
                      <a:r>
                        <a:rPr lang="de-DE" sz="1400" b="0" i="0" u="none" strike="noStrike" noProof="0">
                          <a:latin typeface="Montserrat Medium"/>
                        </a:rPr>
                        <a:t>compatibility, managing </a:t>
                      </a:r>
                      <a:r>
                        <a:rPr lang="de-DE" sz="1400" b="0" i="0" u="none" strike="noStrike" noProof="0" dirty="0">
                          <a:latin typeface="Montserrat Medium"/>
                        </a:rPr>
                        <a:t>real-time synchronization</a:t>
                      </a:r>
                      <a:endParaRPr lang="en-US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5659648"/>
                  </a:ext>
                </a:extLst>
              </a:tr>
              <a:tr h="47181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400"/>
                        <a:t>3DX</a:t>
                      </a:r>
                      <a:endParaRPr lang="de-DE" sz="14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400" b="0" i="0" u="none" strike="noStrike" noProof="0">
                          <a:solidFill>
                            <a:srgbClr val="063853"/>
                          </a:solidFill>
                          <a:latin typeface="Montserrat Medium"/>
                        </a:rPr>
                        <a:t>Traceability, collaboration, and improving product development efficiency</a:t>
                      </a:r>
                      <a:endParaRPr lang="en-US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400" b="0" i="0" u="none" strike="noStrike" noProof="0">
                          <a:latin typeface="Montserrat Medium"/>
                        </a:rPr>
                        <a:t>Custom development, API integration, data mapping</a:t>
                      </a:r>
                      <a:endParaRPr lang="en-US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400" b="0" i="0" u="none" strike="noStrike" noProof="0">
                          <a:latin typeface="Montserrat Medium"/>
                        </a:rPr>
                        <a:t>Data model differences, system compatibility, real-time data synchronization</a:t>
                      </a:r>
                      <a:endParaRPr lang="en-US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896836"/>
                  </a:ext>
                </a:extLst>
              </a:tr>
            </a:tbl>
          </a:graphicData>
        </a:graphic>
      </p:graphicFrame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2F9F775-A0A6-19EC-AE3B-C20DD621A0FD}"/>
              </a:ext>
            </a:extLst>
          </p:cNvPr>
          <p:cNvSpPr/>
          <p:nvPr/>
        </p:nvSpPr>
        <p:spPr>
          <a:xfrm>
            <a:off x="9528685" y="83067"/>
            <a:ext cx="2283513" cy="1293246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b="1" dirty="0"/>
              <a:t>INTERNAL USE ONLY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63E3730-C1BA-F5FD-8838-CF3508D04B18}"/>
              </a:ext>
            </a:extLst>
          </p:cNvPr>
          <p:cNvSpPr/>
          <p:nvPr/>
        </p:nvSpPr>
        <p:spPr>
          <a:xfrm>
            <a:off x="409365" y="6862210"/>
            <a:ext cx="2283513" cy="1293246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b="1" dirty="0" err="1"/>
              <a:t>Warum</a:t>
            </a:r>
            <a:r>
              <a:rPr lang="en-IN" sz="1200" b="1" dirty="0"/>
              <a:t> windchill / </a:t>
            </a:r>
            <a:r>
              <a:rPr lang="en-IN" sz="1200" b="1" dirty="0" err="1"/>
              <a:t>polarion</a:t>
            </a:r>
            <a:r>
              <a:rPr lang="en-IN" sz="1200" b="1" dirty="0"/>
              <a:t> </a:t>
            </a:r>
            <a:r>
              <a:rPr lang="en-IN" sz="1200" b="1" dirty="0" err="1"/>
              <a:t>funktioniert</a:t>
            </a:r>
            <a:r>
              <a:rPr lang="en-IN" sz="1200" b="1" dirty="0"/>
              <a:t>?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4A23606-689A-1AC5-310D-E433AE9F961B}"/>
              </a:ext>
            </a:extLst>
          </p:cNvPr>
          <p:cNvSpPr/>
          <p:nvPr/>
        </p:nvSpPr>
        <p:spPr>
          <a:xfrm>
            <a:off x="3150117" y="6862210"/>
            <a:ext cx="2283513" cy="1293246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b="1" dirty="0"/>
              <a:t>OSRC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E028AB6-21B0-69D3-81BB-4919E13768C3}"/>
              </a:ext>
            </a:extLst>
          </p:cNvPr>
          <p:cNvSpPr txBox="1"/>
          <p:nvPr/>
        </p:nvSpPr>
        <p:spPr>
          <a:xfrm>
            <a:off x="5705677" y="6690178"/>
            <a:ext cx="609442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im deck: optionale folien, die sich z.B. code beamer / teamcenter / polarion etc. ziehe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174C25-3A1E-7DB5-0C20-ECB2717C021B}"/>
              </a:ext>
            </a:extLst>
          </p:cNvPr>
          <p:cNvSpPr txBox="1"/>
          <p:nvPr/>
        </p:nvSpPr>
        <p:spPr>
          <a:xfrm>
            <a:off x="5705677" y="7244380"/>
            <a:ext cx="609442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1-2 slides vom combined offering! / closed loop thema, handshake kuck mal prozess und org versändnis // und umsetzungs </a:t>
            </a:r>
          </a:p>
        </p:txBody>
      </p:sp>
    </p:spTree>
    <p:extLst>
      <p:ext uri="{BB962C8B-B14F-4D97-AF65-F5344CB8AC3E}">
        <p14:creationId xmlns:p14="http://schemas.microsoft.com/office/powerpoint/2010/main" val="31428473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19C2F52-0AEE-B06E-62F1-EFC99DE0A6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19C2F52-0AEE-B06E-62F1-EFC99DE0A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15AC7FB2-40D1-4377-9F65-28AF70FB53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>
                <a:latin typeface="Montserrat SemiBold"/>
              </a:rPr>
              <a:t>Comparison Codebeamer and</a:t>
            </a:r>
            <a:r>
              <a:rPr lang="en-US" sz="2800" b="1">
                <a:latin typeface="Montserrat SemiBold"/>
              </a:rPr>
              <a:t> </a:t>
            </a:r>
            <a:r>
              <a:rPr lang="en-US" b="1">
                <a:latin typeface="Montserrat SemiBold"/>
              </a:rPr>
              <a:t>Polarion</a:t>
            </a:r>
            <a:endParaRPr lang="en-US">
              <a:latin typeface="Montserrat SemiBold"/>
            </a:endParaRPr>
          </a:p>
        </p:txBody>
      </p:sp>
      <p:graphicFrame>
        <p:nvGraphicFramePr>
          <p:cNvPr id="7" name="Tabelle 3">
            <a:extLst>
              <a:ext uri="{FF2B5EF4-FFF2-40B4-BE49-F238E27FC236}">
                <a16:creationId xmlns:a16="http://schemas.microsoft.com/office/drawing/2014/main" id="{2F8BF3CE-68BE-51AE-8D1A-3A894137E1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1969916"/>
              </p:ext>
            </p:extLst>
          </p:nvPr>
        </p:nvGraphicFramePr>
        <p:xfrm>
          <a:off x="511342" y="1153026"/>
          <a:ext cx="11222188" cy="57069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8918">
                  <a:extLst>
                    <a:ext uri="{9D8B030D-6E8A-4147-A177-3AD203B41FA5}">
                      <a16:colId xmlns:a16="http://schemas.microsoft.com/office/drawing/2014/main" val="1662723419"/>
                    </a:ext>
                  </a:extLst>
                </a:gridCol>
                <a:gridCol w="4531635">
                  <a:extLst>
                    <a:ext uri="{9D8B030D-6E8A-4147-A177-3AD203B41FA5}">
                      <a16:colId xmlns:a16="http://schemas.microsoft.com/office/drawing/2014/main" val="1987853307"/>
                    </a:ext>
                  </a:extLst>
                </a:gridCol>
                <a:gridCol w="4531635">
                  <a:extLst>
                    <a:ext uri="{9D8B030D-6E8A-4147-A177-3AD203B41FA5}">
                      <a16:colId xmlns:a16="http://schemas.microsoft.com/office/drawing/2014/main" val="3966629566"/>
                    </a:ext>
                  </a:extLst>
                </a:gridCol>
              </a:tblGrid>
              <a:tr h="557566">
                <a:tc>
                  <a:txBody>
                    <a:bodyPr/>
                    <a:lstStyle/>
                    <a:p>
                      <a:r>
                        <a:rPr lang="en-US" sz="1800" dirty="0"/>
                        <a:t>Feature</a:t>
                      </a:r>
                    </a:p>
                  </a:txBody>
                  <a:tcPr anchor="ctr">
                    <a:solidFill>
                      <a:srgbClr val="5B8FC2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800" b="1" i="0" u="none" strike="noStrike" noProof="0">
                          <a:latin typeface="Montserrat Medium"/>
                        </a:rPr>
                        <a:t>Codebeamer </a:t>
                      </a:r>
                      <a:endParaRPr lang="en-US"/>
                    </a:p>
                  </a:txBody>
                  <a:tcPr anchor="ctr">
                    <a:solidFill>
                      <a:srgbClr val="5B8FC2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800"/>
                        <a:t>Polarion </a:t>
                      </a:r>
                    </a:p>
                  </a:txBody>
                  <a:tcPr anchor="ctr">
                    <a:solidFill>
                      <a:srgbClr val="5B8F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128378"/>
                  </a:ext>
                </a:extLst>
              </a:tr>
              <a:tr h="787153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noProof="0">
                          <a:latin typeface="Montserrat Medium"/>
                        </a:rPr>
                        <a:t>Description</a:t>
                      </a:r>
                      <a:endParaRPr lang="en-US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>
                          <a:latin typeface="Montserrat Medium"/>
                        </a:rPr>
                        <a:t>Codebeamer is a comprehensive Application Lifecycle Management (ALM) tool designed by Intland Software</a:t>
                      </a:r>
                      <a:endParaRPr lang="en-US"/>
                    </a:p>
                    <a:p>
                      <a:pPr algn="l"/>
                      <a:endParaRPr lang="en-US" sz="12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63853"/>
                          </a:solidFill>
                          <a:latin typeface="Montserrat Medium"/>
                        </a:rPr>
                        <a:t>Polarion is an ALM solution developed by Siemens Digital Industries Software</a:t>
                      </a:r>
                      <a:r>
                        <a:rPr lang="en-US" sz="1200" b="0" i="0" u="none" strike="noStrike" noProof="0">
                          <a:solidFill>
                            <a:srgbClr val="063853"/>
                          </a:solidFill>
                        </a:rPr>
                        <a:t>, supporting the software development lifecycle.</a:t>
                      </a:r>
                      <a:endParaRPr lang="en-US"/>
                    </a:p>
                    <a:p>
                      <a:pPr lvl="0" algn="l">
                        <a:buNone/>
                      </a:pPr>
                      <a:endParaRPr lang="en-US" sz="12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092466"/>
                  </a:ext>
                </a:extLst>
              </a:tr>
              <a:tr h="1136993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0" i="0" u="none" strike="noStrike" noProof="0">
                          <a:latin typeface="Montserrat Medium"/>
                        </a:rPr>
                        <a:t>Core Functionality</a:t>
                      </a:r>
                      <a:endParaRPr lang="en-US" sz="12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>
                          <a:latin typeface="Montserrat Medium"/>
                        </a:rPr>
                        <a:t>Emphasizes </a:t>
                      </a:r>
                      <a:r>
                        <a:rPr lang="en-US" sz="1200" b="1" i="0" u="none" strike="noStrike" noProof="0">
                          <a:latin typeface="Montserrat Medium"/>
                        </a:rPr>
                        <a:t>collaborative project management</a:t>
                      </a:r>
                      <a:r>
                        <a:rPr lang="en-US" sz="1200" b="0" i="0" u="none" strike="noStrike" noProof="0">
                          <a:latin typeface="Montserrat Medium"/>
                        </a:rPr>
                        <a:t> and </a:t>
                      </a:r>
                      <a:r>
                        <a:rPr lang="en-US" sz="1200" b="1" i="0" u="none" strike="noStrike" noProof="0">
                          <a:latin typeface="Montserrat Medium"/>
                        </a:rPr>
                        <a:t>Agile development</a:t>
                      </a:r>
                      <a:r>
                        <a:rPr lang="en-US" sz="1200" b="0" i="0" u="none" strike="noStrike" noProof="0">
                          <a:latin typeface="Montserrat Medium"/>
                        </a:rPr>
                        <a:t>. It includes comprehensive support for </a:t>
                      </a:r>
                      <a:r>
                        <a:rPr lang="en-US" sz="1200" b="1" i="0" u="none" strike="noStrike" noProof="0">
                          <a:latin typeface="Montserrat Medium"/>
                        </a:rPr>
                        <a:t>requirements management</a:t>
                      </a:r>
                      <a:r>
                        <a:rPr lang="en-US" sz="1200" b="0" i="0" u="none" strike="noStrike" noProof="0">
                          <a:latin typeface="Montserrat Medium"/>
                        </a:rPr>
                        <a:t>, but its real strength lies in facilitating </a:t>
                      </a:r>
                      <a:r>
                        <a:rPr lang="en-US" sz="1200" b="1" i="0" u="none" strike="noStrike" noProof="0">
                          <a:latin typeface="Montserrat Medium"/>
                        </a:rPr>
                        <a:t>Agile project workflows</a:t>
                      </a:r>
                      <a:r>
                        <a:rPr lang="en-US" sz="1200" b="0" i="0" u="none" strike="noStrike" noProof="0">
                          <a:latin typeface="Montserrat Medium"/>
                        </a:rPr>
                        <a:t> like Kanban, Scrum, and hybrid methodologies</a:t>
                      </a:r>
                      <a:endParaRPr lang="en-US" sz="1200" dirty="0"/>
                    </a:p>
                    <a:p>
                      <a:pPr algn="l"/>
                      <a:endParaRPr lang="en-US" sz="12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/>
                        <a:t>Focuses heavily on </a:t>
                      </a:r>
                      <a:r>
                        <a:rPr lang="en-US" sz="1200" b="1" i="0" u="none" strike="noStrike" noProof="0"/>
                        <a:t>requirements management</a:t>
                      </a:r>
                      <a:r>
                        <a:rPr lang="en-US" sz="1200" b="0" i="0" u="none" strike="noStrike" noProof="0"/>
                        <a:t>, </a:t>
                      </a:r>
                      <a:r>
                        <a:rPr lang="en-US" sz="1200" b="1" i="0" u="none" strike="noStrike" noProof="0"/>
                        <a:t>traceability</a:t>
                      </a:r>
                      <a:r>
                        <a:rPr lang="en-US" sz="1200" b="0" i="0" u="none" strike="noStrike" noProof="0"/>
                        <a:t>, and </a:t>
                      </a:r>
                      <a:r>
                        <a:rPr lang="en-US" sz="1200" b="1" i="0" u="none" strike="noStrike" noProof="0"/>
                        <a:t>regulatory compliance</a:t>
                      </a:r>
                      <a:r>
                        <a:rPr lang="en-US" sz="1200" b="0" i="0" u="none" strike="noStrike" noProof="0"/>
                        <a:t>. It provides strong support for managing the entire lifecycle of product development</a:t>
                      </a:r>
                      <a:endParaRPr lang="en-US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4453171"/>
                  </a:ext>
                </a:extLst>
              </a:tr>
              <a:tr h="710624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0" i="0" u="none" strike="noStrike" noProof="0">
                          <a:latin typeface="Montserrat Medium"/>
                        </a:rPr>
                        <a:t>Usability and User Interface</a:t>
                      </a:r>
                      <a:endParaRPr lang="en-US" sz="12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/>
                        <a:t>Designed to meet the needs of Agile and DevOps teams</a:t>
                      </a:r>
                      <a:endParaRPr lang="en-US"/>
                    </a:p>
                    <a:p>
                      <a:pPr algn="l"/>
                      <a:endParaRPr lang="en-US" sz="12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63853"/>
                          </a:solidFill>
                          <a:latin typeface="Montserrat Medium"/>
                        </a:rPr>
                        <a:t>Polarion's interface is designed for more </a:t>
                      </a:r>
                      <a:r>
                        <a:rPr lang="en-US" sz="1200" b="1" i="0" u="none" strike="noStrike" noProof="0">
                          <a:solidFill>
                            <a:srgbClr val="063853"/>
                          </a:solidFill>
                          <a:latin typeface="Montserrat Medium"/>
                        </a:rPr>
                        <a:t>structured and User Friendly</a:t>
                      </a:r>
                      <a:endParaRPr lang="en-US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0391024"/>
                  </a:ext>
                </a:extLst>
              </a:tr>
              <a:tr h="710624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0" i="0" u="none" strike="noStrike" noProof="0">
                          <a:latin typeface="Montserrat Medium"/>
                        </a:rPr>
                        <a:t>Customization and Extensibility</a:t>
                      </a:r>
                      <a:endParaRPr lang="en-US" sz="12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>
                          <a:latin typeface="Montserrat Medium"/>
                        </a:rPr>
                        <a:t>Offers flexibility with </a:t>
                      </a:r>
                      <a:r>
                        <a:rPr lang="en-US" sz="1200" b="1" i="0" u="none" strike="noStrike" noProof="0">
                          <a:latin typeface="Montserrat Medium"/>
                        </a:rPr>
                        <a:t>custom workflows</a:t>
                      </a:r>
                      <a:r>
                        <a:rPr lang="en-US" sz="1200" b="0" i="0" u="none" strike="noStrike" noProof="0">
                          <a:latin typeface="Montserrat Medium"/>
                        </a:rPr>
                        <a:t>, user interfaces, and dashboards</a:t>
                      </a:r>
                      <a:endParaRPr lang="en-US" sz="1200" dirty="0"/>
                    </a:p>
                    <a:p>
                      <a:pPr algn="l"/>
                      <a:endParaRPr lang="en-US" sz="12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 dirty="0"/>
                        <a:t>Highly customizable, </a:t>
                      </a:r>
                      <a:r>
                        <a:rPr lang="en-US" sz="1200" b="0" i="0" u="none" strike="noStrike" noProof="0"/>
                        <a:t>It provides an </a:t>
                      </a:r>
                      <a:r>
                        <a:rPr lang="en-US" sz="1200" b="0" i="0" u="none" strike="noStrike" noProof="0" dirty="0"/>
                        <a:t>extensive set of APIs for integration with other tools.</a:t>
                      </a:r>
                      <a:endParaRPr lang="en-US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6477780"/>
                  </a:ext>
                </a:extLst>
              </a:tr>
              <a:tr h="962075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0" i="0" u="none" strike="noStrike" noProof="0">
                          <a:latin typeface="Montserrat Medium"/>
                        </a:rPr>
                        <a:t>Reporting and Analytics</a:t>
                      </a:r>
                      <a:endParaRPr lang="en-US" sz="12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1" i="0" u="none" strike="noStrike" noProof="0">
                          <a:latin typeface="Montserrat Medium"/>
                        </a:rPr>
                        <a:t>Agile-specific reports</a:t>
                      </a:r>
                      <a:r>
                        <a:rPr lang="en-US" sz="1200" b="0" i="0" u="none" strike="noStrike" noProof="0">
                          <a:latin typeface="Montserrat Medium"/>
                        </a:rPr>
                        <a:t> and </a:t>
                      </a:r>
                      <a:r>
                        <a:rPr lang="en-US" sz="1200" b="1" i="0" u="none" strike="noStrike" noProof="0">
                          <a:latin typeface="Montserrat Medium"/>
                        </a:rPr>
                        <a:t>visualizations</a:t>
                      </a:r>
                      <a:r>
                        <a:rPr lang="en-US" sz="1200" b="0" i="0" u="none" strike="noStrike" noProof="0">
                          <a:latin typeface="Montserrat Medium"/>
                        </a:rPr>
                        <a:t> (such as burndown charts, Kanban boards, and sprint dashboards)</a:t>
                      </a:r>
                      <a:endParaRPr lang="en-US" sz="1200" dirty="0"/>
                    </a:p>
                    <a:p>
                      <a:pPr algn="l"/>
                      <a:endParaRPr lang="en-US" sz="12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63853"/>
                          </a:solidFill>
                        </a:rPr>
                        <a:t>Provides a </a:t>
                      </a:r>
                      <a:r>
                        <a:rPr lang="en-US" sz="1200" b="1" i="0" u="none" strike="noStrike" noProof="0">
                          <a:solidFill>
                            <a:srgbClr val="063853"/>
                          </a:solidFill>
                        </a:rPr>
                        <a:t>robust set of reporting</a:t>
                      </a:r>
                      <a:r>
                        <a:rPr lang="en-US" sz="1200" b="0" i="0" u="none" strike="noStrike" noProof="0">
                          <a:solidFill>
                            <a:srgbClr val="063853"/>
                          </a:solidFill>
                        </a:rPr>
                        <a:t> features, particularly for regulatory and traceability requirements. </a:t>
                      </a:r>
                      <a:endParaRPr lang="en-US" sz="1200" b="0" i="0" u="none" strike="noStrike" noProof="0" dirty="0">
                        <a:solidFill>
                          <a:srgbClr val="063853"/>
                        </a:solidFill>
                        <a:latin typeface="Montserrat Medium"/>
                      </a:endParaRP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63853"/>
                          </a:solidFill>
                        </a:rPr>
                        <a:t>Its reporting capabilities are highly detailed and can generate compliance and audit-ready reports</a:t>
                      </a:r>
                      <a:endParaRPr lang="en-US" sz="1200" b="0" i="0" u="none" strike="noStrike" noProof="0">
                        <a:solidFill>
                          <a:srgbClr val="063853"/>
                        </a:solidFill>
                        <a:latin typeface="Montserrat Medium"/>
                      </a:endParaRPr>
                    </a:p>
                    <a:p>
                      <a:pPr lvl="0" algn="l">
                        <a:buNone/>
                      </a:pPr>
                      <a:endParaRPr lang="en-US" sz="12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3876169"/>
                  </a:ext>
                </a:extLst>
              </a:tr>
              <a:tr h="710624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0" i="0" u="none" strike="noStrike" noProof="0">
                          <a:latin typeface="Montserrat Medium"/>
                        </a:rPr>
                        <a:t>Compliance and Traceability</a:t>
                      </a:r>
                      <a:endParaRPr lang="en-US" sz="12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>
                          <a:latin typeface="Montserrat Medium"/>
                        </a:rPr>
                        <a:t>Offers traceability and compliance features as well, but it is generally more Agile-focused.</a:t>
                      </a:r>
                      <a:endParaRPr lang="en-US" sz="1200" dirty="0"/>
                    </a:p>
                    <a:p>
                      <a:pPr algn="l"/>
                      <a:endParaRPr lang="en-US" sz="12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63853"/>
                          </a:solidFill>
                        </a:rPr>
                        <a:t>Known for its </a:t>
                      </a:r>
                      <a:r>
                        <a:rPr lang="en-US" sz="1200" b="1" i="0" u="none" strike="noStrike" noProof="0">
                          <a:solidFill>
                            <a:srgbClr val="063853"/>
                          </a:solidFill>
                        </a:rPr>
                        <a:t>industry-leading traceability and compliance features</a:t>
                      </a:r>
                      <a:r>
                        <a:rPr lang="en-US" sz="1200" b="0" i="0" u="none" strike="noStrike" noProof="0">
                          <a:solidFill>
                            <a:srgbClr val="063853"/>
                          </a:solidFill>
                        </a:rPr>
                        <a:t>, including the ability to manage and document every aspect of the product lifecycle.</a:t>
                      </a:r>
                      <a:endParaRPr lang="en-US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62805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74217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A7483C4-F5F5-53B7-7445-086EC52BE7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8500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7483C4-F5F5-53B7-7445-086EC52BE7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80A15267-59AC-41F3-B7A7-ACD2C07F3BEA}"/>
              </a:ext>
            </a:extLst>
          </p:cNvPr>
          <p:cNvSpPr/>
          <p:nvPr/>
        </p:nvSpPr>
        <p:spPr>
          <a:xfrm>
            <a:off x="7961677" y="2270937"/>
            <a:ext cx="1591000" cy="2736765"/>
          </a:xfrm>
          <a:prstGeom prst="roundRect">
            <a:avLst/>
          </a:prstGeom>
          <a:solidFill>
            <a:srgbClr val="0E7FB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CFAC2B3B-CC4D-B03A-C1D8-54F0FBD99FF8}"/>
              </a:ext>
            </a:extLst>
          </p:cNvPr>
          <p:cNvSpPr/>
          <p:nvPr/>
        </p:nvSpPr>
        <p:spPr>
          <a:xfrm>
            <a:off x="881415" y="2272118"/>
            <a:ext cx="1591000" cy="2736765"/>
          </a:xfrm>
          <a:prstGeom prst="roundRect">
            <a:avLst/>
          </a:prstGeom>
          <a:solidFill>
            <a:srgbClr val="00D0C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3CEDA08-ED35-D2FE-BF97-78A5669F368E}"/>
              </a:ext>
            </a:extLst>
          </p:cNvPr>
          <p:cNvSpPr/>
          <p:nvPr/>
        </p:nvSpPr>
        <p:spPr>
          <a:xfrm>
            <a:off x="2649049" y="2272118"/>
            <a:ext cx="1591000" cy="2736765"/>
          </a:xfrm>
          <a:prstGeom prst="roundRect">
            <a:avLst/>
          </a:prstGeom>
          <a:solidFill>
            <a:srgbClr val="5C8EC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99E902AE-EA62-B4D0-A203-51DBF3F27C50}"/>
              </a:ext>
            </a:extLst>
          </p:cNvPr>
          <p:cNvSpPr/>
          <p:nvPr/>
        </p:nvSpPr>
        <p:spPr>
          <a:xfrm>
            <a:off x="4416683" y="2272118"/>
            <a:ext cx="1591000" cy="2736765"/>
          </a:xfrm>
          <a:prstGeom prst="roundRect">
            <a:avLst/>
          </a:prstGeom>
          <a:solidFill>
            <a:srgbClr val="686C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307F3A4E-89B6-FC50-D855-25901BE2536F}"/>
              </a:ext>
            </a:extLst>
          </p:cNvPr>
          <p:cNvSpPr/>
          <p:nvPr/>
        </p:nvSpPr>
        <p:spPr>
          <a:xfrm>
            <a:off x="6184317" y="2272118"/>
            <a:ext cx="1591000" cy="2736765"/>
          </a:xfrm>
          <a:prstGeom prst="roundRect">
            <a:avLst/>
          </a:prstGeom>
          <a:solidFill>
            <a:srgbClr val="084A6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058D038B-5407-0E72-A224-5DE771CE2176}"/>
              </a:ext>
            </a:extLst>
          </p:cNvPr>
          <p:cNvSpPr/>
          <p:nvPr/>
        </p:nvSpPr>
        <p:spPr>
          <a:xfrm>
            <a:off x="9719585" y="2270937"/>
            <a:ext cx="1591000" cy="2736765"/>
          </a:xfrm>
          <a:prstGeom prst="roundRect">
            <a:avLst/>
          </a:prstGeom>
          <a:solidFill>
            <a:srgbClr val="345E8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7" name="Inhaltsplatzhalter 4">
            <a:extLst>
              <a:ext uri="{FF2B5EF4-FFF2-40B4-BE49-F238E27FC236}">
                <a16:creationId xmlns:a16="http://schemas.microsoft.com/office/drawing/2014/main" id="{FE76E5BE-A42A-4309-99E1-6FF8412F5DC8}"/>
              </a:ext>
            </a:extLst>
          </p:cNvPr>
          <p:cNvSpPr txBox="1">
            <a:spLocks/>
          </p:cNvSpPr>
          <p:nvPr/>
        </p:nvSpPr>
        <p:spPr>
          <a:xfrm>
            <a:off x="1032527" y="3739156"/>
            <a:ext cx="1288776" cy="86177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1600" b="1" dirty="0">
                <a:latin typeface="Montserrat" panose="00000500000000000000" pitchFamily="50" charset="0"/>
              </a:rPr>
              <a:t>Scope</a:t>
            </a:r>
          </a:p>
          <a:p>
            <a:pPr marL="0" indent="0" algn="ctr">
              <a:lnSpc>
                <a:spcPct val="100000"/>
              </a:lnSpc>
              <a:spcAft>
                <a:spcPts val="0"/>
              </a:spcAft>
              <a:buNone/>
            </a:pPr>
            <a:endParaRPr lang="en-US" sz="1600" dirty="0">
              <a:latin typeface="Montserrat" panose="00000500000000000000" pitchFamily="50" charset="0"/>
            </a:endParaRPr>
          </a:p>
          <a:p>
            <a:pPr mar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1200" dirty="0">
                <a:latin typeface="Montserrat" panose="00000500000000000000" pitchFamily="50" charset="0"/>
              </a:rPr>
              <a:t>Define objects</a:t>
            </a:r>
          </a:p>
          <a:p>
            <a:pPr mar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1200" dirty="0">
                <a:latin typeface="Montserrat" panose="00000500000000000000" pitchFamily="50" charset="0"/>
              </a:rPr>
              <a:t>Pilot approaches</a:t>
            </a:r>
          </a:p>
        </p:txBody>
      </p:sp>
      <p:sp>
        <p:nvSpPr>
          <p:cNvPr id="38" name="Inhaltsplatzhalter 4">
            <a:extLst>
              <a:ext uri="{FF2B5EF4-FFF2-40B4-BE49-F238E27FC236}">
                <a16:creationId xmlns:a16="http://schemas.microsoft.com/office/drawing/2014/main" id="{D9E02AA2-B703-41AE-9864-BBEF425167E4}"/>
              </a:ext>
            </a:extLst>
          </p:cNvPr>
          <p:cNvSpPr txBox="1">
            <a:spLocks/>
          </p:cNvSpPr>
          <p:nvPr/>
        </p:nvSpPr>
        <p:spPr>
          <a:xfrm>
            <a:off x="2814962" y="3739156"/>
            <a:ext cx="1259174" cy="86177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1600" b="1" dirty="0">
                <a:latin typeface="Montserrat" panose="00000500000000000000" pitchFamily="50" charset="0"/>
              </a:rPr>
              <a:t>Custom</a:t>
            </a:r>
          </a:p>
          <a:p>
            <a:pPr marL="0" indent="0" algn="ctr">
              <a:lnSpc>
                <a:spcPct val="100000"/>
              </a:lnSpc>
              <a:spcAft>
                <a:spcPts val="0"/>
              </a:spcAft>
              <a:buNone/>
            </a:pPr>
            <a:endParaRPr lang="en-US" sz="1600" b="1" dirty="0">
              <a:latin typeface="Montserrat" panose="00000500000000000000" pitchFamily="50" charset="0"/>
            </a:endParaRPr>
          </a:p>
          <a:p>
            <a:pPr mar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1200" dirty="0">
                <a:latin typeface="Montserrat" panose="00000500000000000000" pitchFamily="50" charset="0"/>
              </a:rPr>
              <a:t>Limit </a:t>
            </a:r>
            <a:r>
              <a:rPr lang="en-US" sz="1200" dirty="0" err="1">
                <a:latin typeface="Montserrat" panose="00000500000000000000" pitchFamily="50" charset="0"/>
              </a:rPr>
              <a:t>customisations</a:t>
            </a:r>
            <a:endParaRPr lang="en-US" sz="1200" dirty="0">
              <a:latin typeface="Montserrat" panose="00000500000000000000" pitchFamily="50" charset="0"/>
            </a:endParaRPr>
          </a:p>
        </p:txBody>
      </p:sp>
      <p:sp>
        <p:nvSpPr>
          <p:cNvPr id="39" name="Inhaltsplatzhalter 4">
            <a:extLst>
              <a:ext uri="{FF2B5EF4-FFF2-40B4-BE49-F238E27FC236}">
                <a16:creationId xmlns:a16="http://schemas.microsoft.com/office/drawing/2014/main" id="{419190C7-50E9-43B7-8373-A02A48ED713A}"/>
              </a:ext>
            </a:extLst>
          </p:cNvPr>
          <p:cNvSpPr txBox="1">
            <a:spLocks/>
          </p:cNvSpPr>
          <p:nvPr/>
        </p:nvSpPr>
        <p:spPr>
          <a:xfrm>
            <a:off x="4582596" y="3739156"/>
            <a:ext cx="1259174" cy="86177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1600" b="1" dirty="0">
                <a:latin typeface="Montserrat" panose="00000500000000000000" pitchFamily="50" charset="0"/>
              </a:rPr>
              <a:t>Integration</a:t>
            </a:r>
          </a:p>
          <a:p>
            <a:pPr marL="0" indent="0" algn="ctr">
              <a:lnSpc>
                <a:spcPct val="100000"/>
              </a:lnSpc>
              <a:spcAft>
                <a:spcPts val="0"/>
              </a:spcAft>
              <a:buNone/>
            </a:pPr>
            <a:endParaRPr lang="en-US" sz="1600" b="1" dirty="0">
              <a:latin typeface="Montserrat" panose="00000500000000000000" pitchFamily="50" charset="0"/>
            </a:endParaRPr>
          </a:p>
          <a:p>
            <a:pPr mar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1200" dirty="0">
                <a:latin typeface="Montserrat" panose="00000500000000000000" pitchFamily="50" charset="0"/>
              </a:rPr>
              <a:t>Assess early</a:t>
            </a:r>
          </a:p>
          <a:p>
            <a:pPr mar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1200" dirty="0">
                <a:latin typeface="Montserrat" panose="00000500000000000000" pitchFamily="50" charset="0"/>
              </a:rPr>
              <a:t>Use pre-built</a:t>
            </a:r>
          </a:p>
        </p:txBody>
      </p:sp>
      <p:sp>
        <p:nvSpPr>
          <p:cNvPr id="101" name="Inhaltsplatzhalter 4">
            <a:extLst>
              <a:ext uri="{FF2B5EF4-FFF2-40B4-BE49-F238E27FC236}">
                <a16:creationId xmlns:a16="http://schemas.microsoft.com/office/drawing/2014/main" id="{D7A3BB9A-CC45-40CC-8625-51E5C4797CB3}"/>
              </a:ext>
            </a:extLst>
          </p:cNvPr>
          <p:cNvSpPr txBox="1">
            <a:spLocks/>
          </p:cNvSpPr>
          <p:nvPr/>
        </p:nvSpPr>
        <p:spPr>
          <a:xfrm>
            <a:off x="6350230" y="3739156"/>
            <a:ext cx="1259174" cy="86177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1600" b="1" dirty="0">
                <a:latin typeface="Montserrat" panose="00000500000000000000" pitchFamily="50" charset="0"/>
              </a:rPr>
              <a:t>Migration</a:t>
            </a:r>
          </a:p>
          <a:p>
            <a:pPr marL="0" indent="0" algn="ctr">
              <a:lnSpc>
                <a:spcPct val="100000"/>
              </a:lnSpc>
              <a:spcAft>
                <a:spcPts val="0"/>
              </a:spcAft>
              <a:buNone/>
            </a:pPr>
            <a:endParaRPr lang="en-US" sz="1600" b="1" dirty="0">
              <a:latin typeface="Montserrat" panose="00000500000000000000" pitchFamily="50" charset="0"/>
            </a:endParaRPr>
          </a:p>
          <a:p>
            <a:pPr mar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1200" dirty="0">
                <a:latin typeface="Montserrat" panose="00000500000000000000" pitchFamily="50" charset="0"/>
              </a:rPr>
              <a:t>Plan early</a:t>
            </a:r>
          </a:p>
          <a:p>
            <a:pPr mar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1200" dirty="0">
                <a:latin typeface="Montserrat" panose="00000500000000000000" pitchFamily="50" charset="0"/>
              </a:rPr>
              <a:t>Cleanse data</a:t>
            </a:r>
          </a:p>
        </p:txBody>
      </p:sp>
      <p:sp>
        <p:nvSpPr>
          <p:cNvPr id="102" name="Inhaltsplatzhalter 4">
            <a:extLst>
              <a:ext uri="{FF2B5EF4-FFF2-40B4-BE49-F238E27FC236}">
                <a16:creationId xmlns:a16="http://schemas.microsoft.com/office/drawing/2014/main" id="{25FD52D2-2296-4406-8ED8-7307D202B22B}"/>
              </a:ext>
            </a:extLst>
          </p:cNvPr>
          <p:cNvSpPr txBox="1">
            <a:spLocks/>
          </p:cNvSpPr>
          <p:nvPr/>
        </p:nvSpPr>
        <p:spPr>
          <a:xfrm>
            <a:off x="8127590" y="3739156"/>
            <a:ext cx="1259174" cy="86177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1600" b="1" dirty="0">
                <a:latin typeface="Montserrat" panose="00000500000000000000" pitchFamily="50" charset="0"/>
              </a:rPr>
              <a:t>Change</a:t>
            </a:r>
          </a:p>
          <a:p>
            <a:pPr marL="0" indent="0" algn="ctr">
              <a:lnSpc>
                <a:spcPct val="100000"/>
              </a:lnSpc>
              <a:spcAft>
                <a:spcPts val="0"/>
              </a:spcAft>
              <a:buNone/>
            </a:pPr>
            <a:endParaRPr lang="en-US" sz="1600" b="1" dirty="0">
              <a:latin typeface="Montserrat" panose="00000500000000000000" pitchFamily="50" charset="0"/>
            </a:endParaRPr>
          </a:p>
          <a:p>
            <a:pPr mar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1200" dirty="0">
                <a:latin typeface="Montserrat" panose="00000500000000000000" pitchFamily="50" charset="0"/>
              </a:rPr>
              <a:t>Engage Stake-holders early</a:t>
            </a:r>
          </a:p>
        </p:txBody>
      </p:sp>
      <p:sp>
        <p:nvSpPr>
          <p:cNvPr id="103" name="Inhaltsplatzhalter 4">
            <a:extLst>
              <a:ext uri="{FF2B5EF4-FFF2-40B4-BE49-F238E27FC236}">
                <a16:creationId xmlns:a16="http://schemas.microsoft.com/office/drawing/2014/main" id="{8CFF651C-3CCC-4992-9963-202843249A27}"/>
              </a:ext>
            </a:extLst>
          </p:cNvPr>
          <p:cNvSpPr txBox="1">
            <a:spLocks/>
          </p:cNvSpPr>
          <p:nvPr/>
        </p:nvSpPr>
        <p:spPr>
          <a:xfrm>
            <a:off x="9885498" y="3739156"/>
            <a:ext cx="1259174" cy="86177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1600" b="1" dirty="0">
                <a:latin typeface="Montserrat" panose="00000500000000000000" pitchFamily="50" charset="0"/>
              </a:rPr>
              <a:t>Testing</a:t>
            </a:r>
          </a:p>
          <a:p>
            <a:pPr marL="0" indent="0" algn="ctr">
              <a:lnSpc>
                <a:spcPct val="100000"/>
              </a:lnSpc>
              <a:spcAft>
                <a:spcPts val="0"/>
              </a:spcAft>
              <a:buNone/>
            </a:pPr>
            <a:endParaRPr lang="en-US" sz="1600" b="1" dirty="0">
              <a:latin typeface="Montserrat" panose="00000500000000000000" pitchFamily="50" charset="0"/>
            </a:endParaRPr>
          </a:p>
          <a:p>
            <a:pPr mar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1200" dirty="0">
                <a:latin typeface="Montserrat" panose="00000500000000000000" pitchFamily="50" charset="0"/>
              </a:rPr>
              <a:t>Continuously and ear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64CE04-1878-5938-59BD-A1E7CCC9A8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 dirty="0">
                <a:solidFill>
                  <a:srgbClr val="063853"/>
                </a:solidFill>
                <a:latin typeface="Montserrat SemiBold" panose="00000700000000000000" pitchFamily="2" charset="0"/>
                <a:ea typeface="Roboto" panose="02000000000000000000" pitchFamily="2" charset="0"/>
              </a:rPr>
              <a:t>What </a:t>
            </a:r>
            <a:r>
              <a:rPr lang="en-US" dirty="0">
                <a:solidFill>
                  <a:srgbClr val="063853"/>
                </a:solidFill>
                <a:ea typeface="Roboto" panose="02000000000000000000" pitchFamily="2" charset="0"/>
              </a:rPr>
              <a:t>T</a:t>
            </a:r>
            <a:r>
              <a:rPr lang="en-US" sz="2800" dirty="0">
                <a:solidFill>
                  <a:srgbClr val="063853"/>
                </a:solidFill>
                <a:latin typeface="Montserrat SemiBold" panose="00000700000000000000" pitchFamily="2" charset="0"/>
                <a:ea typeface="Roboto" panose="02000000000000000000" pitchFamily="2" charset="0"/>
              </a:rPr>
              <a:t>o Consider For Drafting A Project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439D943-618E-0363-E7BF-9AD03466BF44}"/>
              </a:ext>
            </a:extLst>
          </p:cNvPr>
          <p:cNvGrpSpPr/>
          <p:nvPr/>
        </p:nvGrpSpPr>
        <p:grpSpPr>
          <a:xfrm>
            <a:off x="1412701" y="2635140"/>
            <a:ext cx="639437" cy="668598"/>
            <a:chOff x="5624513" y="2933701"/>
            <a:chExt cx="939800" cy="982662"/>
          </a:xfrm>
          <a:solidFill>
            <a:schemeClr val="bg1"/>
          </a:solidFill>
        </p:grpSpPr>
        <p:sp>
          <p:nvSpPr>
            <p:cNvPr id="8" name="Freeform 111">
              <a:extLst>
                <a:ext uri="{FF2B5EF4-FFF2-40B4-BE49-F238E27FC236}">
                  <a16:creationId xmlns:a16="http://schemas.microsoft.com/office/drawing/2014/main" id="{E6F5AB78-0D6A-0D63-626A-FE41E9D76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2138" y="3119438"/>
              <a:ext cx="185738" cy="185738"/>
            </a:xfrm>
            <a:custGeom>
              <a:avLst/>
              <a:gdLst>
                <a:gd name="T0" fmla="*/ 351 w 704"/>
                <a:gd name="T1" fmla="*/ 0 h 700"/>
                <a:gd name="T2" fmla="*/ 400 w 704"/>
                <a:gd name="T3" fmla="*/ 4 h 700"/>
                <a:gd name="T4" fmla="*/ 446 w 704"/>
                <a:gd name="T5" fmla="*/ 13 h 700"/>
                <a:gd name="T6" fmla="*/ 489 w 704"/>
                <a:gd name="T7" fmla="*/ 28 h 700"/>
                <a:gd name="T8" fmla="*/ 530 w 704"/>
                <a:gd name="T9" fmla="*/ 49 h 700"/>
                <a:gd name="T10" fmla="*/ 567 w 704"/>
                <a:gd name="T11" fmla="*/ 74 h 700"/>
                <a:gd name="T12" fmla="*/ 600 w 704"/>
                <a:gd name="T13" fmla="*/ 104 h 700"/>
                <a:gd name="T14" fmla="*/ 630 w 704"/>
                <a:gd name="T15" fmla="*/ 137 h 700"/>
                <a:gd name="T16" fmla="*/ 656 w 704"/>
                <a:gd name="T17" fmla="*/ 173 h 700"/>
                <a:gd name="T18" fmla="*/ 677 w 704"/>
                <a:gd name="T19" fmla="*/ 215 h 700"/>
                <a:gd name="T20" fmla="*/ 692 w 704"/>
                <a:gd name="T21" fmla="*/ 257 h 700"/>
                <a:gd name="T22" fmla="*/ 701 w 704"/>
                <a:gd name="T23" fmla="*/ 303 h 700"/>
                <a:gd name="T24" fmla="*/ 704 w 704"/>
                <a:gd name="T25" fmla="*/ 351 h 700"/>
                <a:gd name="T26" fmla="*/ 701 w 704"/>
                <a:gd name="T27" fmla="*/ 398 h 700"/>
                <a:gd name="T28" fmla="*/ 692 w 704"/>
                <a:gd name="T29" fmla="*/ 444 h 700"/>
                <a:gd name="T30" fmla="*/ 677 w 704"/>
                <a:gd name="T31" fmla="*/ 487 h 700"/>
                <a:gd name="T32" fmla="*/ 656 w 704"/>
                <a:gd name="T33" fmla="*/ 527 h 700"/>
                <a:gd name="T34" fmla="*/ 630 w 704"/>
                <a:gd name="T35" fmla="*/ 564 h 700"/>
                <a:gd name="T36" fmla="*/ 600 w 704"/>
                <a:gd name="T37" fmla="*/ 598 h 700"/>
                <a:gd name="T38" fmla="*/ 567 w 704"/>
                <a:gd name="T39" fmla="*/ 628 h 700"/>
                <a:gd name="T40" fmla="*/ 530 w 704"/>
                <a:gd name="T41" fmla="*/ 653 h 700"/>
                <a:gd name="T42" fmla="*/ 489 w 704"/>
                <a:gd name="T43" fmla="*/ 673 h 700"/>
                <a:gd name="T44" fmla="*/ 446 w 704"/>
                <a:gd name="T45" fmla="*/ 688 h 700"/>
                <a:gd name="T46" fmla="*/ 400 w 704"/>
                <a:gd name="T47" fmla="*/ 698 h 700"/>
                <a:gd name="T48" fmla="*/ 351 w 704"/>
                <a:gd name="T49" fmla="*/ 700 h 700"/>
                <a:gd name="T50" fmla="*/ 304 w 704"/>
                <a:gd name="T51" fmla="*/ 698 h 700"/>
                <a:gd name="T52" fmla="*/ 258 w 704"/>
                <a:gd name="T53" fmla="*/ 688 h 700"/>
                <a:gd name="T54" fmla="*/ 214 w 704"/>
                <a:gd name="T55" fmla="*/ 673 h 700"/>
                <a:gd name="T56" fmla="*/ 174 w 704"/>
                <a:gd name="T57" fmla="*/ 653 h 700"/>
                <a:gd name="T58" fmla="*/ 137 w 704"/>
                <a:gd name="T59" fmla="*/ 628 h 700"/>
                <a:gd name="T60" fmla="*/ 102 w 704"/>
                <a:gd name="T61" fmla="*/ 598 h 700"/>
                <a:gd name="T62" fmla="*/ 74 w 704"/>
                <a:gd name="T63" fmla="*/ 564 h 700"/>
                <a:gd name="T64" fmla="*/ 48 w 704"/>
                <a:gd name="T65" fmla="*/ 527 h 700"/>
                <a:gd name="T66" fmla="*/ 27 w 704"/>
                <a:gd name="T67" fmla="*/ 487 h 700"/>
                <a:gd name="T68" fmla="*/ 12 w 704"/>
                <a:gd name="T69" fmla="*/ 444 h 700"/>
                <a:gd name="T70" fmla="*/ 3 w 704"/>
                <a:gd name="T71" fmla="*/ 398 h 700"/>
                <a:gd name="T72" fmla="*/ 0 w 704"/>
                <a:gd name="T73" fmla="*/ 351 h 700"/>
                <a:gd name="T74" fmla="*/ 3 w 704"/>
                <a:gd name="T75" fmla="*/ 303 h 700"/>
                <a:gd name="T76" fmla="*/ 12 w 704"/>
                <a:gd name="T77" fmla="*/ 257 h 700"/>
                <a:gd name="T78" fmla="*/ 27 w 704"/>
                <a:gd name="T79" fmla="*/ 215 h 700"/>
                <a:gd name="T80" fmla="*/ 48 w 704"/>
                <a:gd name="T81" fmla="*/ 173 h 700"/>
                <a:gd name="T82" fmla="*/ 74 w 704"/>
                <a:gd name="T83" fmla="*/ 137 h 700"/>
                <a:gd name="T84" fmla="*/ 102 w 704"/>
                <a:gd name="T85" fmla="*/ 104 h 700"/>
                <a:gd name="T86" fmla="*/ 137 w 704"/>
                <a:gd name="T87" fmla="*/ 74 h 700"/>
                <a:gd name="T88" fmla="*/ 174 w 704"/>
                <a:gd name="T89" fmla="*/ 49 h 700"/>
                <a:gd name="T90" fmla="*/ 214 w 704"/>
                <a:gd name="T91" fmla="*/ 28 h 700"/>
                <a:gd name="T92" fmla="*/ 258 w 704"/>
                <a:gd name="T93" fmla="*/ 13 h 700"/>
                <a:gd name="T94" fmla="*/ 304 w 704"/>
                <a:gd name="T95" fmla="*/ 4 h 700"/>
                <a:gd name="T96" fmla="*/ 351 w 704"/>
                <a:gd name="T97" fmla="*/ 0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04" h="700">
                  <a:moveTo>
                    <a:pt x="351" y="0"/>
                  </a:moveTo>
                  <a:lnTo>
                    <a:pt x="400" y="4"/>
                  </a:lnTo>
                  <a:lnTo>
                    <a:pt x="446" y="13"/>
                  </a:lnTo>
                  <a:lnTo>
                    <a:pt x="489" y="28"/>
                  </a:lnTo>
                  <a:lnTo>
                    <a:pt x="530" y="49"/>
                  </a:lnTo>
                  <a:lnTo>
                    <a:pt x="567" y="74"/>
                  </a:lnTo>
                  <a:lnTo>
                    <a:pt x="600" y="104"/>
                  </a:lnTo>
                  <a:lnTo>
                    <a:pt x="630" y="137"/>
                  </a:lnTo>
                  <a:lnTo>
                    <a:pt x="656" y="173"/>
                  </a:lnTo>
                  <a:lnTo>
                    <a:pt x="677" y="215"/>
                  </a:lnTo>
                  <a:lnTo>
                    <a:pt x="692" y="257"/>
                  </a:lnTo>
                  <a:lnTo>
                    <a:pt x="701" y="303"/>
                  </a:lnTo>
                  <a:lnTo>
                    <a:pt x="704" y="351"/>
                  </a:lnTo>
                  <a:lnTo>
                    <a:pt x="701" y="398"/>
                  </a:lnTo>
                  <a:lnTo>
                    <a:pt x="692" y="444"/>
                  </a:lnTo>
                  <a:lnTo>
                    <a:pt x="677" y="487"/>
                  </a:lnTo>
                  <a:lnTo>
                    <a:pt x="656" y="527"/>
                  </a:lnTo>
                  <a:lnTo>
                    <a:pt x="630" y="564"/>
                  </a:lnTo>
                  <a:lnTo>
                    <a:pt x="600" y="598"/>
                  </a:lnTo>
                  <a:lnTo>
                    <a:pt x="567" y="628"/>
                  </a:lnTo>
                  <a:lnTo>
                    <a:pt x="530" y="653"/>
                  </a:lnTo>
                  <a:lnTo>
                    <a:pt x="489" y="673"/>
                  </a:lnTo>
                  <a:lnTo>
                    <a:pt x="446" y="688"/>
                  </a:lnTo>
                  <a:lnTo>
                    <a:pt x="400" y="698"/>
                  </a:lnTo>
                  <a:lnTo>
                    <a:pt x="351" y="700"/>
                  </a:lnTo>
                  <a:lnTo>
                    <a:pt x="304" y="698"/>
                  </a:lnTo>
                  <a:lnTo>
                    <a:pt x="258" y="688"/>
                  </a:lnTo>
                  <a:lnTo>
                    <a:pt x="214" y="673"/>
                  </a:lnTo>
                  <a:lnTo>
                    <a:pt x="174" y="653"/>
                  </a:lnTo>
                  <a:lnTo>
                    <a:pt x="137" y="628"/>
                  </a:lnTo>
                  <a:lnTo>
                    <a:pt x="102" y="598"/>
                  </a:lnTo>
                  <a:lnTo>
                    <a:pt x="74" y="564"/>
                  </a:lnTo>
                  <a:lnTo>
                    <a:pt x="48" y="527"/>
                  </a:lnTo>
                  <a:lnTo>
                    <a:pt x="27" y="487"/>
                  </a:lnTo>
                  <a:lnTo>
                    <a:pt x="12" y="444"/>
                  </a:lnTo>
                  <a:lnTo>
                    <a:pt x="3" y="398"/>
                  </a:lnTo>
                  <a:lnTo>
                    <a:pt x="0" y="351"/>
                  </a:lnTo>
                  <a:lnTo>
                    <a:pt x="3" y="303"/>
                  </a:lnTo>
                  <a:lnTo>
                    <a:pt x="12" y="257"/>
                  </a:lnTo>
                  <a:lnTo>
                    <a:pt x="27" y="215"/>
                  </a:lnTo>
                  <a:lnTo>
                    <a:pt x="48" y="173"/>
                  </a:lnTo>
                  <a:lnTo>
                    <a:pt x="74" y="137"/>
                  </a:lnTo>
                  <a:lnTo>
                    <a:pt x="102" y="104"/>
                  </a:lnTo>
                  <a:lnTo>
                    <a:pt x="137" y="74"/>
                  </a:lnTo>
                  <a:lnTo>
                    <a:pt x="174" y="49"/>
                  </a:lnTo>
                  <a:lnTo>
                    <a:pt x="214" y="28"/>
                  </a:lnTo>
                  <a:lnTo>
                    <a:pt x="258" y="13"/>
                  </a:lnTo>
                  <a:lnTo>
                    <a:pt x="304" y="4"/>
                  </a:lnTo>
                  <a:lnTo>
                    <a:pt x="3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9" name="Freeform 112">
              <a:extLst>
                <a:ext uri="{FF2B5EF4-FFF2-40B4-BE49-F238E27FC236}">
                  <a16:creationId xmlns:a16="http://schemas.microsoft.com/office/drawing/2014/main" id="{3BFF9DF3-4A25-5929-B199-4A5D96CD60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513" y="3413126"/>
              <a:ext cx="147638" cy="147638"/>
            </a:xfrm>
            <a:custGeom>
              <a:avLst/>
              <a:gdLst>
                <a:gd name="T0" fmla="*/ 280 w 559"/>
                <a:gd name="T1" fmla="*/ 0 h 556"/>
                <a:gd name="T2" fmla="*/ 322 w 559"/>
                <a:gd name="T3" fmla="*/ 4 h 556"/>
                <a:gd name="T4" fmla="*/ 361 w 559"/>
                <a:gd name="T5" fmla="*/ 12 h 556"/>
                <a:gd name="T6" fmla="*/ 398 w 559"/>
                <a:gd name="T7" fmla="*/ 26 h 556"/>
                <a:gd name="T8" fmla="*/ 432 w 559"/>
                <a:gd name="T9" fmla="*/ 45 h 556"/>
                <a:gd name="T10" fmla="*/ 463 w 559"/>
                <a:gd name="T11" fmla="*/ 68 h 556"/>
                <a:gd name="T12" fmla="*/ 491 w 559"/>
                <a:gd name="T13" fmla="*/ 96 h 556"/>
                <a:gd name="T14" fmla="*/ 514 w 559"/>
                <a:gd name="T15" fmla="*/ 126 h 556"/>
                <a:gd name="T16" fmla="*/ 534 w 559"/>
                <a:gd name="T17" fmla="*/ 161 h 556"/>
                <a:gd name="T18" fmla="*/ 548 w 559"/>
                <a:gd name="T19" fmla="*/ 197 h 556"/>
                <a:gd name="T20" fmla="*/ 557 w 559"/>
                <a:gd name="T21" fmla="*/ 238 h 556"/>
                <a:gd name="T22" fmla="*/ 559 w 559"/>
                <a:gd name="T23" fmla="*/ 278 h 556"/>
                <a:gd name="T24" fmla="*/ 557 w 559"/>
                <a:gd name="T25" fmla="*/ 319 h 556"/>
                <a:gd name="T26" fmla="*/ 548 w 559"/>
                <a:gd name="T27" fmla="*/ 358 h 556"/>
                <a:gd name="T28" fmla="*/ 534 w 559"/>
                <a:gd name="T29" fmla="*/ 396 h 556"/>
                <a:gd name="T30" fmla="*/ 514 w 559"/>
                <a:gd name="T31" fmla="*/ 429 h 556"/>
                <a:gd name="T32" fmla="*/ 491 w 559"/>
                <a:gd name="T33" fmla="*/ 461 h 556"/>
                <a:gd name="T34" fmla="*/ 463 w 559"/>
                <a:gd name="T35" fmla="*/ 487 h 556"/>
                <a:gd name="T36" fmla="*/ 432 w 559"/>
                <a:gd name="T37" fmla="*/ 511 h 556"/>
                <a:gd name="T38" fmla="*/ 398 w 559"/>
                <a:gd name="T39" fmla="*/ 530 h 556"/>
                <a:gd name="T40" fmla="*/ 361 w 559"/>
                <a:gd name="T41" fmla="*/ 545 h 556"/>
                <a:gd name="T42" fmla="*/ 322 w 559"/>
                <a:gd name="T43" fmla="*/ 553 h 556"/>
                <a:gd name="T44" fmla="*/ 280 w 559"/>
                <a:gd name="T45" fmla="*/ 556 h 556"/>
                <a:gd name="T46" fmla="*/ 239 w 559"/>
                <a:gd name="T47" fmla="*/ 553 h 556"/>
                <a:gd name="T48" fmla="*/ 199 w 559"/>
                <a:gd name="T49" fmla="*/ 545 h 556"/>
                <a:gd name="T50" fmla="*/ 162 w 559"/>
                <a:gd name="T51" fmla="*/ 530 h 556"/>
                <a:gd name="T52" fmla="*/ 128 w 559"/>
                <a:gd name="T53" fmla="*/ 511 h 556"/>
                <a:gd name="T54" fmla="*/ 97 w 559"/>
                <a:gd name="T55" fmla="*/ 487 h 556"/>
                <a:gd name="T56" fmla="*/ 69 w 559"/>
                <a:gd name="T57" fmla="*/ 461 h 556"/>
                <a:gd name="T58" fmla="*/ 45 w 559"/>
                <a:gd name="T59" fmla="*/ 429 h 556"/>
                <a:gd name="T60" fmla="*/ 26 w 559"/>
                <a:gd name="T61" fmla="*/ 396 h 556"/>
                <a:gd name="T62" fmla="*/ 13 w 559"/>
                <a:gd name="T63" fmla="*/ 358 h 556"/>
                <a:gd name="T64" fmla="*/ 3 w 559"/>
                <a:gd name="T65" fmla="*/ 319 h 556"/>
                <a:gd name="T66" fmla="*/ 0 w 559"/>
                <a:gd name="T67" fmla="*/ 278 h 556"/>
                <a:gd name="T68" fmla="*/ 3 w 559"/>
                <a:gd name="T69" fmla="*/ 238 h 556"/>
                <a:gd name="T70" fmla="*/ 13 w 559"/>
                <a:gd name="T71" fmla="*/ 197 h 556"/>
                <a:gd name="T72" fmla="*/ 26 w 559"/>
                <a:gd name="T73" fmla="*/ 161 h 556"/>
                <a:gd name="T74" fmla="*/ 45 w 559"/>
                <a:gd name="T75" fmla="*/ 126 h 556"/>
                <a:gd name="T76" fmla="*/ 69 w 559"/>
                <a:gd name="T77" fmla="*/ 96 h 556"/>
                <a:gd name="T78" fmla="*/ 97 w 559"/>
                <a:gd name="T79" fmla="*/ 68 h 556"/>
                <a:gd name="T80" fmla="*/ 128 w 559"/>
                <a:gd name="T81" fmla="*/ 45 h 556"/>
                <a:gd name="T82" fmla="*/ 162 w 559"/>
                <a:gd name="T83" fmla="*/ 26 h 556"/>
                <a:gd name="T84" fmla="*/ 199 w 559"/>
                <a:gd name="T85" fmla="*/ 12 h 556"/>
                <a:gd name="T86" fmla="*/ 239 w 559"/>
                <a:gd name="T87" fmla="*/ 4 h 556"/>
                <a:gd name="T88" fmla="*/ 280 w 559"/>
                <a:gd name="T89" fmla="*/ 0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59" h="556">
                  <a:moveTo>
                    <a:pt x="280" y="0"/>
                  </a:moveTo>
                  <a:lnTo>
                    <a:pt x="322" y="4"/>
                  </a:lnTo>
                  <a:lnTo>
                    <a:pt x="361" y="12"/>
                  </a:lnTo>
                  <a:lnTo>
                    <a:pt x="398" y="26"/>
                  </a:lnTo>
                  <a:lnTo>
                    <a:pt x="432" y="45"/>
                  </a:lnTo>
                  <a:lnTo>
                    <a:pt x="463" y="68"/>
                  </a:lnTo>
                  <a:lnTo>
                    <a:pt x="491" y="96"/>
                  </a:lnTo>
                  <a:lnTo>
                    <a:pt x="514" y="126"/>
                  </a:lnTo>
                  <a:lnTo>
                    <a:pt x="534" y="161"/>
                  </a:lnTo>
                  <a:lnTo>
                    <a:pt x="548" y="197"/>
                  </a:lnTo>
                  <a:lnTo>
                    <a:pt x="557" y="238"/>
                  </a:lnTo>
                  <a:lnTo>
                    <a:pt x="559" y="278"/>
                  </a:lnTo>
                  <a:lnTo>
                    <a:pt x="557" y="319"/>
                  </a:lnTo>
                  <a:lnTo>
                    <a:pt x="548" y="358"/>
                  </a:lnTo>
                  <a:lnTo>
                    <a:pt x="534" y="396"/>
                  </a:lnTo>
                  <a:lnTo>
                    <a:pt x="514" y="429"/>
                  </a:lnTo>
                  <a:lnTo>
                    <a:pt x="491" y="461"/>
                  </a:lnTo>
                  <a:lnTo>
                    <a:pt x="463" y="487"/>
                  </a:lnTo>
                  <a:lnTo>
                    <a:pt x="432" y="511"/>
                  </a:lnTo>
                  <a:lnTo>
                    <a:pt x="398" y="530"/>
                  </a:lnTo>
                  <a:lnTo>
                    <a:pt x="361" y="545"/>
                  </a:lnTo>
                  <a:lnTo>
                    <a:pt x="322" y="553"/>
                  </a:lnTo>
                  <a:lnTo>
                    <a:pt x="280" y="556"/>
                  </a:lnTo>
                  <a:lnTo>
                    <a:pt x="239" y="553"/>
                  </a:lnTo>
                  <a:lnTo>
                    <a:pt x="199" y="545"/>
                  </a:lnTo>
                  <a:lnTo>
                    <a:pt x="162" y="530"/>
                  </a:lnTo>
                  <a:lnTo>
                    <a:pt x="128" y="511"/>
                  </a:lnTo>
                  <a:lnTo>
                    <a:pt x="97" y="487"/>
                  </a:lnTo>
                  <a:lnTo>
                    <a:pt x="69" y="461"/>
                  </a:lnTo>
                  <a:lnTo>
                    <a:pt x="45" y="429"/>
                  </a:lnTo>
                  <a:lnTo>
                    <a:pt x="26" y="396"/>
                  </a:lnTo>
                  <a:lnTo>
                    <a:pt x="13" y="358"/>
                  </a:lnTo>
                  <a:lnTo>
                    <a:pt x="3" y="319"/>
                  </a:lnTo>
                  <a:lnTo>
                    <a:pt x="0" y="278"/>
                  </a:lnTo>
                  <a:lnTo>
                    <a:pt x="3" y="238"/>
                  </a:lnTo>
                  <a:lnTo>
                    <a:pt x="13" y="197"/>
                  </a:lnTo>
                  <a:lnTo>
                    <a:pt x="26" y="161"/>
                  </a:lnTo>
                  <a:lnTo>
                    <a:pt x="45" y="126"/>
                  </a:lnTo>
                  <a:lnTo>
                    <a:pt x="69" y="96"/>
                  </a:lnTo>
                  <a:lnTo>
                    <a:pt x="97" y="68"/>
                  </a:lnTo>
                  <a:lnTo>
                    <a:pt x="128" y="45"/>
                  </a:lnTo>
                  <a:lnTo>
                    <a:pt x="162" y="26"/>
                  </a:lnTo>
                  <a:lnTo>
                    <a:pt x="199" y="12"/>
                  </a:lnTo>
                  <a:lnTo>
                    <a:pt x="239" y="4"/>
                  </a:lnTo>
                  <a:lnTo>
                    <a:pt x="28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0" name="Freeform 113">
              <a:extLst>
                <a:ext uri="{FF2B5EF4-FFF2-40B4-BE49-F238E27FC236}">
                  <a16:creationId xmlns:a16="http://schemas.microsoft.com/office/drawing/2014/main" id="{B33F828B-9845-30EB-B3B3-B3A3222565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863" y="3671888"/>
              <a:ext cx="134938" cy="134938"/>
            </a:xfrm>
            <a:custGeom>
              <a:avLst/>
              <a:gdLst>
                <a:gd name="T0" fmla="*/ 256 w 510"/>
                <a:gd name="T1" fmla="*/ 0 h 507"/>
                <a:gd name="T2" fmla="*/ 297 w 510"/>
                <a:gd name="T3" fmla="*/ 3 h 507"/>
                <a:gd name="T4" fmla="*/ 336 w 510"/>
                <a:gd name="T5" fmla="*/ 14 h 507"/>
                <a:gd name="T6" fmla="*/ 372 w 510"/>
                <a:gd name="T7" fmla="*/ 28 h 507"/>
                <a:gd name="T8" fmla="*/ 405 w 510"/>
                <a:gd name="T9" fmla="*/ 49 h 507"/>
                <a:gd name="T10" fmla="*/ 435 w 510"/>
                <a:gd name="T11" fmla="*/ 74 h 507"/>
                <a:gd name="T12" fmla="*/ 461 w 510"/>
                <a:gd name="T13" fmla="*/ 104 h 507"/>
                <a:gd name="T14" fmla="*/ 482 w 510"/>
                <a:gd name="T15" fmla="*/ 137 h 507"/>
                <a:gd name="T16" fmla="*/ 497 w 510"/>
                <a:gd name="T17" fmla="*/ 174 h 507"/>
                <a:gd name="T18" fmla="*/ 507 w 510"/>
                <a:gd name="T19" fmla="*/ 213 h 507"/>
                <a:gd name="T20" fmla="*/ 510 w 510"/>
                <a:gd name="T21" fmla="*/ 254 h 507"/>
                <a:gd name="T22" fmla="*/ 507 w 510"/>
                <a:gd name="T23" fmla="*/ 294 h 507"/>
                <a:gd name="T24" fmla="*/ 497 w 510"/>
                <a:gd name="T25" fmla="*/ 334 h 507"/>
                <a:gd name="T26" fmla="*/ 482 w 510"/>
                <a:gd name="T27" fmla="*/ 370 h 507"/>
                <a:gd name="T28" fmla="*/ 461 w 510"/>
                <a:gd name="T29" fmla="*/ 403 h 507"/>
                <a:gd name="T30" fmla="*/ 435 w 510"/>
                <a:gd name="T31" fmla="*/ 433 h 507"/>
                <a:gd name="T32" fmla="*/ 405 w 510"/>
                <a:gd name="T33" fmla="*/ 458 h 507"/>
                <a:gd name="T34" fmla="*/ 372 w 510"/>
                <a:gd name="T35" fmla="*/ 479 h 507"/>
                <a:gd name="T36" fmla="*/ 336 w 510"/>
                <a:gd name="T37" fmla="*/ 495 h 507"/>
                <a:gd name="T38" fmla="*/ 297 w 510"/>
                <a:gd name="T39" fmla="*/ 504 h 507"/>
                <a:gd name="T40" fmla="*/ 256 w 510"/>
                <a:gd name="T41" fmla="*/ 507 h 507"/>
                <a:gd name="T42" fmla="*/ 214 w 510"/>
                <a:gd name="T43" fmla="*/ 504 h 507"/>
                <a:gd name="T44" fmla="*/ 175 w 510"/>
                <a:gd name="T45" fmla="*/ 495 h 507"/>
                <a:gd name="T46" fmla="*/ 138 w 510"/>
                <a:gd name="T47" fmla="*/ 479 h 507"/>
                <a:gd name="T48" fmla="*/ 104 w 510"/>
                <a:gd name="T49" fmla="*/ 458 h 507"/>
                <a:gd name="T50" fmla="*/ 75 w 510"/>
                <a:gd name="T51" fmla="*/ 433 h 507"/>
                <a:gd name="T52" fmla="*/ 49 w 510"/>
                <a:gd name="T53" fmla="*/ 403 h 507"/>
                <a:gd name="T54" fmla="*/ 28 w 510"/>
                <a:gd name="T55" fmla="*/ 370 h 507"/>
                <a:gd name="T56" fmla="*/ 13 w 510"/>
                <a:gd name="T57" fmla="*/ 334 h 507"/>
                <a:gd name="T58" fmla="*/ 3 w 510"/>
                <a:gd name="T59" fmla="*/ 294 h 507"/>
                <a:gd name="T60" fmla="*/ 0 w 510"/>
                <a:gd name="T61" fmla="*/ 254 h 507"/>
                <a:gd name="T62" fmla="*/ 3 w 510"/>
                <a:gd name="T63" fmla="*/ 213 h 507"/>
                <a:gd name="T64" fmla="*/ 13 w 510"/>
                <a:gd name="T65" fmla="*/ 174 h 507"/>
                <a:gd name="T66" fmla="*/ 28 w 510"/>
                <a:gd name="T67" fmla="*/ 137 h 507"/>
                <a:gd name="T68" fmla="*/ 49 w 510"/>
                <a:gd name="T69" fmla="*/ 104 h 507"/>
                <a:gd name="T70" fmla="*/ 75 w 510"/>
                <a:gd name="T71" fmla="*/ 74 h 507"/>
                <a:gd name="T72" fmla="*/ 104 w 510"/>
                <a:gd name="T73" fmla="*/ 49 h 507"/>
                <a:gd name="T74" fmla="*/ 138 w 510"/>
                <a:gd name="T75" fmla="*/ 28 h 507"/>
                <a:gd name="T76" fmla="*/ 175 w 510"/>
                <a:gd name="T77" fmla="*/ 14 h 507"/>
                <a:gd name="T78" fmla="*/ 214 w 510"/>
                <a:gd name="T79" fmla="*/ 3 h 507"/>
                <a:gd name="T80" fmla="*/ 256 w 510"/>
                <a:gd name="T81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10" h="507">
                  <a:moveTo>
                    <a:pt x="256" y="0"/>
                  </a:moveTo>
                  <a:lnTo>
                    <a:pt x="297" y="3"/>
                  </a:lnTo>
                  <a:lnTo>
                    <a:pt x="336" y="14"/>
                  </a:lnTo>
                  <a:lnTo>
                    <a:pt x="372" y="28"/>
                  </a:lnTo>
                  <a:lnTo>
                    <a:pt x="405" y="49"/>
                  </a:lnTo>
                  <a:lnTo>
                    <a:pt x="435" y="74"/>
                  </a:lnTo>
                  <a:lnTo>
                    <a:pt x="461" y="104"/>
                  </a:lnTo>
                  <a:lnTo>
                    <a:pt x="482" y="137"/>
                  </a:lnTo>
                  <a:lnTo>
                    <a:pt x="497" y="174"/>
                  </a:lnTo>
                  <a:lnTo>
                    <a:pt x="507" y="213"/>
                  </a:lnTo>
                  <a:lnTo>
                    <a:pt x="510" y="254"/>
                  </a:lnTo>
                  <a:lnTo>
                    <a:pt x="507" y="294"/>
                  </a:lnTo>
                  <a:lnTo>
                    <a:pt x="497" y="334"/>
                  </a:lnTo>
                  <a:lnTo>
                    <a:pt x="482" y="370"/>
                  </a:lnTo>
                  <a:lnTo>
                    <a:pt x="461" y="403"/>
                  </a:lnTo>
                  <a:lnTo>
                    <a:pt x="435" y="433"/>
                  </a:lnTo>
                  <a:lnTo>
                    <a:pt x="405" y="458"/>
                  </a:lnTo>
                  <a:lnTo>
                    <a:pt x="372" y="479"/>
                  </a:lnTo>
                  <a:lnTo>
                    <a:pt x="336" y="495"/>
                  </a:lnTo>
                  <a:lnTo>
                    <a:pt x="297" y="504"/>
                  </a:lnTo>
                  <a:lnTo>
                    <a:pt x="256" y="507"/>
                  </a:lnTo>
                  <a:lnTo>
                    <a:pt x="214" y="504"/>
                  </a:lnTo>
                  <a:lnTo>
                    <a:pt x="175" y="495"/>
                  </a:lnTo>
                  <a:lnTo>
                    <a:pt x="138" y="479"/>
                  </a:lnTo>
                  <a:lnTo>
                    <a:pt x="104" y="458"/>
                  </a:lnTo>
                  <a:lnTo>
                    <a:pt x="75" y="433"/>
                  </a:lnTo>
                  <a:lnTo>
                    <a:pt x="49" y="403"/>
                  </a:lnTo>
                  <a:lnTo>
                    <a:pt x="28" y="370"/>
                  </a:lnTo>
                  <a:lnTo>
                    <a:pt x="13" y="334"/>
                  </a:lnTo>
                  <a:lnTo>
                    <a:pt x="3" y="294"/>
                  </a:lnTo>
                  <a:lnTo>
                    <a:pt x="0" y="254"/>
                  </a:lnTo>
                  <a:lnTo>
                    <a:pt x="3" y="213"/>
                  </a:lnTo>
                  <a:lnTo>
                    <a:pt x="13" y="174"/>
                  </a:lnTo>
                  <a:lnTo>
                    <a:pt x="28" y="137"/>
                  </a:lnTo>
                  <a:lnTo>
                    <a:pt x="49" y="104"/>
                  </a:lnTo>
                  <a:lnTo>
                    <a:pt x="75" y="74"/>
                  </a:lnTo>
                  <a:lnTo>
                    <a:pt x="104" y="49"/>
                  </a:lnTo>
                  <a:lnTo>
                    <a:pt x="138" y="28"/>
                  </a:lnTo>
                  <a:lnTo>
                    <a:pt x="175" y="14"/>
                  </a:lnTo>
                  <a:lnTo>
                    <a:pt x="214" y="3"/>
                  </a:lnTo>
                  <a:lnTo>
                    <a:pt x="2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1" name="Freeform 114">
              <a:extLst>
                <a:ext uri="{FF2B5EF4-FFF2-40B4-BE49-F238E27FC236}">
                  <a16:creationId xmlns:a16="http://schemas.microsoft.com/office/drawing/2014/main" id="{8E3C1566-043A-23F0-62F1-E394A10B30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1388" y="3789363"/>
              <a:ext cx="128588" cy="127000"/>
            </a:xfrm>
            <a:custGeom>
              <a:avLst/>
              <a:gdLst>
                <a:gd name="T0" fmla="*/ 243 w 485"/>
                <a:gd name="T1" fmla="*/ 0 h 481"/>
                <a:gd name="T2" fmla="*/ 281 w 485"/>
                <a:gd name="T3" fmla="*/ 3 h 481"/>
                <a:gd name="T4" fmla="*/ 319 w 485"/>
                <a:gd name="T5" fmla="*/ 12 h 481"/>
                <a:gd name="T6" fmla="*/ 354 w 485"/>
                <a:gd name="T7" fmla="*/ 26 h 481"/>
                <a:gd name="T8" fmla="*/ 386 w 485"/>
                <a:gd name="T9" fmla="*/ 45 h 481"/>
                <a:gd name="T10" fmla="*/ 414 w 485"/>
                <a:gd name="T11" fmla="*/ 70 h 481"/>
                <a:gd name="T12" fmla="*/ 438 w 485"/>
                <a:gd name="T13" fmla="*/ 98 h 481"/>
                <a:gd name="T14" fmla="*/ 458 w 485"/>
                <a:gd name="T15" fmla="*/ 129 h 481"/>
                <a:gd name="T16" fmla="*/ 473 w 485"/>
                <a:gd name="T17" fmla="*/ 165 h 481"/>
                <a:gd name="T18" fmla="*/ 482 w 485"/>
                <a:gd name="T19" fmla="*/ 201 h 481"/>
                <a:gd name="T20" fmla="*/ 485 w 485"/>
                <a:gd name="T21" fmla="*/ 240 h 481"/>
                <a:gd name="T22" fmla="*/ 482 w 485"/>
                <a:gd name="T23" fmla="*/ 279 h 481"/>
                <a:gd name="T24" fmla="*/ 473 w 485"/>
                <a:gd name="T25" fmla="*/ 317 h 481"/>
                <a:gd name="T26" fmla="*/ 458 w 485"/>
                <a:gd name="T27" fmla="*/ 351 h 481"/>
                <a:gd name="T28" fmla="*/ 438 w 485"/>
                <a:gd name="T29" fmla="*/ 382 h 481"/>
                <a:gd name="T30" fmla="*/ 414 w 485"/>
                <a:gd name="T31" fmla="*/ 411 h 481"/>
                <a:gd name="T32" fmla="*/ 386 w 485"/>
                <a:gd name="T33" fmla="*/ 435 h 481"/>
                <a:gd name="T34" fmla="*/ 354 w 485"/>
                <a:gd name="T35" fmla="*/ 454 h 481"/>
                <a:gd name="T36" fmla="*/ 319 w 485"/>
                <a:gd name="T37" fmla="*/ 469 h 481"/>
                <a:gd name="T38" fmla="*/ 281 w 485"/>
                <a:gd name="T39" fmla="*/ 478 h 481"/>
                <a:gd name="T40" fmla="*/ 243 w 485"/>
                <a:gd name="T41" fmla="*/ 481 h 481"/>
                <a:gd name="T42" fmla="*/ 203 w 485"/>
                <a:gd name="T43" fmla="*/ 478 h 481"/>
                <a:gd name="T44" fmla="*/ 166 w 485"/>
                <a:gd name="T45" fmla="*/ 469 h 481"/>
                <a:gd name="T46" fmla="*/ 131 w 485"/>
                <a:gd name="T47" fmla="*/ 454 h 481"/>
                <a:gd name="T48" fmla="*/ 99 w 485"/>
                <a:gd name="T49" fmla="*/ 435 h 481"/>
                <a:gd name="T50" fmla="*/ 71 w 485"/>
                <a:gd name="T51" fmla="*/ 411 h 481"/>
                <a:gd name="T52" fmla="*/ 47 w 485"/>
                <a:gd name="T53" fmla="*/ 382 h 481"/>
                <a:gd name="T54" fmla="*/ 28 w 485"/>
                <a:gd name="T55" fmla="*/ 351 h 481"/>
                <a:gd name="T56" fmla="*/ 13 w 485"/>
                <a:gd name="T57" fmla="*/ 317 h 481"/>
                <a:gd name="T58" fmla="*/ 3 w 485"/>
                <a:gd name="T59" fmla="*/ 279 h 481"/>
                <a:gd name="T60" fmla="*/ 0 w 485"/>
                <a:gd name="T61" fmla="*/ 240 h 481"/>
                <a:gd name="T62" fmla="*/ 3 w 485"/>
                <a:gd name="T63" fmla="*/ 201 h 481"/>
                <a:gd name="T64" fmla="*/ 13 w 485"/>
                <a:gd name="T65" fmla="*/ 165 h 481"/>
                <a:gd name="T66" fmla="*/ 28 w 485"/>
                <a:gd name="T67" fmla="*/ 129 h 481"/>
                <a:gd name="T68" fmla="*/ 47 w 485"/>
                <a:gd name="T69" fmla="*/ 98 h 481"/>
                <a:gd name="T70" fmla="*/ 71 w 485"/>
                <a:gd name="T71" fmla="*/ 70 h 481"/>
                <a:gd name="T72" fmla="*/ 99 w 485"/>
                <a:gd name="T73" fmla="*/ 45 h 481"/>
                <a:gd name="T74" fmla="*/ 131 w 485"/>
                <a:gd name="T75" fmla="*/ 26 h 481"/>
                <a:gd name="T76" fmla="*/ 166 w 485"/>
                <a:gd name="T77" fmla="*/ 12 h 481"/>
                <a:gd name="T78" fmla="*/ 203 w 485"/>
                <a:gd name="T79" fmla="*/ 3 h 481"/>
                <a:gd name="T80" fmla="*/ 243 w 485"/>
                <a:gd name="T8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5" h="481">
                  <a:moveTo>
                    <a:pt x="243" y="0"/>
                  </a:moveTo>
                  <a:lnTo>
                    <a:pt x="281" y="3"/>
                  </a:lnTo>
                  <a:lnTo>
                    <a:pt x="319" y="12"/>
                  </a:lnTo>
                  <a:lnTo>
                    <a:pt x="354" y="26"/>
                  </a:lnTo>
                  <a:lnTo>
                    <a:pt x="386" y="45"/>
                  </a:lnTo>
                  <a:lnTo>
                    <a:pt x="414" y="70"/>
                  </a:lnTo>
                  <a:lnTo>
                    <a:pt x="438" y="98"/>
                  </a:lnTo>
                  <a:lnTo>
                    <a:pt x="458" y="129"/>
                  </a:lnTo>
                  <a:lnTo>
                    <a:pt x="473" y="165"/>
                  </a:lnTo>
                  <a:lnTo>
                    <a:pt x="482" y="201"/>
                  </a:lnTo>
                  <a:lnTo>
                    <a:pt x="485" y="240"/>
                  </a:lnTo>
                  <a:lnTo>
                    <a:pt x="482" y="279"/>
                  </a:lnTo>
                  <a:lnTo>
                    <a:pt x="473" y="317"/>
                  </a:lnTo>
                  <a:lnTo>
                    <a:pt x="458" y="351"/>
                  </a:lnTo>
                  <a:lnTo>
                    <a:pt x="438" y="382"/>
                  </a:lnTo>
                  <a:lnTo>
                    <a:pt x="414" y="411"/>
                  </a:lnTo>
                  <a:lnTo>
                    <a:pt x="386" y="435"/>
                  </a:lnTo>
                  <a:lnTo>
                    <a:pt x="354" y="454"/>
                  </a:lnTo>
                  <a:lnTo>
                    <a:pt x="319" y="469"/>
                  </a:lnTo>
                  <a:lnTo>
                    <a:pt x="281" y="478"/>
                  </a:lnTo>
                  <a:lnTo>
                    <a:pt x="243" y="481"/>
                  </a:lnTo>
                  <a:lnTo>
                    <a:pt x="203" y="478"/>
                  </a:lnTo>
                  <a:lnTo>
                    <a:pt x="166" y="469"/>
                  </a:lnTo>
                  <a:lnTo>
                    <a:pt x="131" y="454"/>
                  </a:lnTo>
                  <a:lnTo>
                    <a:pt x="99" y="435"/>
                  </a:lnTo>
                  <a:lnTo>
                    <a:pt x="71" y="411"/>
                  </a:lnTo>
                  <a:lnTo>
                    <a:pt x="47" y="382"/>
                  </a:lnTo>
                  <a:lnTo>
                    <a:pt x="28" y="351"/>
                  </a:lnTo>
                  <a:lnTo>
                    <a:pt x="13" y="317"/>
                  </a:lnTo>
                  <a:lnTo>
                    <a:pt x="3" y="279"/>
                  </a:lnTo>
                  <a:lnTo>
                    <a:pt x="0" y="240"/>
                  </a:lnTo>
                  <a:lnTo>
                    <a:pt x="3" y="201"/>
                  </a:lnTo>
                  <a:lnTo>
                    <a:pt x="13" y="165"/>
                  </a:lnTo>
                  <a:lnTo>
                    <a:pt x="28" y="129"/>
                  </a:lnTo>
                  <a:lnTo>
                    <a:pt x="47" y="98"/>
                  </a:lnTo>
                  <a:lnTo>
                    <a:pt x="71" y="70"/>
                  </a:lnTo>
                  <a:lnTo>
                    <a:pt x="99" y="45"/>
                  </a:lnTo>
                  <a:lnTo>
                    <a:pt x="131" y="26"/>
                  </a:lnTo>
                  <a:lnTo>
                    <a:pt x="166" y="12"/>
                  </a:lnTo>
                  <a:lnTo>
                    <a:pt x="203" y="3"/>
                  </a:lnTo>
                  <a:lnTo>
                    <a:pt x="24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2" name="Freeform 115">
              <a:extLst>
                <a:ext uri="{FF2B5EF4-FFF2-40B4-BE49-F238E27FC236}">
                  <a16:creationId xmlns:a16="http://schemas.microsoft.com/office/drawing/2014/main" id="{C3707301-4990-8669-3CBE-9BFFCD4AAF8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3963" y="3717926"/>
              <a:ext cx="107950" cy="109538"/>
            </a:xfrm>
            <a:custGeom>
              <a:avLst/>
              <a:gdLst>
                <a:gd name="T0" fmla="*/ 207 w 413"/>
                <a:gd name="T1" fmla="*/ 0 h 411"/>
                <a:gd name="T2" fmla="*/ 244 w 413"/>
                <a:gd name="T3" fmla="*/ 3 h 411"/>
                <a:gd name="T4" fmla="*/ 280 w 413"/>
                <a:gd name="T5" fmla="*/ 14 h 411"/>
                <a:gd name="T6" fmla="*/ 312 w 413"/>
                <a:gd name="T7" fmla="*/ 28 h 411"/>
                <a:gd name="T8" fmla="*/ 341 w 413"/>
                <a:gd name="T9" fmla="*/ 49 h 411"/>
                <a:gd name="T10" fmla="*/ 365 w 413"/>
                <a:gd name="T11" fmla="*/ 73 h 411"/>
                <a:gd name="T12" fmla="*/ 386 w 413"/>
                <a:gd name="T13" fmla="*/ 102 h 411"/>
                <a:gd name="T14" fmla="*/ 401 w 413"/>
                <a:gd name="T15" fmla="*/ 134 h 411"/>
                <a:gd name="T16" fmla="*/ 410 w 413"/>
                <a:gd name="T17" fmla="*/ 168 h 411"/>
                <a:gd name="T18" fmla="*/ 413 w 413"/>
                <a:gd name="T19" fmla="*/ 206 h 411"/>
                <a:gd name="T20" fmla="*/ 410 w 413"/>
                <a:gd name="T21" fmla="*/ 243 h 411"/>
                <a:gd name="T22" fmla="*/ 401 w 413"/>
                <a:gd name="T23" fmla="*/ 277 h 411"/>
                <a:gd name="T24" fmla="*/ 386 w 413"/>
                <a:gd name="T25" fmla="*/ 309 h 411"/>
                <a:gd name="T26" fmla="*/ 365 w 413"/>
                <a:gd name="T27" fmla="*/ 338 h 411"/>
                <a:gd name="T28" fmla="*/ 341 w 413"/>
                <a:gd name="T29" fmla="*/ 362 h 411"/>
                <a:gd name="T30" fmla="*/ 312 w 413"/>
                <a:gd name="T31" fmla="*/ 382 h 411"/>
                <a:gd name="T32" fmla="*/ 280 w 413"/>
                <a:gd name="T33" fmla="*/ 397 h 411"/>
                <a:gd name="T34" fmla="*/ 244 w 413"/>
                <a:gd name="T35" fmla="*/ 408 h 411"/>
                <a:gd name="T36" fmla="*/ 207 w 413"/>
                <a:gd name="T37" fmla="*/ 411 h 411"/>
                <a:gd name="T38" fmla="*/ 170 w 413"/>
                <a:gd name="T39" fmla="*/ 408 h 411"/>
                <a:gd name="T40" fmla="*/ 135 w 413"/>
                <a:gd name="T41" fmla="*/ 397 h 411"/>
                <a:gd name="T42" fmla="*/ 103 w 413"/>
                <a:gd name="T43" fmla="*/ 382 h 411"/>
                <a:gd name="T44" fmla="*/ 74 w 413"/>
                <a:gd name="T45" fmla="*/ 362 h 411"/>
                <a:gd name="T46" fmla="*/ 49 w 413"/>
                <a:gd name="T47" fmla="*/ 338 h 411"/>
                <a:gd name="T48" fmla="*/ 29 w 413"/>
                <a:gd name="T49" fmla="*/ 309 h 411"/>
                <a:gd name="T50" fmla="*/ 13 w 413"/>
                <a:gd name="T51" fmla="*/ 277 h 411"/>
                <a:gd name="T52" fmla="*/ 4 w 413"/>
                <a:gd name="T53" fmla="*/ 243 h 411"/>
                <a:gd name="T54" fmla="*/ 0 w 413"/>
                <a:gd name="T55" fmla="*/ 206 h 411"/>
                <a:gd name="T56" fmla="*/ 4 w 413"/>
                <a:gd name="T57" fmla="*/ 168 h 411"/>
                <a:gd name="T58" fmla="*/ 13 w 413"/>
                <a:gd name="T59" fmla="*/ 134 h 411"/>
                <a:gd name="T60" fmla="*/ 29 w 413"/>
                <a:gd name="T61" fmla="*/ 102 h 411"/>
                <a:gd name="T62" fmla="*/ 49 w 413"/>
                <a:gd name="T63" fmla="*/ 73 h 411"/>
                <a:gd name="T64" fmla="*/ 74 w 413"/>
                <a:gd name="T65" fmla="*/ 49 h 411"/>
                <a:gd name="T66" fmla="*/ 103 w 413"/>
                <a:gd name="T67" fmla="*/ 28 h 411"/>
                <a:gd name="T68" fmla="*/ 135 w 413"/>
                <a:gd name="T69" fmla="*/ 14 h 411"/>
                <a:gd name="T70" fmla="*/ 170 w 413"/>
                <a:gd name="T71" fmla="*/ 3 h 411"/>
                <a:gd name="T72" fmla="*/ 207 w 413"/>
                <a:gd name="T73" fmla="*/ 0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13" h="411">
                  <a:moveTo>
                    <a:pt x="207" y="0"/>
                  </a:moveTo>
                  <a:lnTo>
                    <a:pt x="244" y="3"/>
                  </a:lnTo>
                  <a:lnTo>
                    <a:pt x="280" y="14"/>
                  </a:lnTo>
                  <a:lnTo>
                    <a:pt x="312" y="28"/>
                  </a:lnTo>
                  <a:lnTo>
                    <a:pt x="341" y="49"/>
                  </a:lnTo>
                  <a:lnTo>
                    <a:pt x="365" y="73"/>
                  </a:lnTo>
                  <a:lnTo>
                    <a:pt x="386" y="102"/>
                  </a:lnTo>
                  <a:lnTo>
                    <a:pt x="401" y="134"/>
                  </a:lnTo>
                  <a:lnTo>
                    <a:pt x="410" y="168"/>
                  </a:lnTo>
                  <a:lnTo>
                    <a:pt x="413" y="206"/>
                  </a:lnTo>
                  <a:lnTo>
                    <a:pt x="410" y="243"/>
                  </a:lnTo>
                  <a:lnTo>
                    <a:pt x="401" y="277"/>
                  </a:lnTo>
                  <a:lnTo>
                    <a:pt x="386" y="309"/>
                  </a:lnTo>
                  <a:lnTo>
                    <a:pt x="365" y="338"/>
                  </a:lnTo>
                  <a:lnTo>
                    <a:pt x="341" y="362"/>
                  </a:lnTo>
                  <a:lnTo>
                    <a:pt x="312" y="382"/>
                  </a:lnTo>
                  <a:lnTo>
                    <a:pt x="280" y="397"/>
                  </a:lnTo>
                  <a:lnTo>
                    <a:pt x="244" y="408"/>
                  </a:lnTo>
                  <a:lnTo>
                    <a:pt x="207" y="411"/>
                  </a:lnTo>
                  <a:lnTo>
                    <a:pt x="170" y="408"/>
                  </a:lnTo>
                  <a:lnTo>
                    <a:pt x="135" y="397"/>
                  </a:lnTo>
                  <a:lnTo>
                    <a:pt x="103" y="382"/>
                  </a:lnTo>
                  <a:lnTo>
                    <a:pt x="74" y="362"/>
                  </a:lnTo>
                  <a:lnTo>
                    <a:pt x="49" y="338"/>
                  </a:lnTo>
                  <a:lnTo>
                    <a:pt x="29" y="309"/>
                  </a:lnTo>
                  <a:lnTo>
                    <a:pt x="13" y="277"/>
                  </a:lnTo>
                  <a:lnTo>
                    <a:pt x="4" y="243"/>
                  </a:lnTo>
                  <a:lnTo>
                    <a:pt x="0" y="206"/>
                  </a:lnTo>
                  <a:lnTo>
                    <a:pt x="4" y="168"/>
                  </a:lnTo>
                  <a:lnTo>
                    <a:pt x="13" y="134"/>
                  </a:lnTo>
                  <a:lnTo>
                    <a:pt x="29" y="102"/>
                  </a:lnTo>
                  <a:lnTo>
                    <a:pt x="49" y="73"/>
                  </a:lnTo>
                  <a:lnTo>
                    <a:pt x="74" y="49"/>
                  </a:lnTo>
                  <a:lnTo>
                    <a:pt x="103" y="28"/>
                  </a:lnTo>
                  <a:lnTo>
                    <a:pt x="135" y="14"/>
                  </a:lnTo>
                  <a:lnTo>
                    <a:pt x="170" y="3"/>
                  </a:lnTo>
                  <a:lnTo>
                    <a:pt x="20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3" name="Freeform 116">
              <a:extLst>
                <a:ext uri="{FF2B5EF4-FFF2-40B4-BE49-F238E27FC236}">
                  <a16:creationId xmlns:a16="http://schemas.microsoft.com/office/drawing/2014/main" id="{8D04F967-8E77-6B3B-79E9-8C9AAE7BBD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5888" y="3489326"/>
              <a:ext cx="98425" cy="96838"/>
            </a:xfrm>
            <a:custGeom>
              <a:avLst/>
              <a:gdLst>
                <a:gd name="T0" fmla="*/ 185 w 370"/>
                <a:gd name="T1" fmla="*/ 0 h 367"/>
                <a:gd name="T2" fmla="*/ 218 w 370"/>
                <a:gd name="T3" fmla="*/ 2 h 367"/>
                <a:gd name="T4" fmla="*/ 249 w 370"/>
                <a:gd name="T5" fmla="*/ 11 h 367"/>
                <a:gd name="T6" fmla="*/ 278 w 370"/>
                <a:gd name="T7" fmla="*/ 25 h 367"/>
                <a:gd name="T8" fmla="*/ 305 w 370"/>
                <a:gd name="T9" fmla="*/ 43 h 367"/>
                <a:gd name="T10" fmla="*/ 327 w 370"/>
                <a:gd name="T11" fmla="*/ 65 h 367"/>
                <a:gd name="T12" fmla="*/ 345 w 370"/>
                <a:gd name="T13" fmla="*/ 90 h 367"/>
                <a:gd name="T14" fmla="*/ 359 w 370"/>
                <a:gd name="T15" fmla="*/ 119 h 367"/>
                <a:gd name="T16" fmla="*/ 367 w 370"/>
                <a:gd name="T17" fmla="*/ 150 h 367"/>
                <a:gd name="T18" fmla="*/ 370 w 370"/>
                <a:gd name="T19" fmla="*/ 183 h 367"/>
                <a:gd name="T20" fmla="*/ 367 w 370"/>
                <a:gd name="T21" fmla="*/ 216 h 367"/>
                <a:gd name="T22" fmla="*/ 359 w 370"/>
                <a:gd name="T23" fmla="*/ 247 h 367"/>
                <a:gd name="T24" fmla="*/ 345 w 370"/>
                <a:gd name="T25" fmla="*/ 276 h 367"/>
                <a:gd name="T26" fmla="*/ 327 w 370"/>
                <a:gd name="T27" fmla="*/ 302 h 367"/>
                <a:gd name="T28" fmla="*/ 305 w 370"/>
                <a:gd name="T29" fmla="*/ 324 h 367"/>
                <a:gd name="T30" fmla="*/ 278 w 370"/>
                <a:gd name="T31" fmla="*/ 342 h 367"/>
                <a:gd name="T32" fmla="*/ 249 w 370"/>
                <a:gd name="T33" fmla="*/ 356 h 367"/>
                <a:gd name="T34" fmla="*/ 218 w 370"/>
                <a:gd name="T35" fmla="*/ 364 h 367"/>
                <a:gd name="T36" fmla="*/ 185 w 370"/>
                <a:gd name="T37" fmla="*/ 367 h 367"/>
                <a:gd name="T38" fmla="*/ 151 w 370"/>
                <a:gd name="T39" fmla="*/ 364 h 367"/>
                <a:gd name="T40" fmla="*/ 120 w 370"/>
                <a:gd name="T41" fmla="*/ 356 h 367"/>
                <a:gd name="T42" fmla="*/ 91 w 370"/>
                <a:gd name="T43" fmla="*/ 342 h 367"/>
                <a:gd name="T44" fmla="*/ 66 w 370"/>
                <a:gd name="T45" fmla="*/ 324 h 367"/>
                <a:gd name="T46" fmla="*/ 44 w 370"/>
                <a:gd name="T47" fmla="*/ 302 h 367"/>
                <a:gd name="T48" fmla="*/ 26 w 370"/>
                <a:gd name="T49" fmla="*/ 276 h 367"/>
                <a:gd name="T50" fmla="*/ 12 w 370"/>
                <a:gd name="T51" fmla="*/ 247 h 367"/>
                <a:gd name="T52" fmla="*/ 4 w 370"/>
                <a:gd name="T53" fmla="*/ 216 h 367"/>
                <a:gd name="T54" fmla="*/ 0 w 370"/>
                <a:gd name="T55" fmla="*/ 183 h 367"/>
                <a:gd name="T56" fmla="*/ 4 w 370"/>
                <a:gd name="T57" fmla="*/ 150 h 367"/>
                <a:gd name="T58" fmla="*/ 12 w 370"/>
                <a:gd name="T59" fmla="*/ 119 h 367"/>
                <a:gd name="T60" fmla="*/ 26 w 370"/>
                <a:gd name="T61" fmla="*/ 90 h 367"/>
                <a:gd name="T62" fmla="*/ 44 w 370"/>
                <a:gd name="T63" fmla="*/ 65 h 367"/>
                <a:gd name="T64" fmla="*/ 66 w 370"/>
                <a:gd name="T65" fmla="*/ 43 h 367"/>
                <a:gd name="T66" fmla="*/ 91 w 370"/>
                <a:gd name="T67" fmla="*/ 25 h 367"/>
                <a:gd name="T68" fmla="*/ 120 w 370"/>
                <a:gd name="T69" fmla="*/ 11 h 367"/>
                <a:gd name="T70" fmla="*/ 151 w 370"/>
                <a:gd name="T71" fmla="*/ 2 h 367"/>
                <a:gd name="T72" fmla="*/ 185 w 370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70" h="367">
                  <a:moveTo>
                    <a:pt x="185" y="0"/>
                  </a:moveTo>
                  <a:lnTo>
                    <a:pt x="218" y="2"/>
                  </a:lnTo>
                  <a:lnTo>
                    <a:pt x="249" y="11"/>
                  </a:lnTo>
                  <a:lnTo>
                    <a:pt x="278" y="25"/>
                  </a:lnTo>
                  <a:lnTo>
                    <a:pt x="305" y="43"/>
                  </a:lnTo>
                  <a:lnTo>
                    <a:pt x="327" y="65"/>
                  </a:lnTo>
                  <a:lnTo>
                    <a:pt x="345" y="90"/>
                  </a:lnTo>
                  <a:lnTo>
                    <a:pt x="359" y="119"/>
                  </a:lnTo>
                  <a:lnTo>
                    <a:pt x="367" y="150"/>
                  </a:lnTo>
                  <a:lnTo>
                    <a:pt x="370" y="183"/>
                  </a:lnTo>
                  <a:lnTo>
                    <a:pt x="367" y="216"/>
                  </a:lnTo>
                  <a:lnTo>
                    <a:pt x="359" y="247"/>
                  </a:lnTo>
                  <a:lnTo>
                    <a:pt x="345" y="276"/>
                  </a:lnTo>
                  <a:lnTo>
                    <a:pt x="327" y="302"/>
                  </a:lnTo>
                  <a:lnTo>
                    <a:pt x="305" y="324"/>
                  </a:lnTo>
                  <a:lnTo>
                    <a:pt x="278" y="342"/>
                  </a:lnTo>
                  <a:lnTo>
                    <a:pt x="249" y="356"/>
                  </a:lnTo>
                  <a:lnTo>
                    <a:pt x="218" y="364"/>
                  </a:lnTo>
                  <a:lnTo>
                    <a:pt x="185" y="367"/>
                  </a:lnTo>
                  <a:lnTo>
                    <a:pt x="151" y="364"/>
                  </a:lnTo>
                  <a:lnTo>
                    <a:pt x="120" y="356"/>
                  </a:lnTo>
                  <a:lnTo>
                    <a:pt x="91" y="342"/>
                  </a:lnTo>
                  <a:lnTo>
                    <a:pt x="66" y="324"/>
                  </a:lnTo>
                  <a:lnTo>
                    <a:pt x="44" y="302"/>
                  </a:lnTo>
                  <a:lnTo>
                    <a:pt x="26" y="276"/>
                  </a:lnTo>
                  <a:lnTo>
                    <a:pt x="12" y="247"/>
                  </a:lnTo>
                  <a:lnTo>
                    <a:pt x="4" y="216"/>
                  </a:lnTo>
                  <a:lnTo>
                    <a:pt x="0" y="183"/>
                  </a:lnTo>
                  <a:lnTo>
                    <a:pt x="4" y="150"/>
                  </a:lnTo>
                  <a:lnTo>
                    <a:pt x="12" y="119"/>
                  </a:lnTo>
                  <a:lnTo>
                    <a:pt x="26" y="90"/>
                  </a:lnTo>
                  <a:lnTo>
                    <a:pt x="44" y="65"/>
                  </a:lnTo>
                  <a:lnTo>
                    <a:pt x="66" y="43"/>
                  </a:lnTo>
                  <a:lnTo>
                    <a:pt x="91" y="25"/>
                  </a:lnTo>
                  <a:lnTo>
                    <a:pt x="120" y="11"/>
                  </a:lnTo>
                  <a:lnTo>
                    <a:pt x="151" y="2"/>
                  </a:lnTo>
                  <a:lnTo>
                    <a:pt x="18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5" name="Freeform 117">
              <a:extLst>
                <a:ext uri="{FF2B5EF4-FFF2-40B4-BE49-F238E27FC236}">
                  <a16:creationId xmlns:a16="http://schemas.microsoft.com/office/drawing/2014/main" id="{B1E54791-CAA1-A017-F71F-A02734FCA0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5251" y="3219451"/>
              <a:ext cx="76200" cy="74613"/>
            </a:xfrm>
            <a:custGeom>
              <a:avLst/>
              <a:gdLst>
                <a:gd name="T0" fmla="*/ 147 w 287"/>
                <a:gd name="T1" fmla="*/ 0 h 285"/>
                <a:gd name="T2" fmla="*/ 176 w 287"/>
                <a:gd name="T3" fmla="*/ 4 h 285"/>
                <a:gd name="T4" fmla="*/ 201 w 287"/>
                <a:gd name="T5" fmla="*/ 13 h 285"/>
                <a:gd name="T6" fmla="*/ 226 w 287"/>
                <a:gd name="T7" fmla="*/ 25 h 285"/>
                <a:gd name="T8" fmla="*/ 246 w 287"/>
                <a:gd name="T9" fmla="*/ 44 h 285"/>
                <a:gd name="T10" fmla="*/ 264 w 287"/>
                <a:gd name="T11" fmla="*/ 65 h 285"/>
                <a:gd name="T12" fmla="*/ 278 w 287"/>
                <a:gd name="T13" fmla="*/ 91 h 285"/>
                <a:gd name="T14" fmla="*/ 284 w 287"/>
                <a:gd name="T15" fmla="*/ 118 h 285"/>
                <a:gd name="T16" fmla="*/ 287 w 287"/>
                <a:gd name="T17" fmla="*/ 147 h 285"/>
                <a:gd name="T18" fmla="*/ 283 w 287"/>
                <a:gd name="T19" fmla="*/ 174 h 285"/>
                <a:gd name="T20" fmla="*/ 274 w 287"/>
                <a:gd name="T21" fmla="*/ 201 h 285"/>
                <a:gd name="T22" fmla="*/ 261 w 287"/>
                <a:gd name="T23" fmla="*/ 225 h 285"/>
                <a:gd name="T24" fmla="*/ 243 w 287"/>
                <a:gd name="T25" fmla="*/ 245 h 285"/>
                <a:gd name="T26" fmla="*/ 221 w 287"/>
                <a:gd name="T27" fmla="*/ 263 h 285"/>
                <a:gd name="T28" fmla="*/ 197 w 287"/>
                <a:gd name="T29" fmla="*/ 275 h 285"/>
                <a:gd name="T30" fmla="*/ 169 w 287"/>
                <a:gd name="T31" fmla="*/ 283 h 285"/>
                <a:gd name="T32" fmla="*/ 139 w 287"/>
                <a:gd name="T33" fmla="*/ 285 h 285"/>
                <a:gd name="T34" fmla="*/ 111 w 287"/>
                <a:gd name="T35" fmla="*/ 282 h 285"/>
                <a:gd name="T36" fmla="*/ 85 w 287"/>
                <a:gd name="T37" fmla="*/ 273 h 285"/>
                <a:gd name="T38" fmla="*/ 62 w 287"/>
                <a:gd name="T39" fmla="*/ 259 h 285"/>
                <a:gd name="T40" fmla="*/ 40 w 287"/>
                <a:gd name="T41" fmla="*/ 242 h 285"/>
                <a:gd name="T42" fmla="*/ 23 w 287"/>
                <a:gd name="T43" fmla="*/ 220 h 285"/>
                <a:gd name="T44" fmla="*/ 10 w 287"/>
                <a:gd name="T45" fmla="*/ 195 h 285"/>
                <a:gd name="T46" fmla="*/ 2 w 287"/>
                <a:gd name="T47" fmla="*/ 167 h 285"/>
                <a:gd name="T48" fmla="*/ 0 w 287"/>
                <a:gd name="T49" fmla="*/ 139 h 285"/>
                <a:gd name="T50" fmla="*/ 4 w 287"/>
                <a:gd name="T51" fmla="*/ 111 h 285"/>
                <a:gd name="T52" fmla="*/ 12 w 287"/>
                <a:gd name="T53" fmla="*/ 85 h 285"/>
                <a:gd name="T54" fmla="*/ 26 w 287"/>
                <a:gd name="T55" fmla="*/ 61 h 285"/>
                <a:gd name="T56" fmla="*/ 43 w 287"/>
                <a:gd name="T57" fmla="*/ 40 h 285"/>
                <a:gd name="T58" fmla="*/ 65 w 287"/>
                <a:gd name="T59" fmla="*/ 23 h 285"/>
                <a:gd name="T60" fmla="*/ 91 w 287"/>
                <a:gd name="T61" fmla="*/ 11 h 285"/>
                <a:gd name="T62" fmla="*/ 118 w 287"/>
                <a:gd name="T63" fmla="*/ 2 h 285"/>
                <a:gd name="T64" fmla="*/ 147 w 287"/>
                <a:gd name="T65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87" h="285">
                  <a:moveTo>
                    <a:pt x="147" y="0"/>
                  </a:moveTo>
                  <a:lnTo>
                    <a:pt x="176" y="4"/>
                  </a:lnTo>
                  <a:lnTo>
                    <a:pt x="201" y="13"/>
                  </a:lnTo>
                  <a:lnTo>
                    <a:pt x="226" y="25"/>
                  </a:lnTo>
                  <a:lnTo>
                    <a:pt x="246" y="44"/>
                  </a:lnTo>
                  <a:lnTo>
                    <a:pt x="264" y="65"/>
                  </a:lnTo>
                  <a:lnTo>
                    <a:pt x="278" y="91"/>
                  </a:lnTo>
                  <a:lnTo>
                    <a:pt x="284" y="118"/>
                  </a:lnTo>
                  <a:lnTo>
                    <a:pt x="287" y="147"/>
                  </a:lnTo>
                  <a:lnTo>
                    <a:pt x="283" y="174"/>
                  </a:lnTo>
                  <a:lnTo>
                    <a:pt x="274" y="201"/>
                  </a:lnTo>
                  <a:lnTo>
                    <a:pt x="261" y="225"/>
                  </a:lnTo>
                  <a:lnTo>
                    <a:pt x="243" y="245"/>
                  </a:lnTo>
                  <a:lnTo>
                    <a:pt x="221" y="263"/>
                  </a:lnTo>
                  <a:lnTo>
                    <a:pt x="197" y="275"/>
                  </a:lnTo>
                  <a:lnTo>
                    <a:pt x="169" y="283"/>
                  </a:lnTo>
                  <a:lnTo>
                    <a:pt x="139" y="285"/>
                  </a:lnTo>
                  <a:lnTo>
                    <a:pt x="111" y="282"/>
                  </a:lnTo>
                  <a:lnTo>
                    <a:pt x="85" y="273"/>
                  </a:lnTo>
                  <a:lnTo>
                    <a:pt x="62" y="259"/>
                  </a:lnTo>
                  <a:lnTo>
                    <a:pt x="40" y="242"/>
                  </a:lnTo>
                  <a:lnTo>
                    <a:pt x="23" y="220"/>
                  </a:lnTo>
                  <a:lnTo>
                    <a:pt x="10" y="195"/>
                  </a:lnTo>
                  <a:lnTo>
                    <a:pt x="2" y="167"/>
                  </a:lnTo>
                  <a:lnTo>
                    <a:pt x="0" y="139"/>
                  </a:lnTo>
                  <a:lnTo>
                    <a:pt x="4" y="111"/>
                  </a:lnTo>
                  <a:lnTo>
                    <a:pt x="12" y="85"/>
                  </a:lnTo>
                  <a:lnTo>
                    <a:pt x="26" y="61"/>
                  </a:lnTo>
                  <a:lnTo>
                    <a:pt x="43" y="40"/>
                  </a:lnTo>
                  <a:lnTo>
                    <a:pt x="65" y="23"/>
                  </a:lnTo>
                  <a:lnTo>
                    <a:pt x="91" y="11"/>
                  </a:lnTo>
                  <a:lnTo>
                    <a:pt x="118" y="2"/>
                  </a:lnTo>
                  <a:lnTo>
                    <a:pt x="1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1" name="Freeform 118">
              <a:extLst>
                <a:ext uri="{FF2B5EF4-FFF2-40B4-BE49-F238E27FC236}">
                  <a16:creationId xmlns:a16="http://schemas.microsoft.com/office/drawing/2014/main" id="{892E1108-B491-EE2D-6A58-0B857FD4871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1576" y="3035301"/>
              <a:ext cx="52388" cy="52388"/>
            </a:xfrm>
            <a:custGeom>
              <a:avLst/>
              <a:gdLst>
                <a:gd name="T0" fmla="*/ 100 w 200"/>
                <a:gd name="T1" fmla="*/ 0 h 199"/>
                <a:gd name="T2" fmla="*/ 127 w 200"/>
                <a:gd name="T3" fmla="*/ 4 h 199"/>
                <a:gd name="T4" fmla="*/ 150 w 200"/>
                <a:gd name="T5" fmla="*/ 14 h 199"/>
                <a:gd name="T6" fmla="*/ 171 w 200"/>
                <a:gd name="T7" fmla="*/ 29 h 199"/>
                <a:gd name="T8" fmla="*/ 186 w 200"/>
                <a:gd name="T9" fmla="*/ 50 h 199"/>
                <a:gd name="T10" fmla="*/ 196 w 200"/>
                <a:gd name="T11" fmla="*/ 73 h 199"/>
                <a:gd name="T12" fmla="*/ 200 w 200"/>
                <a:gd name="T13" fmla="*/ 99 h 199"/>
                <a:gd name="T14" fmla="*/ 196 w 200"/>
                <a:gd name="T15" fmla="*/ 125 h 199"/>
                <a:gd name="T16" fmla="*/ 186 w 200"/>
                <a:gd name="T17" fmla="*/ 149 h 199"/>
                <a:gd name="T18" fmla="*/ 171 w 200"/>
                <a:gd name="T19" fmla="*/ 169 h 199"/>
                <a:gd name="T20" fmla="*/ 150 w 200"/>
                <a:gd name="T21" fmla="*/ 185 h 199"/>
                <a:gd name="T22" fmla="*/ 127 w 200"/>
                <a:gd name="T23" fmla="*/ 195 h 199"/>
                <a:gd name="T24" fmla="*/ 100 w 200"/>
                <a:gd name="T25" fmla="*/ 199 h 199"/>
                <a:gd name="T26" fmla="*/ 74 w 200"/>
                <a:gd name="T27" fmla="*/ 195 h 199"/>
                <a:gd name="T28" fmla="*/ 50 w 200"/>
                <a:gd name="T29" fmla="*/ 185 h 199"/>
                <a:gd name="T30" fmla="*/ 30 w 200"/>
                <a:gd name="T31" fmla="*/ 169 h 199"/>
                <a:gd name="T32" fmla="*/ 14 w 200"/>
                <a:gd name="T33" fmla="*/ 149 h 199"/>
                <a:gd name="T34" fmla="*/ 5 w 200"/>
                <a:gd name="T35" fmla="*/ 125 h 199"/>
                <a:gd name="T36" fmla="*/ 0 w 200"/>
                <a:gd name="T37" fmla="*/ 99 h 199"/>
                <a:gd name="T38" fmla="*/ 5 w 200"/>
                <a:gd name="T39" fmla="*/ 73 h 199"/>
                <a:gd name="T40" fmla="*/ 14 w 200"/>
                <a:gd name="T41" fmla="*/ 50 h 199"/>
                <a:gd name="T42" fmla="*/ 30 w 200"/>
                <a:gd name="T43" fmla="*/ 29 h 199"/>
                <a:gd name="T44" fmla="*/ 50 w 200"/>
                <a:gd name="T45" fmla="*/ 14 h 199"/>
                <a:gd name="T46" fmla="*/ 74 w 200"/>
                <a:gd name="T47" fmla="*/ 4 h 199"/>
                <a:gd name="T48" fmla="*/ 100 w 200"/>
                <a:gd name="T49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0" h="199">
                  <a:moveTo>
                    <a:pt x="100" y="0"/>
                  </a:moveTo>
                  <a:lnTo>
                    <a:pt x="127" y="4"/>
                  </a:lnTo>
                  <a:lnTo>
                    <a:pt x="150" y="14"/>
                  </a:lnTo>
                  <a:lnTo>
                    <a:pt x="171" y="29"/>
                  </a:lnTo>
                  <a:lnTo>
                    <a:pt x="186" y="50"/>
                  </a:lnTo>
                  <a:lnTo>
                    <a:pt x="196" y="73"/>
                  </a:lnTo>
                  <a:lnTo>
                    <a:pt x="200" y="99"/>
                  </a:lnTo>
                  <a:lnTo>
                    <a:pt x="196" y="125"/>
                  </a:lnTo>
                  <a:lnTo>
                    <a:pt x="186" y="149"/>
                  </a:lnTo>
                  <a:lnTo>
                    <a:pt x="171" y="169"/>
                  </a:lnTo>
                  <a:lnTo>
                    <a:pt x="150" y="185"/>
                  </a:lnTo>
                  <a:lnTo>
                    <a:pt x="127" y="195"/>
                  </a:lnTo>
                  <a:lnTo>
                    <a:pt x="100" y="199"/>
                  </a:lnTo>
                  <a:lnTo>
                    <a:pt x="74" y="195"/>
                  </a:lnTo>
                  <a:lnTo>
                    <a:pt x="50" y="185"/>
                  </a:lnTo>
                  <a:lnTo>
                    <a:pt x="30" y="169"/>
                  </a:lnTo>
                  <a:lnTo>
                    <a:pt x="14" y="149"/>
                  </a:lnTo>
                  <a:lnTo>
                    <a:pt x="5" y="125"/>
                  </a:lnTo>
                  <a:lnTo>
                    <a:pt x="0" y="99"/>
                  </a:lnTo>
                  <a:lnTo>
                    <a:pt x="5" y="73"/>
                  </a:lnTo>
                  <a:lnTo>
                    <a:pt x="14" y="50"/>
                  </a:lnTo>
                  <a:lnTo>
                    <a:pt x="30" y="29"/>
                  </a:lnTo>
                  <a:lnTo>
                    <a:pt x="50" y="14"/>
                  </a:lnTo>
                  <a:lnTo>
                    <a:pt x="74" y="4"/>
                  </a:lnTo>
                  <a:lnTo>
                    <a:pt x="1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2" name="Freeform 119">
              <a:extLst>
                <a:ext uri="{FF2B5EF4-FFF2-40B4-BE49-F238E27FC236}">
                  <a16:creationId xmlns:a16="http://schemas.microsoft.com/office/drawing/2014/main" id="{16E1459D-A0AB-B8FC-DF3D-D43297EAE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3276" y="2933701"/>
              <a:ext cx="220663" cy="220663"/>
            </a:xfrm>
            <a:custGeom>
              <a:avLst/>
              <a:gdLst>
                <a:gd name="T0" fmla="*/ 418 w 837"/>
                <a:gd name="T1" fmla="*/ 0 h 831"/>
                <a:gd name="T2" fmla="*/ 418 w 837"/>
                <a:gd name="T3" fmla="*/ 0 h 831"/>
                <a:gd name="T4" fmla="*/ 471 w 837"/>
                <a:gd name="T5" fmla="*/ 3 h 831"/>
                <a:gd name="T6" fmla="*/ 521 w 837"/>
                <a:gd name="T7" fmla="*/ 13 h 831"/>
                <a:gd name="T8" fmla="*/ 569 w 837"/>
                <a:gd name="T9" fmla="*/ 28 h 831"/>
                <a:gd name="T10" fmla="*/ 615 w 837"/>
                <a:gd name="T11" fmla="*/ 49 h 831"/>
                <a:gd name="T12" fmla="*/ 657 w 837"/>
                <a:gd name="T13" fmla="*/ 74 h 831"/>
                <a:gd name="T14" fmla="*/ 696 w 837"/>
                <a:gd name="T15" fmla="*/ 105 h 831"/>
                <a:gd name="T16" fmla="*/ 731 w 837"/>
                <a:gd name="T17" fmla="*/ 139 h 831"/>
                <a:gd name="T18" fmla="*/ 762 w 837"/>
                <a:gd name="T19" fmla="*/ 178 h 831"/>
                <a:gd name="T20" fmla="*/ 787 w 837"/>
                <a:gd name="T21" fmla="*/ 221 h 831"/>
                <a:gd name="T22" fmla="*/ 808 w 837"/>
                <a:gd name="T23" fmla="*/ 265 h 831"/>
                <a:gd name="T24" fmla="*/ 824 w 837"/>
                <a:gd name="T25" fmla="*/ 313 h 831"/>
                <a:gd name="T26" fmla="*/ 833 w 837"/>
                <a:gd name="T27" fmla="*/ 364 h 831"/>
                <a:gd name="T28" fmla="*/ 837 w 837"/>
                <a:gd name="T29" fmla="*/ 417 h 831"/>
                <a:gd name="T30" fmla="*/ 833 w 837"/>
                <a:gd name="T31" fmla="*/ 468 h 831"/>
                <a:gd name="T32" fmla="*/ 824 w 837"/>
                <a:gd name="T33" fmla="*/ 519 h 831"/>
                <a:gd name="T34" fmla="*/ 808 w 837"/>
                <a:gd name="T35" fmla="*/ 567 h 831"/>
                <a:gd name="T36" fmla="*/ 787 w 837"/>
                <a:gd name="T37" fmla="*/ 611 h 831"/>
                <a:gd name="T38" fmla="*/ 762 w 837"/>
                <a:gd name="T39" fmla="*/ 654 h 831"/>
                <a:gd name="T40" fmla="*/ 731 w 837"/>
                <a:gd name="T41" fmla="*/ 693 h 831"/>
                <a:gd name="T42" fmla="*/ 696 w 837"/>
                <a:gd name="T43" fmla="*/ 727 h 831"/>
                <a:gd name="T44" fmla="*/ 657 w 837"/>
                <a:gd name="T45" fmla="*/ 757 h 831"/>
                <a:gd name="T46" fmla="*/ 615 w 837"/>
                <a:gd name="T47" fmla="*/ 783 h 831"/>
                <a:gd name="T48" fmla="*/ 569 w 837"/>
                <a:gd name="T49" fmla="*/ 804 h 831"/>
                <a:gd name="T50" fmla="*/ 521 w 837"/>
                <a:gd name="T51" fmla="*/ 819 h 831"/>
                <a:gd name="T52" fmla="*/ 471 w 837"/>
                <a:gd name="T53" fmla="*/ 829 h 831"/>
                <a:gd name="T54" fmla="*/ 418 w 837"/>
                <a:gd name="T55" fmla="*/ 831 h 831"/>
                <a:gd name="T56" fmla="*/ 365 w 837"/>
                <a:gd name="T57" fmla="*/ 829 h 831"/>
                <a:gd name="T58" fmla="*/ 316 w 837"/>
                <a:gd name="T59" fmla="*/ 819 h 831"/>
                <a:gd name="T60" fmla="*/ 267 w 837"/>
                <a:gd name="T61" fmla="*/ 804 h 831"/>
                <a:gd name="T62" fmla="*/ 221 w 837"/>
                <a:gd name="T63" fmla="*/ 783 h 831"/>
                <a:gd name="T64" fmla="*/ 179 w 837"/>
                <a:gd name="T65" fmla="*/ 757 h 831"/>
                <a:gd name="T66" fmla="*/ 140 w 837"/>
                <a:gd name="T67" fmla="*/ 727 h 831"/>
                <a:gd name="T68" fmla="*/ 106 w 837"/>
                <a:gd name="T69" fmla="*/ 693 h 831"/>
                <a:gd name="T70" fmla="*/ 75 w 837"/>
                <a:gd name="T71" fmla="*/ 654 h 831"/>
                <a:gd name="T72" fmla="*/ 48 w 837"/>
                <a:gd name="T73" fmla="*/ 611 h 831"/>
                <a:gd name="T74" fmla="*/ 27 w 837"/>
                <a:gd name="T75" fmla="*/ 567 h 831"/>
                <a:gd name="T76" fmla="*/ 12 w 837"/>
                <a:gd name="T77" fmla="*/ 519 h 831"/>
                <a:gd name="T78" fmla="*/ 3 w 837"/>
                <a:gd name="T79" fmla="*/ 468 h 831"/>
                <a:gd name="T80" fmla="*/ 0 w 837"/>
                <a:gd name="T81" fmla="*/ 417 h 831"/>
                <a:gd name="T82" fmla="*/ 3 w 837"/>
                <a:gd name="T83" fmla="*/ 364 h 831"/>
                <a:gd name="T84" fmla="*/ 12 w 837"/>
                <a:gd name="T85" fmla="*/ 313 h 831"/>
                <a:gd name="T86" fmla="*/ 27 w 837"/>
                <a:gd name="T87" fmla="*/ 265 h 831"/>
                <a:gd name="T88" fmla="*/ 48 w 837"/>
                <a:gd name="T89" fmla="*/ 221 h 831"/>
                <a:gd name="T90" fmla="*/ 75 w 837"/>
                <a:gd name="T91" fmla="*/ 178 h 831"/>
                <a:gd name="T92" fmla="*/ 106 w 837"/>
                <a:gd name="T93" fmla="*/ 139 h 831"/>
                <a:gd name="T94" fmla="*/ 140 w 837"/>
                <a:gd name="T95" fmla="*/ 105 h 831"/>
                <a:gd name="T96" fmla="*/ 179 w 837"/>
                <a:gd name="T97" fmla="*/ 74 h 831"/>
                <a:gd name="T98" fmla="*/ 221 w 837"/>
                <a:gd name="T99" fmla="*/ 49 h 831"/>
                <a:gd name="T100" fmla="*/ 267 w 837"/>
                <a:gd name="T101" fmla="*/ 28 h 831"/>
                <a:gd name="T102" fmla="*/ 316 w 837"/>
                <a:gd name="T103" fmla="*/ 13 h 831"/>
                <a:gd name="T104" fmla="*/ 365 w 837"/>
                <a:gd name="T105" fmla="*/ 3 h 831"/>
                <a:gd name="T106" fmla="*/ 418 w 837"/>
                <a:gd name="T107" fmla="*/ 0 h 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37" h="831">
                  <a:moveTo>
                    <a:pt x="418" y="0"/>
                  </a:moveTo>
                  <a:lnTo>
                    <a:pt x="418" y="0"/>
                  </a:lnTo>
                  <a:lnTo>
                    <a:pt x="471" y="3"/>
                  </a:lnTo>
                  <a:lnTo>
                    <a:pt x="521" y="13"/>
                  </a:lnTo>
                  <a:lnTo>
                    <a:pt x="569" y="28"/>
                  </a:lnTo>
                  <a:lnTo>
                    <a:pt x="615" y="49"/>
                  </a:lnTo>
                  <a:lnTo>
                    <a:pt x="657" y="74"/>
                  </a:lnTo>
                  <a:lnTo>
                    <a:pt x="696" y="105"/>
                  </a:lnTo>
                  <a:lnTo>
                    <a:pt x="731" y="139"/>
                  </a:lnTo>
                  <a:lnTo>
                    <a:pt x="762" y="178"/>
                  </a:lnTo>
                  <a:lnTo>
                    <a:pt x="787" y="221"/>
                  </a:lnTo>
                  <a:lnTo>
                    <a:pt x="808" y="265"/>
                  </a:lnTo>
                  <a:lnTo>
                    <a:pt x="824" y="313"/>
                  </a:lnTo>
                  <a:lnTo>
                    <a:pt x="833" y="364"/>
                  </a:lnTo>
                  <a:lnTo>
                    <a:pt x="837" y="417"/>
                  </a:lnTo>
                  <a:lnTo>
                    <a:pt x="833" y="468"/>
                  </a:lnTo>
                  <a:lnTo>
                    <a:pt x="824" y="519"/>
                  </a:lnTo>
                  <a:lnTo>
                    <a:pt x="808" y="567"/>
                  </a:lnTo>
                  <a:lnTo>
                    <a:pt x="787" y="611"/>
                  </a:lnTo>
                  <a:lnTo>
                    <a:pt x="762" y="654"/>
                  </a:lnTo>
                  <a:lnTo>
                    <a:pt x="731" y="693"/>
                  </a:lnTo>
                  <a:lnTo>
                    <a:pt x="696" y="727"/>
                  </a:lnTo>
                  <a:lnTo>
                    <a:pt x="657" y="757"/>
                  </a:lnTo>
                  <a:lnTo>
                    <a:pt x="615" y="783"/>
                  </a:lnTo>
                  <a:lnTo>
                    <a:pt x="569" y="804"/>
                  </a:lnTo>
                  <a:lnTo>
                    <a:pt x="521" y="819"/>
                  </a:lnTo>
                  <a:lnTo>
                    <a:pt x="471" y="829"/>
                  </a:lnTo>
                  <a:lnTo>
                    <a:pt x="418" y="831"/>
                  </a:lnTo>
                  <a:lnTo>
                    <a:pt x="365" y="829"/>
                  </a:lnTo>
                  <a:lnTo>
                    <a:pt x="316" y="819"/>
                  </a:lnTo>
                  <a:lnTo>
                    <a:pt x="267" y="804"/>
                  </a:lnTo>
                  <a:lnTo>
                    <a:pt x="221" y="783"/>
                  </a:lnTo>
                  <a:lnTo>
                    <a:pt x="179" y="757"/>
                  </a:lnTo>
                  <a:lnTo>
                    <a:pt x="140" y="727"/>
                  </a:lnTo>
                  <a:lnTo>
                    <a:pt x="106" y="693"/>
                  </a:lnTo>
                  <a:lnTo>
                    <a:pt x="75" y="654"/>
                  </a:lnTo>
                  <a:lnTo>
                    <a:pt x="48" y="611"/>
                  </a:lnTo>
                  <a:lnTo>
                    <a:pt x="27" y="567"/>
                  </a:lnTo>
                  <a:lnTo>
                    <a:pt x="12" y="519"/>
                  </a:lnTo>
                  <a:lnTo>
                    <a:pt x="3" y="468"/>
                  </a:lnTo>
                  <a:lnTo>
                    <a:pt x="0" y="417"/>
                  </a:lnTo>
                  <a:lnTo>
                    <a:pt x="3" y="364"/>
                  </a:lnTo>
                  <a:lnTo>
                    <a:pt x="12" y="313"/>
                  </a:lnTo>
                  <a:lnTo>
                    <a:pt x="27" y="265"/>
                  </a:lnTo>
                  <a:lnTo>
                    <a:pt x="48" y="221"/>
                  </a:lnTo>
                  <a:lnTo>
                    <a:pt x="75" y="178"/>
                  </a:lnTo>
                  <a:lnTo>
                    <a:pt x="106" y="139"/>
                  </a:lnTo>
                  <a:lnTo>
                    <a:pt x="140" y="105"/>
                  </a:lnTo>
                  <a:lnTo>
                    <a:pt x="179" y="74"/>
                  </a:lnTo>
                  <a:lnTo>
                    <a:pt x="221" y="49"/>
                  </a:lnTo>
                  <a:lnTo>
                    <a:pt x="267" y="28"/>
                  </a:lnTo>
                  <a:lnTo>
                    <a:pt x="316" y="13"/>
                  </a:lnTo>
                  <a:lnTo>
                    <a:pt x="365" y="3"/>
                  </a:lnTo>
                  <a:lnTo>
                    <a:pt x="4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3" name="Freeform 120">
              <a:extLst>
                <a:ext uri="{FF2B5EF4-FFF2-40B4-BE49-F238E27FC236}">
                  <a16:creationId xmlns:a16="http://schemas.microsoft.com/office/drawing/2014/main" id="{A1D3D228-1D87-FA37-AD03-449439CF01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99151" y="3221038"/>
              <a:ext cx="84138" cy="120650"/>
            </a:xfrm>
            <a:custGeom>
              <a:avLst/>
              <a:gdLst>
                <a:gd name="T0" fmla="*/ 90 w 318"/>
                <a:gd name="T1" fmla="*/ 60 h 454"/>
                <a:gd name="T2" fmla="*/ 78 w 318"/>
                <a:gd name="T3" fmla="*/ 62 h 454"/>
                <a:gd name="T4" fmla="*/ 68 w 318"/>
                <a:gd name="T5" fmla="*/ 68 h 454"/>
                <a:gd name="T6" fmla="*/ 62 w 318"/>
                <a:gd name="T7" fmla="*/ 77 h 454"/>
                <a:gd name="T8" fmla="*/ 60 w 318"/>
                <a:gd name="T9" fmla="*/ 89 h 454"/>
                <a:gd name="T10" fmla="*/ 60 w 318"/>
                <a:gd name="T11" fmla="*/ 365 h 454"/>
                <a:gd name="T12" fmla="*/ 62 w 318"/>
                <a:gd name="T13" fmla="*/ 376 h 454"/>
                <a:gd name="T14" fmla="*/ 68 w 318"/>
                <a:gd name="T15" fmla="*/ 386 h 454"/>
                <a:gd name="T16" fmla="*/ 77 w 318"/>
                <a:gd name="T17" fmla="*/ 392 h 454"/>
                <a:gd name="T18" fmla="*/ 90 w 318"/>
                <a:gd name="T19" fmla="*/ 394 h 454"/>
                <a:gd name="T20" fmla="*/ 228 w 318"/>
                <a:gd name="T21" fmla="*/ 394 h 454"/>
                <a:gd name="T22" fmla="*/ 239 w 318"/>
                <a:gd name="T23" fmla="*/ 392 h 454"/>
                <a:gd name="T24" fmla="*/ 249 w 318"/>
                <a:gd name="T25" fmla="*/ 386 h 454"/>
                <a:gd name="T26" fmla="*/ 256 w 318"/>
                <a:gd name="T27" fmla="*/ 376 h 454"/>
                <a:gd name="T28" fmla="*/ 258 w 318"/>
                <a:gd name="T29" fmla="*/ 365 h 454"/>
                <a:gd name="T30" fmla="*/ 258 w 318"/>
                <a:gd name="T31" fmla="*/ 89 h 454"/>
                <a:gd name="T32" fmla="*/ 256 w 318"/>
                <a:gd name="T33" fmla="*/ 77 h 454"/>
                <a:gd name="T34" fmla="*/ 249 w 318"/>
                <a:gd name="T35" fmla="*/ 68 h 454"/>
                <a:gd name="T36" fmla="*/ 239 w 318"/>
                <a:gd name="T37" fmla="*/ 62 h 454"/>
                <a:gd name="T38" fmla="*/ 228 w 318"/>
                <a:gd name="T39" fmla="*/ 60 h 454"/>
                <a:gd name="T40" fmla="*/ 90 w 318"/>
                <a:gd name="T41" fmla="*/ 60 h 454"/>
                <a:gd name="T42" fmla="*/ 90 w 318"/>
                <a:gd name="T43" fmla="*/ 0 h 454"/>
                <a:gd name="T44" fmla="*/ 228 w 318"/>
                <a:gd name="T45" fmla="*/ 0 h 454"/>
                <a:gd name="T46" fmla="*/ 252 w 318"/>
                <a:gd name="T47" fmla="*/ 4 h 454"/>
                <a:gd name="T48" fmla="*/ 273 w 318"/>
                <a:gd name="T49" fmla="*/ 12 h 454"/>
                <a:gd name="T50" fmla="*/ 291 w 318"/>
                <a:gd name="T51" fmla="*/ 27 h 454"/>
                <a:gd name="T52" fmla="*/ 305 w 318"/>
                <a:gd name="T53" fmla="*/ 44 h 454"/>
                <a:gd name="T54" fmla="*/ 314 w 318"/>
                <a:gd name="T55" fmla="*/ 66 h 454"/>
                <a:gd name="T56" fmla="*/ 318 w 318"/>
                <a:gd name="T57" fmla="*/ 89 h 454"/>
                <a:gd name="T58" fmla="*/ 318 w 318"/>
                <a:gd name="T59" fmla="*/ 365 h 454"/>
                <a:gd name="T60" fmla="*/ 314 w 318"/>
                <a:gd name="T61" fmla="*/ 389 h 454"/>
                <a:gd name="T62" fmla="*/ 305 w 318"/>
                <a:gd name="T63" fmla="*/ 409 h 454"/>
                <a:gd name="T64" fmla="*/ 291 w 318"/>
                <a:gd name="T65" fmla="*/ 428 h 454"/>
                <a:gd name="T66" fmla="*/ 273 w 318"/>
                <a:gd name="T67" fmla="*/ 441 h 454"/>
                <a:gd name="T68" fmla="*/ 252 w 318"/>
                <a:gd name="T69" fmla="*/ 451 h 454"/>
                <a:gd name="T70" fmla="*/ 228 w 318"/>
                <a:gd name="T71" fmla="*/ 454 h 454"/>
                <a:gd name="T72" fmla="*/ 90 w 318"/>
                <a:gd name="T73" fmla="*/ 454 h 454"/>
                <a:gd name="T74" fmla="*/ 65 w 318"/>
                <a:gd name="T75" fmla="*/ 451 h 454"/>
                <a:gd name="T76" fmla="*/ 43 w 318"/>
                <a:gd name="T77" fmla="*/ 441 h 454"/>
                <a:gd name="T78" fmla="*/ 26 w 318"/>
                <a:gd name="T79" fmla="*/ 428 h 454"/>
                <a:gd name="T80" fmla="*/ 12 w 318"/>
                <a:gd name="T81" fmla="*/ 409 h 454"/>
                <a:gd name="T82" fmla="*/ 3 w 318"/>
                <a:gd name="T83" fmla="*/ 389 h 454"/>
                <a:gd name="T84" fmla="*/ 0 w 318"/>
                <a:gd name="T85" fmla="*/ 365 h 454"/>
                <a:gd name="T86" fmla="*/ 0 w 318"/>
                <a:gd name="T87" fmla="*/ 89 h 454"/>
                <a:gd name="T88" fmla="*/ 3 w 318"/>
                <a:gd name="T89" fmla="*/ 66 h 454"/>
                <a:gd name="T90" fmla="*/ 12 w 318"/>
                <a:gd name="T91" fmla="*/ 44 h 454"/>
                <a:gd name="T92" fmla="*/ 26 w 318"/>
                <a:gd name="T93" fmla="*/ 27 h 454"/>
                <a:gd name="T94" fmla="*/ 43 w 318"/>
                <a:gd name="T95" fmla="*/ 12 h 454"/>
                <a:gd name="T96" fmla="*/ 65 w 318"/>
                <a:gd name="T97" fmla="*/ 4 h 454"/>
                <a:gd name="T98" fmla="*/ 90 w 318"/>
                <a:gd name="T99" fmla="*/ 0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18" h="454">
                  <a:moveTo>
                    <a:pt x="90" y="60"/>
                  </a:moveTo>
                  <a:lnTo>
                    <a:pt x="78" y="62"/>
                  </a:lnTo>
                  <a:lnTo>
                    <a:pt x="68" y="68"/>
                  </a:lnTo>
                  <a:lnTo>
                    <a:pt x="62" y="77"/>
                  </a:lnTo>
                  <a:lnTo>
                    <a:pt x="60" y="89"/>
                  </a:lnTo>
                  <a:lnTo>
                    <a:pt x="60" y="365"/>
                  </a:lnTo>
                  <a:lnTo>
                    <a:pt x="62" y="376"/>
                  </a:lnTo>
                  <a:lnTo>
                    <a:pt x="68" y="386"/>
                  </a:lnTo>
                  <a:lnTo>
                    <a:pt x="77" y="392"/>
                  </a:lnTo>
                  <a:lnTo>
                    <a:pt x="90" y="394"/>
                  </a:lnTo>
                  <a:lnTo>
                    <a:pt x="228" y="394"/>
                  </a:lnTo>
                  <a:lnTo>
                    <a:pt x="239" y="392"/>
                  </a:lnTo>
                  <a:lnTo>
                    <a:pt x="249" y="386"/>
                  </a:lnTo>
                  <a:lnTo>
                    <a:pt x="256" y="376"/>
                  </a:lnTo>
                  <a:lnTo>
                    <a:pt x="258" y="365"/>
                  </a:lnTo>
                  <a:lnTo>
                    <a:pt x="258" y="89"/>
                  </a:lnTo>
                  <a:lnTo>
                    <a:pt x="256" y="77"/>
                  </a:lnTo>
                  <a:lnTo>
                    <a:pt x="249" y="68"/>
                  </a:lnTo>
                  <a:lnTo>
                    <a:pt x="239" y="62"/>
                  </a:lnTo>
                  <a:lnTo>
                    <a:pt x="228" y="60"/>
                  </a:lnTo>
                  <a:lnTo>
                    <a:pt x="90" y="60"/>
                  </a:lnTo>
                  <a:close/>
                  <a:moveTo>
                    <a:pt x="90" y="0"/>
                  </a:moveTo>
                  <a:lnTo>
                    <a:pt x="228" y="0"/>
                  </a:lnTo>
                  <a:lnTo>
                    <a:pt x="252" y="4"/>
                  </a:lnTo>
                  <a:lnTo>
                    <a:pt x="273" y="12"/>
                  </a:lnTo>
                  <a:lnTo>
                    <a:pt x="291" y="27"/>
                  </a:lnTo>
                  <a:lnTo>
                    <a:pt x="305" y="44"/>
                  </a:lnTo>
                  <a:lnTo>
                    <a:pt x="314" y="66"/>
                  </a:lnTo>
                  <a:lnTo>
                    <a:pt x="318" y="89"/>
                  </a:lnTo>
                  <a:lnTo>
                    <a:pt x="318" y="365"/>
                  </a:lnTo>
                  <a:lnTo>
                    <a:pt x="314" y="389"/>
                  </a:lnTo>
                  <a:lnTo>
                    <a:pt x="305" y="409"/>
                  </a:lnTo>
                  <a:lnTo>
                    <a:pt x="291" y="428"/>
                  </a:lnTo>
                  <a:lnTo>
                    <a:pt x="273" y="441"/>
                  </a:lnTo>
                  <a:lnTo>
                    <a:pt x="252" y="451"/>
                  </a:lnTo>
                  <a:lnTo>
                    <a:pt x="228" y="454"/>
                  </a:lnTo>
                  <a:lnTo>
                    <a:pt x="90" y="454"/>
                  </a:lnTo>
                  <a:lnTo>
                    <a:pt x="65" y="451"/>
                  </a:lnTo>
                  <a:lnTo>
                    <a:pt x="43" y="441"/>
                  </a:lnTo>
                  <a:lnTo>
                    <a:pt x="26" y="428"/>
                  </a:lnTo>
                  <a:lnTo>
                    <a:pt x="12" y="409"/>
                  </a:lnTo>
                  <a:lnTo>
                    <a:pt x="3" y="389"/>
                  </a:lnTo>
                  <a:lnTo>
                    <a:pt x="0" y="365"/>
                  </a:lnTo>
                  <a:lnTo>
                    <a:pt x="0" y="89"/>
                  </a:lnTo>
                  <a:lnTo>
                    <a:pt x="3" y="66"/>
                  </a:lnTo>
                  <a:lnTo>
                    <a:pt x="12" y="44"/>
                  </a:lnTo>
                  <a:lnTo>
                    <a:pt x="26" y="27"/>
                  </a:lnTo>
                  <a:lnTo>
                    <a:pt x="43" y="12"/>
                  </a:lnTo>
                  <a:lnTo>
                    <a:pt x="65" y="4"/>
                  </a:lnTo>
                  <a:lnTo>
                    <a:pt x="9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4" name="Freeform 121">
              <a:extLst>
                <a:ext uri="{FF2B5EF4-FFF2-40B4-BE49-F238E27FC236}">
                  <a16:creationId xmlns:a16="http://schemas.microsoft.com/office/drawing/2014/main" id="{7EDF457E-5DB7-7ABC-8AAE-0B58DA9CF4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30926" y="3221038"/>
              <a:ext cx="84138" cy="120650"/>
            </a:xfrm>
            <a:custGeom>
              <a:avLst/>
              <a:gdLst>
                <a:gd name="T0" fmla="*/ 90 w 318"/>
                <a:gd name="T1" fmla="*/ 60 h 454"/>
                <a:gd name="T2" fmla="*/ 79 w 318"/>
                <a:gd name="T3" fmla="*/ 62 h 454"/>
                <a:gd name="T4" fmla="*/ 68 w 318"/>
                <a:gd name="T5" fmla="*/ 68 h 454"/>
                <a:gd name="T6" fmla="*/ 62 w 318"/>
                <a:gd name="T7" fmla="*/ 77 h 454"/>
                <a:gd name="T8" fmla="*/ 60 w 318"/>
                <a:gd name="T9" fmla="*/ 89 h 454"/>
                <a:gd name="T10" fmla="*/ 60 w 318"/>
                <a:gd name="T11" fmla="*/ 365 h 454"/>
                <a:gd name="T12" fmla="*/ 62 w 318"/>
                <a:gd name="T13" fmla="*/ 376 h 454"/>
                <a:gd name="T14" fmla="*/ 68 w 318"/>
                <a:gd name="T15" fmla="*/ 386 h 454"/>
                <a:gd name="T16" fmla="*/ 79 w 318"/>
                <a:gd name="T17" fmla="*/ 392 h 454"/>
                <a:gd name="T18" fmla="*/ 90 w 318"/>
                <a:gd name="T19" fmla="*/ 394 h 454"/>
                <a:gd name="T20" fmla="*/ 228 w 318"/>
                <a:gd name="T21" fmla="*/ 394 h 454"/>
                <a:gd name="T22" fmla="*/ 240 w 318"/>
                <a:gd name="T23" fmla="*/ 392 h 454"/>
                <a:gd name="T24" fmla="*/ 249 w 318"/>
                <a:gd name="T25" fmla="*/ 386 h 454"/>
                <a:gd name="T26" fmla="*/ 256 w 318"/>
                <a:gd name="T27" fmla="*/ 376 h 454"/>
                <a:gd name="T28" fmla="*/ 258 w 318"/>
                <a:gd name="T29" fmla="*/ 365 h 454"/>
                <a:gd name="T30" fmla="*/ 258 w 318"/>
                <a:gd name="T31" fmla="*/ 89 h 454"/>
                <a:gd name="T32" fmla="*/ 256 w 318"/>
                <a:gd name="T33" fmla="*/ 77 h 454"/>
                <a:gd name="T34" fmla="*/ 249 w 318"/>
                <a:gd name="T35" fmla="*/ 68 h 454"/>
                <a:gd name="T36" fmla="*/ 240 w 318"/>
                <a:gd name="T37" fmla="*/ 62 h 454"/>
                <a:gd name="T38" fmla="*/ 228 w 318"/>
                <a:gd name="T39" fmla="*/ 60 h 454"/>
                <a:gd name="T40" fmla="*/ 90 w 318"/>
                <a:gd name="T41" fmla="*/ 60 h 454"/>
                <a:gd name="T42" fmla="*/ 90 w 318"/>
                <a:gd name="T43" fmla="*/ 0 h 454"/>
                <a:gd name="T44" fmla="*/ 228 w 318"/>
                <a:gd name="T45" fmla="*/ 0 h 454"/>
                <a:gd name="T46" fmla="*/ 253 w 318"/>
                <a:gd name="T47" fmla="*/ 4 h 454"/>
                <a:gd name="T48" fmla="*/ 273 w 318"/>
                <a:gd name="T49" fmla="*/ 12 h 454"/>
                <a:gd name="T50" fmla="*/ 292 w 318"/>
                <a:gd name="T51" fmla="*/ 27 h 454"/>
                <a:gd name="T52" fmla="*/ 306 w 318"/>
                <a:gd name="T53" fmla="*/ 44 h 454"/>
                <a:gd name="T54" fmla="*/ 315 w 318"/>
                <a:gd name="T55" fmla="*/ 66 h 454"/>
                <a:gd name="T56" fmla="*/ 318 w 318"/>
                <a:gd name="T57" fmla="*/ 89 h 454"/>
                <a:gd name="T58" fmla="*/ 318 w 318"/>
                <a:gd name="T59" fmla="*/ 365 h 454"/>
                <a:gd name="T60" fmla="*/ 315 w 318"/>
                <a:gd name="T61" fmla="*/ 389 h 454"/>
                <a:gd name="T62" fmla="*/ 306 w 318"/>
                <a:gd name="T63" fmla="*/ 409 h 454"/>
                <a:gd name="T64" fmla="*/ 292 w 318"/>
                <a:gd name="T65" fmla="*/ 428 h 454"/>
                <a:gd name="T66" fmla="*/ 273 w 318"/>
                <a:gd name="T67" fmla="*/ 441 h 454"/>
                <a:gd name="T68" fmla="*/ 253 w 318"/>
                <a:gd name="T69" fmla="*/ 451 h 454"/>
                <a:gd name="T70" fmla="*/ 228 w 318"/>
                <a:gd name="T71" fmla="*/ 454 h 454"/>
                <a:gd name="T72" fmla="*/ 90 w 318"/>
                <a:gd name="T73" fmla="*/ 454 h 454"/>
                <a:gd name="T74" fmla="*/ 66 w 318"/>
                <a:gd name="T75" fmla="*/ 451 h 454"/>
                <a:gd name="T76" fmla="*/ 44 w 318"/>
                <a:gd name="T77" fmla="*/ 441 h 454"/>
                <a:gd name="T78" fmla="*/ 27 w 318"/>
                <a:gd name="T79" fmla="*/ 428 h 454"/>
                <a:gd name="T80" fmla="*/ 13 w 318"/>
                <a:gd name="T81" fmla="*/ 409 h 454"/>
                <a:gd name="T82" fmla="*/ 4 w 318"/>
                <a:gd name="T83" fmla="*/ 389 h 454"/>
                <a:gd name="T84" fmla="*/ 0 w 318"/>
                <a:gd name="T85" fmla="*/ 365 h 454"/>
                <a:gd name="T86" fmla="*/ 0 w 318"/>
                <a:gd name="T87" fmla="*/ 89 h 454"/>
                <a:gd name="T88" fmla="*/ 4 w 318"/>
                <a:gd name="T89" fmla="*/ 66 h 454"/>
                <a:gd name="T90" fmla="*/ 13 w 318"/>
                <a:gd name="T91" fmla="*/ 44 h 454"/>
                <a:gd name="T92" fmla="*/ 27 w 318"/>
                <a:gd name="T93" fmla="*/ 27 h 454"/>
                <a:gd name="T94" fmla="*/ 44 w 318"/>
                <a:gd name="T95" fmla="*/ 12 h 454"/>
                <a:gd name="T96" fmla="*/ 66 w 318"/>
                <a:gd name="T97" fmla="*/ 4 h 454"/>
                <a:gd name="T98" fmla="*/ 90 w 318"/>
                <a:gd name="T99" fmla="*/ 0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18" h="454">
                  <a:moveTo>
                    <a:pt x="90" y="60"/>
                  </a:moveTo>
                  <a:lnTo>
                    <a:pt x="79" y="62"/>
                  </a:lnTo>
                  <a:lnTo>
                    <a:pt x="68" y="68"/>
                  </a:lnTo>
                  <a:lnTo>
                    <a:pt x="62" y="77"/>
                  </a:lnTo>
                  <a:lnTo>
                    <a:pt x="60" y="89"/>
                  </a:lnTo>
                  <a:lnTo>
                    <a:pt x="60" y="365"/>
                  </a:lnTo>
                  <a:lnTo>
                    <a:pt x="62" y="376"/>
                  </a:lnTo>
                  <a:lnTo>
                    <a:pt x="68" y="386"/>
                  </a:lnTo>
                  <a:lnTo>
                    <a:pt x="79" y="392"/>
                  </a:lnTo>
                  <a:lnTo>
                    <a:pt x="90" y="394"/>
                  </a:lnTo>
                  <a:lnTo>
                    <a:pt x="228" y="394"/>
                  </a:lnTo>
                  <a:lnTo>
                    <a:pt x="240" y="392"/>
                  </a:lnTo>
                  <a:lnTo>
                    <a:pt x="249" y="386"/>
                  </a:lnTo>
                  <a:lnTo>
                    <a:pt x="256" y="376"/>
                  </a:lnTo>
                  <a:lnTo>
                    <a:pt x="258" y="365"/>
                  </a:lnTo>
                  <a:lnTo>
                    <a:pt x="258" y="89"/>
                  </a:lnTo>
                  <a:lnTo>
                    <a:pt x="256" y="77"/>
                  </a:lnTo>
                  <a:lnTo>
                    <a:pt x="249" y="68"/>
                  </a:lnTo>
                  <a:lnTo>
                    <a:pt x="240" y="62"/>
                  </a:lnTo>
                  <a:lnTo>
                    <a:pt x="228" y="60"/>
                  </a:lnTo>
                  <a:lnTo>
                    <a:pt x="90" y="60"/>
                  </a:lnTo>
                  <a:close/>
                  <a:moveTo>
                    <a:pt x="90" y="0"/>
                  </a:moveTo>
                  <a:lnTo>
                    <a:pt x="228" y="0"/>
                  </a:lnTo>
                  <a:lnTo>
                    <a:pt x="253" y="4"/>
                  </a:lnTo>
                  <a:lnTo>
                    <a:pt x="273" y="12"/>
                  </a:lnTo>
                  <a:lnTo>
                    <a:pt x="292" y="27"/>
                  </a:lnTo>
                  <a:lnTo>
                    <a:pt x="306" y="44"/>
                  </a:lnTo>
                  <a:lnTo>
                    <a:pt x="315" y="66"/>
                  </a:lnTo>
                  <a:lnTo>
                    <a:pt x="318" y="89"/>
                  </a:lnTo>
                  <a:lnTo>
                    <a:pt x="318" y="365"/>
                  </a:lnTo>
                  <a:lnTo>
                    <a:pt x="315" y="389"/>
                  </a:lnTo>
                  <a:lnTo>
                    <a:pt x="306" y="409"/>
                  </a:lnTo>
                  <a:lnTo>
                    <a:pt x="292" y="428"/>
                  </a:lnTo>
                  <a:lnTo>
                    <a:pt x="273" y="441"/>
                  </a:lnTo>
                  <a:lnTo>
                    <a:pt x="253" y="451"/>
                  </a:lnTo>
                  <a:lnTo>
                    <a:pt x="228" y="454"/>
                  </a:lnTo>
                  <a:lnTo>
                    <a:pt x="90" y="454"/>
                  </a:lnTo>
                  <a:lnTo>
                    <a:pt x="66" y="451"/>
                  </a:lnTo>
                  <a:lnTo>
                    <a:pt x="44" y="441"/>
                  </a:lnTo>
                  <a:lnTo>
                    <a:pt x="27" y="428"/>
                  </a:lnTo>
                  <a:lnTo>
                    <a:pt x="13" y="409"/>
                  </a:lnTo>
                  <a:lnTo>
                    <a:pt x="4" y="389"/>
                  </a:lnTo>
                  <a:lnTo>
                    <a:pt x="0" y="365"/>
                  </a:lnTo>
                  <a:lnTo>
                    <a:pt x="0" y="89"/>
                  </a:lnTo>
                  <a:lnTo>
                    <a:pt x="4" y="66"/>
                  </a:lnTo>
                  <a:lnTo>
                    <a:pt x="13" y="44"/>
                  </a:lnTo>
                  <a:lnTo>
                    <a:pt x="27" y="27"/>
                  </a:lnTo>
                  <a:lnTo>
                    <a:pt x="44" y="12"/>
                  </a:lnTo>
                  <a:lnTo>
                    <a:pt x="66" y="4"/>
                  </a:lnTo>
                  <a:lnTo>
                    <a:pt x="9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5" name="Freeform 122">
              <a:extLst>
                <a:ext uri="{FF2B5EF4-FFF2-40B4-BE49-F238E27FC236}">
                  <a16:creationId xmlns:a16="http://schemas.microsoft.com/office/drawing/2014/main" id="{7863097F-1661-EA4A-6691-EEDE61BD4D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26151" y="3398838"/>
              <a:ext cx="84138" cy="120650"/>
            </a:xfrm>
            <a:custGeom>
              <a:avLst/>
              <a:gdLst>
                <a:gd name="T0" fmla="*/ 88 w 317"/>
                <a:gd name="T1" fmla="*/ 60 h 454"/>
                <a:gd name="T2" fmla="*/ 77 w 317"/>
                <a:gd name="T3" fmla="*/ 62 h 454"/>
                <a:gd name="T4" fmla="*/ 68 w 317"/>
                <a:gd name="T5" fmla="*/ 68 h 454"/>
                <a:gd name="T6" fmla="*/ 61 w 317"/>
                <a:gd name="T7" fmla="*/ 78 h 454"/>
                <a:gd name="T8" fmla="*/ 58 w 317"/>
                <a:gd name="T9" fmla="*/ 90 h 454"/>
                <a:gd name="T10" fmla="*/ 58 w 317"/>
                <a:gd name="T11" fmla="*/ 366 h 454"/>
                <a:gd name="T12" fmla="*/ 61 w 317"/>
                <a:gd name="T13" fmla="*/ 377 h 454"/>
                <a:gd name="T14" fmla="*/ 68 w 317"/>
                <a:gd name="T15" fmla="*/ 386 h 454"/>
                <a:gd name="T16" fmla="*/ 77 w 317"/>
                <a:gd name="T17" fmla="*/ 393 h 454"/>
                <a:gd name="T18" fmla="*/ 88 w 317"/>
                <a:gd name="T19" fmla="*/ 396 h 454"/>
                <a:gd name="T20" fmla="*/ 228 w 317"/>
                <a:gd name="T21" fmla="*/ 396 h 454"/>
                <a:gd name="T22" fmla="*/ 239 w 317"/>
                <a:gd name="T23" fmla="*/ 393 h 454"/>
                <a:gd name="T24" fmla="*/ 249 w 317"/>
                <a:gd name="T25" fmla="*/ 386 h 454"/>
                <a:gd name="T26" fmla="*/ 254 w 317"/>
                <a:gd name="T27" fmla="*/ 377 h 454"/>
                <a:gd name="T28" fmla="*/ 257 w 317"/>
                <a:gd name="T29" fmla="*/ 366 h 454"/>
                <a:gd name="T30" fmla="*/ 257 w 317"/>
                <a:gd name="T31" fmla="*/ 90 h 454"/>
                <a:gd name="T32" fmla="*/ 254 w 317"/>
                <a:gd name="T33" fmla="*/ 78 h 454"/>
                <a:gd name="T34" fmla="*/ 249 w 317"/>
                <a:gd name="T35" fmla="*/ 69 h 454"/>
                <a:gd name="T36" fmla="*/ 239 w 317"/>
                <a:gd name="T37" fmla="*/ 62 h 454"/>
                <a:gd name="T38" fmla="*/ 228 w 317"/>
                <a:gd name="T39" fmla="*/ 60 h 454"/>
                <a:gd name="T40" fmla="*/ 88 w 317"/>
                <a:gd name="T41" fmla="*/ 60 h 454"/>
                <a:gd name="T42" fmla="*/ 88 w 317"/>
                <a:gd name="T43" fmla="*/ 0 h 454"/>
                <a:gd name="T44" fmla="*/ 228 w 317"/>
                <a:gd name="T45" fmla="*/ 0 h 454"/>
                <a:gd name="T46" fmla="*/ 251 w 317"/>
                <a:gd name="T47" fmla="*/ 4 h 454"/>
                <a:gd name="T48" fmla="*/ 273 w 317"/>
                <a:gd name="T49" fmla="*/ 13 h 454"/>
                <a:gd name="T50" fmla="*/ 290 w 317"/>
                <a:gd name="T51" fmla="*/ 27 h 454"/>
                <a:gd name="T52" fmla="*/ 305 w 317"/>
                <a:gd name="T53" fmla="*/ 45 h 454"/>
                <a:gd name="T54" fmla="*/ 313 w 317"/>
                <a:gd name="T55" fmla="*/ 66 h 454"/>
                <a:gd name="T56" fmla="*/ 317 w 317"/>
                <a:gd name="T57" fmla="*/ 90 h 454"/>
                <a:gd name="T58" fmla="*/ 317 w 317"/>
                <a:gd name="T59" fmla="*/ 366 h 454"/>
                <a:gd name="T60" fmla="*/ 313 w 317"/>
                <a:gd name="T61" fmla="*/ 389 h 454"/>
                <a:gd name="T62" fmla="*/ 305 w 317"/>
                <a:gd name="T63" fmla="*/ 411 h 454"/>
                <a:gd name="T64" fmla="*/ 290 w 317"/>
                <a:gd name="T65" fmla="*/ 429 h 454"/>
                <a:gd name="T66" fmla="*/ 273 w 317"/>
                <a:gd name="T67" fmla="*/ 443 h 454"/>
                <a:gd name="T68" fmla="*/ 251 w 317"/>
                <a:gd name="T69" fmla="*/ 452 h 454"/>
                <a:gd name="T70" fmla="*/ 228 w 317"/>
                <a:gd name="T71" fmla="*/ 454 h 454"/>
                <a:gd name="T72" fmla="*/ 88 w 317"/>
                <a:gd name="T73" fmla="*/ 454 h 454"/>
                <a:gd name="T74" fmla="*/ 65 w 317"/>
                <a:gd name="T75" fmla="*/ 452 h 454"/>
                <a:gd name="T76" fmla="*/ 43 w 317"/>
                <a:gd name="T77" fmla="*/ 443 h 454"/>
                <a:gd name="T78" fmla="*/ 25 w 317"/>
                <a:gd name="T79" fmla="*/ 429 h 454"/>
                <a:gd name="T80" fmla="*/ 11 w 317"/>
                <a:gd name="T81" fmla="*/ 411 h 454"/>
                <a:gd name="T82" fmla="*/ 2 w 317"/>
                <a:gd name="T83" fmla="*/ 389 h 454"/>
                <a:gd name="T84" fmla="*/ 0 w 317"/>
                <a:gd name="T85" fmla="*/ 366 h 454"/>
                <a:gd name="T86" fmla="*/ 0 w 317"/>
                <a:gd name="T87" fmla="*/ 90 h 454"/>
                <a:gd name="T88" fmla="*/ 2 w 317"/>
                <a:gd name="T89" fmla="*/ 66 h 454"/>
                <a:gd name="T90" fmla="*/ 11 w 317"/>
                <a:gd name="T91" fmla="*/ 45 h 454"/>
                <a:gd name="T92" fmla="*/ 25 w 317"/>
                <a:gd name="T93" fmla="*/ 27 h 454"/>
                <a:gd name="T94" fmla="*/ 43 w 317"/>
                <a:gd name="T95" fmla="*/ 13 h 454"/>
                <a:gd name="T96" fmla="*/ 65 w 317"/>
                <a:gd name="T97" fmla="*/ 4 h 454"/>
                <a:gd name="T98" fmla="*/ 88 w 317"/>
                <a:gd name="T99" fmla="*/ 0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17" h="454">
                  <a:moveTo>
                    <a:pt x="88" y="60"/>
                  </a:moveTo>
                  <a:lnTo>
                    <a:pt x="77" y="62"/>
                  </a:lnTo>
                  <a:lnTo>
                    <a:pt x="68" y="68"/>
                  </a:lnTo>
                  <a:lnTo>
                    <a:pt x="61" y="78"/>
                  </a:lnTo>
                  <a:lnTo>
                    <a:pt x="58" y="90"/>
                  </a:lnTo>
                  <a:lnTo>
                    <a:pt x="58" y="366"/>
                  </a:lnTo>
                  <a:lnTo>
                    <a:pt x="61" y="377"/>
                  </a:lnTo>
                  <a:lnTo>
                    <a:pt x="68" y="386"/>
                  </a:lnTo>
                  <a:lnTo>
                    <a:pt x="77" y="393"/>
                  </a:lnTo>
                  <a:lnTo>
                    <a:pt x="88" y="396"/>
                  </a:lnTo>
                  <a:lnTo>
                    <a:pt x="228" y="396"/>
                  </a:lnTo>
                  <a:lnTo>
                    <a:pt x="239" y="393"/>
                  </a:lnTo>
                  <a:lnTo>
                    <a:pt x="249" y="386"/>
                  </a:lnTo>
                  <a:lnTo>
                    <a:pt x="254" y="377"/>
                  </a:lnTo>
                  <a:lnTo>
                    <a:pt x="257" y="366"/>
                  </a:lnTo>
                  <a:lnTo>
                    <a:pt x="257" y="90"/>
                  </a:lnTo>
                  <a:lnTo>
                    <a:pt x="254" y="78"/>
                  </a:lnTo>
                  <a:lnTo>
                    <a:pt x="249" y="69"/>
                  </a:lnTo>
                  <a:lnTo>
                    <a:pt x="239" y="62"/>
                  </a:lnTo>
                  <a:lnTo>
                    <a:pt x="228" y="60"/>
                  </a:lnTo>
                  <a:lnTo>
                    <a:pt x="88" y="60"/>
                  </a:lnTo>
                  <a:close/>
                  <a:moveTo>
                    <a:pt x="88" y="0"/>
                  </a:moveTo>
                  <a:lnTo>
                    <a:pt x="228" y="0"/>
                  </a:lnTo>
                  <a:lnTo>
                    <a:pt x="251" y="4"/>
                  </a:lnTo>
                  <a:lnTo>
                    <a:pt x="273" y="13"/>
                  </a:lnTo>
                  <a:lnTo>
                    <a:pt x="290" y="27"/>
                  </a:lnTo>
                  <a:lnTo>
                    <a:pt x="305" y="45"/>
                  </a:lnTo>
                  <a:lnTo>
                    <a:pt x="313" y="66"/>
                  </a:lnTo>
                  <a:lnTo>
                    <a:pt x="317" y="90"/>
                  </a:lnTo>
                  <a:lnTo>
                    <a:pt x="317" y="366"/>
                  </a:lnTo>
                  <a:lnTo>
                    <a:pt x="313" y="389"/>
                  </a:lnTo>
                  <a:lnTo>
                    <a:pt x="305" y="411"/>
                  </a:lnTo>
                  <a:lnTo>
                    <a:pt x="290" y="429"/>
                  </a:lnTo>
                  <a:lnTo>
                    <a:pt x="273" y="443"/>
                  </a:lnTo>
                  <a:lnTo>
                    <a:pt x="251" y="452"/>
                  </a:lnTo>
                  <a:lnTo>
                    <a:pt x="228" y="454"/>
                  </a:lnTo>
                  <a:lnTo>
                    <a:pt x="88" y="454"/>
                  </a:lnTo>
                  <a:lnTo>
                    <a:pt x="65" y="452"/>
                  </a:lnTo>
                  <a:lnTo>
                    <a:pt x="43" y="443"/>
                  </a:lnTo>
                  <a:lnTo>
                    <a:pt x="25" y="429"/>
                  </a:lnTo>
                  <a:lnTo>
                    <a:pt x="11" y="411"/>
                  </a:lnTo>
                  <a:lnTo>
                    <a:pt x="2" y="389"/>
                  </a:lnTo>
                  <a:lnTo>
                    <a:pt x="0" y="366"/>
                  </a:lnTo>
                  <a:lnTo>
                    <a:pt x="0" y="90"/>
                  </a:lnTo>
                  <a:lnTo>
                    <a:pt x="2" y="66"/>
                  </a:lnTo>
                  <a:lnTo>
                    <a:pt x="11" y="45"/>
                  </a:lnTo>
                  <a:lnTo>
                    <a:pt x="25" y="27"/>
                  </a:lnTo>
                  <a:lnTo>
                    <a:pt x="43" y="13"/>
                  </a:lnTo>
                  <a:lnTo>
                    <a:pt x="65" y="4"/>
                  </a:lnTo>
                  <a:lnTo>
                    <a:pt x="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6" name="Freeform 123">
              <a:extLst>
                <a:ext uri="{FF2B5EF4-FFF2-40B4-BE49-F238E27FC236}">
                  <a16:creationId xmlns:a16="http://schemas.microsoft.com/office/drawing/2014/main" id="{EE788091-F542-C732-C3CA-07064F6342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91213" y="3556001"/>
              <a:ext cx="84138" cy="120650"/>
            </a:xfrm>
            <a:custGeom>
              <a:avLst/>
              <a:gdLst>
                <a:gd name="T0" fmla="*/ 90 w 318"/>
                <a:gd name="T1" fmla="*/ 59 h 454"/>
                <a:gd name="T2" fmla="*/ 78 w 318"/>
                <a:gd name="T3" fmla="*/ 61 h 454"/>
                <a:gd name="T4" fmla="*/ 69 w 318"/>
                <a:gd name="T5" fmla="*/ 68 h 454"/>
                <a:gd name="T6" fmla="*/ 62 w 318"/>
                <a:gd name="T7" fmla="*/ 77 h 454"/>
                <a:gd name="T8" fmla="*/ 60 w 318"/>
                <a:gd name="T9" fmla="*/ 88 h 454"/>
                <a:gd name="T10" fmla="*/ 60 w 318"/>
                <a:gd name="T11" fmla="*/ 364 h 454"/>
                <a:gd name="T12" fmla="*/ 62 w 318"/>
                <a:gd name="T13" fmla="*/ 376 h 454"/>
                <a:gd name="T14" fmla="*/ 69 w 318"/>
                <a:gd name="T15" fmla="*/ 385 h 454"/>
                <a:gd name="T16" fmla="*/ 78 w 318"/>
                <a:gd name="T17" fmla="*/ 392 h 454"/>
                <a:gd name="T18" fmla="*/ 90 w 318"/>
                <a:gd name="T19" fmla="*/ 394 h 454"/>
                <a:gd name="T20" fmla="*/ 228 w 318"/>
                <a:gd name="T21" fmla="*/ 394 h 454"/>
                <a:gd name="T22" fmla="*/ 240 w 318"/>
                <a:gd name="T23" fmla="*/ 392 h 454"/>
                <a:gd name="T24" fmla="*/ 250 w 318"/>
                <a:gd name="T25" fmla="*/ 385 h 454"/>
                <a:gd name="T26" fmla="*/ 256 w 318"/>
                <a:gd name="T27" fmla="*/ 376 h 454"/>
                <a:gd name="T28" fmla="*/ 258 w 318"/>
                <a:gd name="T29" fmla="*/ 364 h 454"/>
                <a:gd name="T30" fmla="*/ 258 w 318"/>
                <a:gd name="T31" fmla="*/ 88 h 454"/>
                <a:gd name="T32" fmla="*/ 256 w 318"/>
                <a:gd name="T33" fmla="*/ 77 h 454"/>
                <a:gd name="T34" fmla="*/ 250 w 318"/>
                <a:gd name="T35" fmla="*/ 68 h 454"/>
                <a:gd name="T36" fmla="*/ 241 w 318"/>
                <a:gd name="T37" fmla="*/ 61 h 454"/>
                <a:gd name="T38" fmla="*/ 228 w 318"/>
                <a:gd name="T39" fmla="*/ 59 h 454"/>
                <a:gd name="T40" fmla="*/ 90 w 318"/>
                <a:gd name="T41" fmla="*/ 59 h 454"/>
                <a:gd name="T42" fmla="*/ 90 w 318"/>
                <a:gd name="T43" fmla="*/ 0 h 454"/>
                <a:gd name="T44" fmla="*/ 228 w 318"/>
                <a:gd name="T45" fmla="*/ 0 h 454"/>
                <a:gd name="T46" fmla="*/ 252 w 318"/>
                <a:gd name="T47" fmla="*/ 3 h 454"/>
                <a:gd name="T48" fmla="*/ 273 w 318"/>
                <a:gd name="T49" fmla="*/ 12 h 454"/>
                <a:gd name="T50" fmla="*/ 292 w 318"/>
                <a:gd name="T51" fmla="*/ 25 h 454"/>
                <a:gd name="T52" fmla="*/ 305 w 318"/>
                <a:gd name="T53" fmla="*/ 44 h 454"/>
                <a:gd name="T54" fmla="*/ 315 w 318"/>
                <a:gd name="T55" fmla="*/ 66 h 454"/>
                <a:gd name="T56" fmla="*/ 318 w 318"/>
                <a:gd name="T57" fmla="*/ 88 h 454"/>
                <a:gd name="T58" fmla="*/ 318 w 318"/>
                <a:gd name="T59" fmla="*/ 364 h 454"/>
                <a:gd name="T60" fmla="*/ 315 w 318"/>
                <a:gd name="T61" fmla="*/ 389 h 454"/>
                <a:gd name="T62" fmla="*/ 305 w 318"/>
                <a:gd name="T63" fmla="*/ 409 h 454"/>
                <a:gd name="T64" fmla="*/ 292 w 318"/>
                <a:gd name="T65" fmla="*/ 427 h 454"/>
                <a:gd name="T66" fmla="*/ 273 w 318"/>
                <a:gd name="T67" fmla="*/ 441 h 454"/>
                <a:gd name="T68" fmla="*/ 252 w 318"/>
                <a:gd name="T69" fmla="*/ 450 h 454"/>
                <a:gd name="T70" fmla="*/ 228 w 318"/>
                <a:gd name="T71" fmla="*/ 454 h 454"/>
                <a:gd name="T72" fmla="*/ 90 w 318"/>
                <a:gd name="T73" fmla="*/ 454 h 454"/>
                <a:gd name="T74" fmla="*/ 66 w 318"/>
                <a:gd name="T75" fmla="*/ 450 h 454"/>
                <a:gd name="T76" fmla="*/ 45 w 318"/>
                <a:gd name="T77" fmla="*/ 441 h 454"/>
                <a:gd name="T78" fmla="*/ 26 w 318"/>
                <a:gd name="T79" fmla="*/ 427 h 454"/>
                <a:gd name="T80" fmla="*/ 13 w 318"/>
                <a:gd name="T81" fmla="*/ 409 h 454"/>
                <a:gd name="T82" fmla="*/ 3 w 318"/>
                <a:gd name="T83" fmla="*/ 389 h 454"/>
                <a:gd name="T84" fmla="*/ 0 w 318"/>
                <a:gd name="T85" fmla="*/ 364 h 454"/>
                <a:gd name="T86" fmla="*/ 0 w 318"/>
                <a:gd name="T87" fmla="*/ 88 h 454"/>
                <a:gd name="T88" fmla="*/ 3 w 318"/>
                <a:gd name="T89" fmla="*/ 66 h 454"/>
                <a:gd name="T90" fmla="*/ 13 w 318"/>
                <a:gd name="T91" fmla="*/ 44 h 454"/>
                <a:gd name="T92" fmla="*/ 26 w 318"/>
                <a:gd name="T93" fmla="*/ 25 h 454"/>
                <a:gd name="T94" fmla="*/ 45 w 318"/>
                <a:gd name="T95" fmla="*/ 12 h 454"/>
                <a:gd name="T96" fmla="*/ 66 w 318"/>
                <a:gd name="T97" fmla="*/ 3 h 454"/>
                <a:gd name="T98" fmla="*/ 90 w 318"/>
                <a:gd name="T99" fmla="*/ 0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18" h="454">
                  <a:moveTo>
                    <a:pt x="90" y="59"/>
                  </a:moveTo>
                  <a:lnTo>
                    <a:pt x="78" y="61"/>
                  </a:lnTo>
                  <a:lnTo>
                    <a:pt x="69" y="68"/>
                  </a:lnTo>
                  <a:lnTo>
                    <a:pt x="62" y="77"/>
                  </a:lnTo>
                  <a:lnTo>
                    <a:pt x="60" y="88"/>
                  </a:lnTo>
                  <a:lnTo>
                    <a:pt x="60" y="364"/>
                  </a:lnTo>
                  <a:lnTo>
                    <a:pt x="62" y="376"/>
                  </a:lnTo>
                  <a:lnTo>
                    <a:pt x="69" y="385"/>
                  </a:lnTo>
                  <a:lnTo>
                    <a:pt x="78" y="392"/>
                  </a:lnTo>
                  <a:lnTo>
                    <a:pt x="90" y="394"/>
                  </a:lnTo>
                  <a:lnTo>
                    <a:pt x="228" y="394"/>
                  </a:lnTo>
                  <a:lnTo>
                    <a:pt x="240" y="392"/>
                  </a:lnTo>
                  <a:lnTo>
                    <a:pt x="250" y="385"/>
                  </a:lnTo>
                  <a:lnTo>
                    <a:pt x="256" y="376"/>
                  </a:lnTo>
                  <a:lnTo>
                    <a:pt x="258" y="364"/>
                  </a:lnTo>
                  <a:lnTo>
                    <a:pt x="258" y="88"/>
                  </a:lnTo>
                  <a:lnTo>
                    <a:pt x="256" y="77"/>
                  </a:lnTo>
                  <a:lnTo>
                    <a:pt x="250" y="68"/>
                  </a:lnTo>
                  <a:lnTo>
                    <a:pt x="241" y="61"/>
                  </a:lnTo>
                  <a:lnTo>
                    <a:pt x="228" y="59"/>
                  </a:lnTo>
                  <a:lnTo>
                    <a:pt x="90" y="59"/>
                  </a:lnTo>
                  <a:close/>
                  <a:moveTo>
                    <a:pt x="90" y="0"/>
                  </a:moveTo>
                  <a:lnTo>
                    <a:pt x="228" y="0"/>
                  </a:lnTo>
                  <a:lnTo>
                    <a:pt x="252" y="3"/>
                  </a:lnTo>
                  <a:lnTo>
                    <a:pt x="273" y="12"/>
                  </a:lnTo>
                  <a:lnTo>
                    <a:pt x="292" y="25"/>
                  </a:lnTo>
                  <a:lnTo>
                    <a:pt x="305" y="44"/>
                  </a:lnTo>
                  <a:lnTo>
                    <a:pt x="315" y="66"/>
                  </a:lnTo>
                  <a:lnTo>
                    <a:pt x="318" y="88"/>
                  </a:lnTo>
                  <a:lnTo>
                    <a:pt x="318" y="364"/>
                  </a:lnTo>
                  <a:lnTo>
                    <a:pt x="315" y="389"/>
                  </a:lnTo>
                  <a:lnTo>
                    <a:pt x="305" y="409"/>
                  </a:lnTo>
                  <a:lnTo>
                    <a:pt x="292" y="427"/>
                  </a:lnTo>
                  <a:lnTo>
                    <a:pt x="273" y="441"/>
                  </a:lnTo>
                  <a:lnTo>
                    <a:pt x="252" y="450"/>
                  </a:lnTo>
                  <a:lnTo>
                    <a:pt x="228" y="454"/>
                  </a:lnTo>
                  <a:lnTo>
                    <a:pt x="90" y="454"/>
                  </a:lnTo>
                  <a:lnTo>
                    <a:pt x="66" y="450"/>
                  </a:lnTo>
                  <a:lnTo>
                    <a:pt x="45" y="441"/>
                  </a:lnTo>
                  <a:lnTo>
                    <a:pt x="26" y="427"/>
                  </a:lnTo>
                  <a:lnTo>
                    <a:pt x="13" y="409"/>
                  </a:lnTo>
                  <a:lnTo>
                    <a:pt x="3" y="389"/>
                  </a:lnTo>
                  <a:lnTo>
                    <a:pt x="0" y="364"/>
                  </a:lnTo>
                  <a:lnTo>
                    <a:pt x="0" y="88"/>
                  </a:lnTo>
                  <a:lnTo>
                    <a:pt x="3" y="66"/>
                  </a:lnTo>
                  <a:lnTo>
                    <a:pt x="13" y="44"/>
                  </a:lnTo>
                  <a:lnTo>
                    <a:pt x="26" y="25"/>
                  </a:lnTo>
                  <a:lnTo>
                    <a:pt x="45" y="12"/>
                  </a:lnTo>
                  <a:lnTo>
                    <a:pt x="66" y="3"/>
                  </a:lnTo>
                  <a:lnTo>
                    <a:pt x="9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7" name="Freeform 124">
              <a:extLst>
                <a:ext uri="{FF2B5EF4-FFF2-40B4-BE49-F238E27FC236}">
                  <a16:creationId xmlns:a16="http://schemas.microsoft.com/office/drawing/2014/main" id="{5FB23F6F-25C5-5D82-62C3-6416DEBA4E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40451" y="3559176"/>
              <a:ext cx="84138" cy="120650"/>
            </a:xfrm>
            <a:custGeom>
              <a:avLst/>
              <a:gdLst>
                <a:gd name="T0" fmla="*/ 89 w 317"/>
                <a:gd name="T1" fmla="*/ 59 h 453"/>
                <a:gd name="T2" fmla="*/ 77 w 317"/>
                <a:gd name="T3" fmla="*/ 62 h 453"/>
                <a:gd name="T4" fmla="*/ 68 w 317"/>
                <a:gd name="T5" fmla="*/ 68 h 453"/>
                <a:gd name="T6" fmla="*/ 61 w 317"/>
                <a:gd name="T7" fmla="*/ 78 h 453"/>
                <a:gd name="T8" fmla="*/ 59 w 317"/>
                <a:gd name="T9" fmla="*/ 89 h 453"/>
                <a:gd name="T10" fmla="*/ 59 w 317"/>
                <a:gd name="T11" fmla="*/ 365 h 453"/>
                <a:gd name="T12" fmla="*/ 61 w 317"/>
                <a:gd name="T13" fmla="*/ 377 h 453"/>
                <a:gd name="T14" fmla="*/ 68 w 317"/>
                <a:gd name="T15" fmla="*/ 386 h 453"/>
                <a:gd name="T16" fmla="*/ 77 w 317"/>
                <a:gd name="T17" fmla="*/ 393 h 453"/>
                <a:gd name="T18" fmla="*/ 89 w 317"/>
                <a:gd name="T19" fmla="*/ 395 h 453"/>
                <a:gd name="T20" fmla="*/ 228 w 317"/>
                <a:gd name="T21" fmla="*/ 395 h 453"/>
                <a:gd name="T22" fmla="*/ 240 w 317"/>
                <a:gd name="T23" fmla="*/ 393 h 453"/>
                <a:gd name="T24" fmla="*/ 249 w 317"/>
                <a:gd name="T25" fmla="*/ 386 h 453"/>
                <a:gd name="T26" fmla="*/ 255 w 317"/>
                <a:gd name="T27" fmla="*/ 377 h 453"/>
                <a:gd name="T28" fmla="*/ 257 w 317"/>
                <a:gd name="T29" fmla="*/ 365 h 453"/>
                <a:gd name="T30" fmla="*/ 257 w 317"/>
                <a:gd name="T31" fmla="*/ 89 h 453"/>
                <a:gd name="T32" fmla="*/ 255 w 317"/>
                <a:gd name="T33" fmla="*/ 78 h 453"/>
                <a:gd name="T34" fmla="*/ 249 w 317"/>
                <a:gd name="T35" fmla="*/ 68 h 453"/>
                <a:gd name="T36" fmla="*/ 240 w 317"/>
                <a:gd name="T37" fmla="*/ 62 h 453"/>
                <a:gd name="T38" fmla="*/ 228 w 317"/>
                <a:gd name="T39" fmla="*/ 59 h 453"/>
                <a:gd name="T40" fmla="*/ 89 w 317"/>
                <a:gd name="T41" fmla="*/ 59 h 453"/>
                <a:gd name="T42" fmla="*/ 89 w 317"/>
                <a:gd name="T43" fmla="*/ 0 h 453"/>
                <a:gd name="T44" fmla="*/ 228 w 317"/>
                <a:gd name="T45" fmla="*/ 0 h 453"/>
                <a:gd name="T46" fmla="*/ 251 w 317"/>
                <a:gd name="T47" fmla="*/ 3 h 453"/>
                <a:gd name="T48" fmla="*/ 273 w 317"/>
                <a:gd name="T49" fmla="*/ 12 h 453"/>
                <a:gd name="T50" fmla="*/ 290 w 317"/>
                <a:gd name="T51" fmla="*/ 26 h 453"/>
                <a:gd name="T52" fmla="*/ 305 w 317"/>
                <a:gd name="T53" fmla="*/ 44 h 453"/>
                <a:gd name="T54" fmla="*/ 314 w 317"/>
                <a:gd name="T55" fmla="*/ 65 h 453"/>
                <a:gd name="T56" fmla="*/ 317 w 317"/>
                <a:gd name="T57" fmla="*/ 89 h 453"/>
                <a:gd name="T58" fmla="*/ 317 w 317"/>
                <a:gd name="T59" fmla="*/ 365 h 453"/>
                <a:gd name="T60" fmla="*/ 314 w 317"/>
                <a:gd name="T61" fmla="*/ 388 h 453"/>
                <a:gd name="T62" fmla="*/ 305 w 317"/>
                <a:gd name="T63" fmla="*/ 410 h 453"/>
                <a:gd name="T64" fmla="*/ 290 w 317"/>
                <a:gd name="T65" fmla="*/ 428 h 453"/>
                <a:gd name="T66" fmla="*/ 273 w 317"/>
                <a:gd name="T67" fmla="*/ 442 h 453"/>
                <a:gd name="T68" fmla="*/ 251 w 317"/>
                <a:gd name="T69" fmla="*/ 451 h 453"/>
                <a:gd name="T70" fmla="*/ 228 w 317"/>
                <a:gd name="T71" fmla="*/ 453 h 453"/>
                <a:gd name="T72" fmla="*/ 89 w 317"/>
                <a:gd name="T73" fmla="*/ 453 h 453"/>
                <a:gd name="T74" fmla="*/ 64 w 317"/>
                <a:gd name="T75" fmla="*/ 451 h 453"/>
                <a:gd name="T76" fmla="*/ 44 w 317"/>
                <a:gd name="T77" fmla="*/ 442 h 453"/>
                <a:gd name="T78" fmla="*/ 25 w 317"/>
                <a:gd name="T79" fmla="*/ 428 h 453"/>
                <a:gd name="T80" fmla="*/ 11 w 317"/>
                <a:gd name="T81" fmla="*/ 410 h 453"/>
                <a:gd name="T82" fmla="*/ 2 w 317"/>
                <a:gd name="T83" fmla="*/ 388 h 453"/>
                <a:gd name="T84" fmla="*/ 0 w 317"/>
                <a:gd name="T85" fmla="*/ 365 h 453"/>
                <a:gd name="T86" fmla="*/ 0 w 317"/>
                <a:gd name="T87" fmla="*/ 89 h 453"/>
                <a:gd name="T88" fmla="*/ 2 w 317"/>
                <a:gd name="T89" fmla="*/ 65 h 453"/>
                <a:gd name="T90" fmla="*/ 11 w 317"/>
                <a:gd name="T91" fmla="*/ 44 h 453"/>
                <a:gd name="T92" fmla="*/ 25 w 317"/>
                <a:gd name="T93" fmla="*/ 26 h 453"/>
                <a:gd name="T94" fmla="*/ 44 w 317"/>
                <a:gd name="T95" fmla="*/ 12 h 453"/>
                <a:gd name="T96" fmla="*/ 64 w 317"/>
                <a:gd name="T97" fmla="*/ 3 h 453"/>
                <a:gd name="T98" fmla="*/ 89 w 317"/>
                <a:gd name="T99" fmla="*/ 0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17" h="453">
                  <a:moveTo>
                    <a:pt x="89" y="59"/>
                  </a:moveTo>
                  <a:lnTo>
                    <a:pt x="77" y="62"/>
                  </a:lnTo>
                  <a:lnTo>
                    <a:pt x="68" y="68"/>
                  </a:lnTo>
                  <a:lnTo>
                    <a:pt x="61" y="78"/>
                  </a:lnTo>
                  <a:lnTo>
                    <a:pt x="59" y="89"/>
                  </a:lnTo>
                  <a:lnTo>
                    <a:pt x="59" y="365"/>
                  </a:lnTo>
                  <a:lnTo>
                    <a:pt x="61" y="377"/>
                  </a:lnTo>
                  <a:lnTo>
                    <a:pt x="68" y="386"/>
                  </a:lnTo>
                  <a:lnTo>
                    <a:pt x="77" y="393"/>
                  </a:lnTo>
                  <a:lnTo>
                    <a:pt x="89" y="395"/>
                  </a:lnTo>
                  <a:lnTo>
                    <a:pt x="228" y="395"/>
                  </a:lnTo>
                  <a:lnTo>
                    <a:pt x="240" y="393"/>
                  </a:lnTo>
                  <a:lnTo>
                    <a:pt x="249" y="386"/>
                  </a:lnTo>
                  <a:lnTo>
                    <a:pt x="255" y="377"/>
                  </a:lnTo>
                  <a:lnTo>
                    <a:pt x="257" y="365"/>
                  </a:lnTo>
                  <a:lnTo>
                    <a:pt x="257" y="89"/>
                  </a:lnTo>
                  <a:lnTo>
                    <a:pt x="255" y="78"/>
                  </a:lnTo>
                  <a:lnTo>
                    <a:pt x="249" y="68"/>
                  </a:lnTo>
                  <a:lnTo>
                    <a:pt x="240" y="62"/>
                  </a:lnTo>
                  <a:lnTo>
                    <a:pt x="228" y="59"/>
                  </a:lnTo>
                  <a:lnTo>
                    <a:pt x="89" y="59"/>
                  </a:lnTo>
                  <a:close/>
                  <a:moveTo>
                    <a:pt x="89" y="0"/>
                  </a:moveTo>
                  <a:lnTo>
                    <a:pt x="228" y="0"/>
                  </a:lnTo>
                  <a:lnTo>
                    <a:pt x="251" y="3"/>
                  </a:lnTo>
                  <a:lnTo>
                    <a:pt x="273" y="12"/>
                  </a:lnTo>
                  <a:lnTo>
                    <a:pt x="290" y="26"/>
                  </a:lnTo>
                  <a:lnTo>
                    <a:pt x="305" y="44"/>
                  </a:lnTo>
                  <a:lnTo>
                    <a:pt x="314" y="65"/>
                  </a:lnTo>
                  <a:lnTo>
                    <a:pt x="317" y="89"/>
                  </a:lnTo>
                  <a:lnTo>
                    <a:pt x="317" y="365"/>
                  </a:lnTo>
                  <a:lnTo>
                    <a:pt x="314" y="388"/>
                  </a:lnTo>
                  <a:lnTo>
                    <a:pt x="305" y="410"/>
                  </a:lnTo>
                  <a:lnTo>
                    <a:pt x="290" y="428"/>
                  </a:lnTo>
                  <a:lnTo>
                    <a:pt x="273" y="442"/>
                  </a:lnTo>
                  <a:lnTo>
                    <a:pt x="251" y="451"/>
                  </a:lnTo>
                  <a:lnTo>
                    <a:pt x="228" y="453"/>
                  </a:lnTo>
                  <a:lnTo>
                    <a:pt x="89" y="453"/>
                  </a:lnTo>
                  <a:lnTo>
                    <a:pt x="64" y="451"/>
                  </a:lnTo>
                  <a:lnTo>
                    <a:pt x="44" y="442"/>
                  </a:lnTo>
                  <a:lnTo>
                    <a:pt x="25" y="428"/>
                  </a:lnTo>
                  <a:lnTo>
                    <a:pt x="11" y="410"/>
                  </a:lnTo>
                  <a:lnTo>
                    <a:pt x="2" y="388"/>
                  </a:lnTo>
                  <a:lnTo>
                    <a:pt x="0" y="365"/>
                  </a:lnTo>
                  <a:lnTo>
                    <a:pt x="0" y="89"/>
                  </a:lnTo>
                  <a:lnTo>
                    <a:pt x="2" y="65"/>
                  </a:lnTo>
                  <a:lnTo>
                    <a:pt x="11" y="44"/>
                  </a:lnTo>
                  <a:lnTo>
                    <a:pt x="25" y="26"/>
                  </a:lnTo>
                  <a:lnTo>
                    <a:pt x="44" y="12"/>
                  </a:lnTo>
                  <a:lnTo>
                    <a:pt x="64" y="3"/>
                  </a:lnTo>
                  <a:lnTo>
                    <a:pt x="8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8" name="Freeform 125">
              <a:extLst>
                <a:ext uri="{FF2B5EF4-FFF2-40B4-BE49-F238E27FC236}">
                  <a16:creationId xmlns:a16="http://schemas.microsoft.com/office/drawing/2014/main" id="{A347E682-7983-7D7E-B923-F81A0523CE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6626" y="3213101"/>
              <a:ext cx="58738" cy="128588"/>
            </a:xfrm>
            <a:custGeom>
              <a:avLst/>
              <a:gdLst>
                <a:gd name="T0" fmla="*/ 196 w 222"/>
                <a:gd name="T1" fmla="*/ 0 h 483"/>
                <a:gd name="T2" fmla="*/ 206 w 222"/>
                <a:gd name="T3" fmla="*/ 3 h 483"/>
                <a:gd name="T4" fmla="*/ 216 w 222"/>
                <a:gd name="T5" fmla="*/ 10 h 483"/>
                <a:gd name="T6" fmla="*/ 221 w 222"/>
                <a:gd name="T7" fmla="*/ 19 h 483"/>
                <a:gd name="T8" fmla="*/ 222 w 222"/>
                <a:gd name="T9" fmla="*/ 29 h 483"/>
                <a:gd name="T10" fmla="*/ 222 w 222"/>
                <a:gd name="T11" fmla="*/ 453 h 483"/>
                <a:gd name="T12" fmla="*/ 220 w 222"/>
                <a:gd name="T13" fmla="*/ 465 h 483"/>
                <a:gd name="T14" fmla="*/ 214 w 222"/>
                <a:gd name="T15" fmla="*/ 474 h 483"/>
                <a:gd name="T16" fmla="*/ 204 w 222"/>
                <a:gd name="T17" fmla="*/ 481 h 483"/>
                <a:gd name="T18" fmla="*/ 192 w 222"/>
                <a:gd name="T19" fmla="*/ 483 h 483"/>
                <a:gd name="T20" fmla="*/ 181 w 222"/>
                <a:gd name="T21" fmla="*/ 481 h 483"/>
                <a:gd name="T22" fmla="*/ 172 w 222"/>
                <a:gd name="T23" fmla="*/ 474 h 483"/>
                <a:gd name="T24" fmla="*/ 166 w 222"/>
                <a:gd name="T25" fmla="*/ 465 h 483"/>
                <a:gd name="T26" fmla="*/ 164 w 222"/>
                <a:gd name="T27" fmla="*/ 453 h 483"/>
                <a:gd name="T28" fmla="*/ 164 w 222"/>
                <a:gd name="T29" fmla="*/ 85 h 483"/>
                <a:gd name="T30" fmla="*/ 46 w 222"/>
                <a:gd name="T31" fmla="*/ 167 h 483"/>
                <a:gd name="T32" fmla="*/ 36 w 222"/>
                <a:gd name="T33" fmla="*/ 171 h 483"/>
                <a:gd name="T34" fmla="*/ 24 w 222"/>
                <a:gd name="T35" fmla="*/ 171 h 483"/>
                <a:gd name="T36" fmla="*/ 14 w 222"/>
                <a:gd name="T37" fmla="*/ 168 h 483"/>
                <a:gd name="T38" fmla="*/ 5 w 222"/>
                <a:gd name="T39" fmla="*/ 160 h 483"/>
                <a:gd name="T40" fmla="*/ 0 w 222"/>
                <a:gd name="T41" fmla="*/ 148 h 483"/>
                <a:gd name="T42" fmla="*/ 0 w 222"/>
                <a:gd name="T43" fmla="*/ 137 h 483"/>
                <a:gd name="T44" fmla="*/ 3 w 222"/>
                <a:gd name="T45" fmla="*/ 127 h 483"/>
                <a:gd name="T46" fmla="*/ 11 w 222"/>
                <a:gd name="T47" fmla="*/ 119 h 483"/>
                <a:gd name="T48" fmla="*/ 176 w 222"/>
                <a:gd name="T49" fmla="*/ 5 h 483"/>
                <a:gd name="T50" fmla="*/ 186 w 222"/>
                <a:gd name="T51" fmla="*/ 1 h 483"/>
                <a:gd name="T52" fmla="*/ 196 w 222"/>
                <a:gd name="T53" fmla="*/ 0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2" h="483">
                  <a:moveTo>
                    <a:pt x="196" y="0"/>
                  </a:moveTo>
                  <a:lnTo>
                    <a:pt x="206" y="3"/>
                  </a:lnTo>
                  <a:lnTo>
                    <a:pt x="216" y="10"/>
                  </a:lnTo>
                  <a:lnTo>
                    <a:pt x="221" y="19"/>
                  </a:lnTo>
                  <a:lnTo>
                    <a:pt x="222" y="29"/>
                  </a:lnTo>
                  <a:lnTo>
                    <a:pt x="222" y="453"/>
                  </a:lnTo>
                  <a:lnTo>
                    <a:pt x="220" y="465"/>
                  </a:lnTo>
                  <a:lnTo>
                    <a:pt x="214" y="474"/>
                  </a:lnTo>
                  <a:lnTo>
                    <a:pt x="204" y="481"/>
                  </a:lnTo>
                  <a:lnTo>
                    <a:pt x="192" y="483"/>
                  </a:lnTo>
                  <a:lnTo>
                    <a:pt x="181" y="481"/>
                  </a:lnTo>
                  <a:lnTo>
                    <a:pt x="172" y="474"/>
                  </a:lnTo>
                  <a:lnTo>
                    <a:pt x="166" y="465"/>
                  </a:lnTo>
                  <a:lnTo>
                    <a:pt x="164" y="453"/>
                  </a:lnTo>
                  <a:lnTo>
                    <a:pt x="164" y="85"/>
                  </a:lnTo>
                  <a:lnTo>
                    <a:pt x="46" y="167"/>
                  </a:lnTo>
                  <a:lnTo>
                    <a:pt x="36" y="171"/>
                  </a:lnTo>
                  <a:lnTo>
                    <a:pt x="24" y="171"/>
                  </a:lnTo>
                  <a:lnTo>
                    <a:pt x="14" y="168"/>
                  </a:lnTo>
                  <a:lnTo>
                    <a:pt x="5" y="160"/>
                  </a:lnTo>
                  <a:lnTo>
                    <a:pt x="0" y="148"/>
                  </a:lnTo>
                  <a:lnTo>
                    <a:pt x="0" y="137"/>
                  </a:lnTo>
                  <a:lnTo>
                    <a:pt x="3" y="127"/>
                  </a:lnTo>
                  <a:lnTo>
                    <a:pt x="11" y="119"/>
                  </a:lnTo>
                  <a:lnTo>
                    <a:pt x="176" y="5"/>
                  </a:lnTo>
                  <a:lnTo>
                    <a:pt x="186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9" name="Freeform 126">
              <a:extLst>
                <a:ext uri="{FF2B5EF4-FFF2-40B4-BE49-F238E27FC236}">
                  <a16:creationId xmlns:a16="http://schemas.microsoft.com/office/drawing/2014/main" id="{61AB45DE-9A5D-CE7D-E10A-90D1551E25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3913" y="3395663"/>
              <a:ext cx="58738" cy="127000"/>
            </a:xfrm>
            <a:custGeom>
              <a:avLst/>
              <a:gdLst>
                <a:gd name="T0" fmla="*/ 196 w 223"/>
                <a:gd name="T1" fmla="*/ 0 h 482"/>
                <a:gd name="T2" fmla="*/ 207 w 223"/>
                <a:gd name="T3" fmla="*/ 2 h 482"/>
                <a:gd name="T4" fmla="*/ 215 w 223"/>
                <a:gd name="T5" fmla="*/ 9 h 482"/>
                <a:gd name="T6" fmla="*/ 221 w 223"/>
                <a:gd name="T7" fmla="*/ 18 h 482"/>
                <a:gd name="T8" fmla="*/ 223 w 223"/>
                <a:gd name="T9" fmla="*/ 28 h 482"/>
                <a:gd name="T10" fmla="*/ 223 w 223"/>
                <a:gd name="T11" fmla="*/ 452 h 482"/>
                <a:gd name="T12" fmla="*/ 221 w 223"/>
                <a:gd name="T13" fmla="*/ 465 h 482"/>
                <a:gd name="T14" fmla="*/ 214 w 223"/>
                <a:gd name="T15" fmla="*/ 474 h 482"/>
                <a:gd name="T16" fmla="*/ 204 w 223"/>
                <a:gd name="T17" fmla="*/ 480 h 482"/>
                <a:gd name="T18" fmla="*/ 193 w 223"/>
                <a:gd name="T19" fmla="*/ 482 h 482"/>
                <a:gd name="T20" fmla="*/ 181 w 223"/>
                <a:gd name="T21" fmla="*/ 480 h 482"/>
                <a:gd name="T22" fmla="*/ 172 w 223"/>
                <a:gd name="T23" fmla="*/ 474 h 482"/>
                <a:gd name="T24" fmla="*/ 165 w 223"/>
                <a:gd name="T25" fmla="*/ 465 h 482"/>
                <a:gd name="T26" fmla="*/ 163 w 223"/>
                <a:gd name="T27" fmla="*/ 452 h 482"/>
                <a:gd name="T28" fmla="*/ 163 w 223"/>
                <a:gd name="T29" fmla="*/ 86 h 482"/>
                <a:gd name="T30" fmla="*/ 46 w 223"/>
                <a:gd name="T31" fmla="*/ 166 h 482"/>
                <a:gd name="T32" fmla="*/ 35 w 223"/>
                <a:gd name="T33" fmla="*/ 172 h 482"/>
                <a:gd name="T34" fmla="*/ 25 w 223"/>
                <a:gd name="T35" fmla="*/ 172 h 482"/>
                <a:gd name="T36" fmla="*/ 13 w 223"/>
                <a:gd name="T37" fmla="*/ 167 h 482"/>
                <a:gd name="T38" fmla="*/ 5 w 223"/>
                <a:gd name="T39" fmla="*/ 159 h 482"/>
                <a:gd name="T40" fmla="*/ 0 w 223"/>
                <a:gd name="T41" fmla="*/ 149 h 482"/>
                <a:gd name="T42" fmla="*/ 0 w 223"/>
                <a:gd name="T43" fmla="*/ 137 h 482"/>
                <a:gd name="T44" fmla="*/ 4 w 223"/>
                <a:gd name="T45" fmla="*/ 126 h 482"/>
                <a:gd name="T46" fmla="*/ 12 w 223"/>
                <a:gd name="T47" fmla="*/ 118 h 482"/>
                <a:gd name="T48" fmla="*/ 176 w 223"/>
                <a:gd name="T49" fmla="*/ 4 h 482"/>
                <a:gd name="T50" fmla="*/ 186 w 223"/>
                <a:gd name="T51" fmla="*/ 0 h 482"/>
                <a:gd name="T52" fmla="*/ 196 w 223"/>
                <a:gd name="T53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3" h="482">
                  <a:moveTo>
                    <a:pt x="196" y="0"/>
                  </a:moveTo>
                  <a:lnTo>
                    <a:pt x="207" y="2"/>
                  </a:lnTo>
                  <a:lnTo>
                    <a:pt x="215" y="9"/>
                  </a:lnTo>
                  <a:lnTo>
                    <a:pt x="221" y="18"/>
                  </a:lnTo>
                  <a:lnTo>
                    <a:pt x="223" y="28"/>
                  </a:lnTo>
                  <a:lnTo>
                    <a:pt x="223" y="452"/>
                  </a:lnTo>
                  <a:lnTo>
                    <a:pt x="221" y="465"/>
                  </a:lnTo>
                  <a:lnTo>
                    <a:pt x="214" y="474"/>
                  </a:lnTo>
                  <a:lnTo>
                    <a:pt x="204" y="480"/>
                  </a:lnTo>
                  <a:lnTo>
                    <a:pt x="193" y="482"/>
                  </a:lnTo>
                  <a:lnTo>
                    <a:pt x="181" y="480"/>
                  </a:lnTo>
                  <a:lnTo>
                    <a:pt x="172" y="474"/>
                  </a:lnTo>
                  <a:lnTo>
                    <a:pt x="165" y="465"/>
                  </a:lnTo>
                  <a:lnTo>
                    <a:pt x="163" y="452"/>
                  </a:lnTo>
                  <a:lnTo>
                    <a:pt x="163" y="86"/>
                  </a:lnTo>
                  <a:lnTo>
                    <a:pt x="46" y="166"/>
                  </a:lnTo>
                  <a:lnTo>
                    <a:pt x="35" y="172"/>
                  </a:lnTo>
                  <a:lnTo>
                    <a:pt x="25" y="172"/>
                  </a:lnTo>
                  <a:lnTo>
                    <a:pt x="13" y="167"/>
                  </a:lnTo>
                  <a:lnTo>
                    <a:pt x="5" y="159"/>
                  </a:lnTo>
                  <a:lnTo>
                    <a:pt x="0" y="149"/>
                  </a:lnTo>
                  <a:lnTo>
                    <a:pt x="0" y="137"/>
                  </a:lnTo>
                  <a:lnTo>
                    <a:pt x="4" y="126"/>
                  </a:lnTo>
                  <a:lnTo>
                    <a:pt x="12" y="118"/>
                  </a:lnTo>
                  <a:lnTo>
                    <a:pt x="176" y="4"/>
                  </a:lnTo>
                  <a:lnTo>
                    <a:pt x="186" y="0"/>
                  </a:lnTo>
                  <a:lnTo>
                    <a:pt x="19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0" name="Freeform 127">
              <a:extLst>
                <a:ext uri="{FF2B5EF4-FFF2-40B4-BE49-F238E27FC236}">
                  <a16:creationId xmlns:a16="http://schemas.microsoft.com/office/drawing/2014/main" id="{3EC539C0-1563-7552-1BD7-16161EF41A8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151" y="3552826"/>
              <a:ext cx="58738" cy="127000"/>
            </a:xfrm>
            <a:custGeom>
              <a:avLst/>
              <a:gdLst>
                <a:gd name="T0" fmla="*/ 197 w 222"/>
                <a:gd name="T1" fmla="*/ 0 h 484"/>
                <a:gd name="T2" fmla="*/ 207 w 222"/>
                <a:gd name="T3" fmla="*/ 4 h 484"/>
                <a:gd name="T4" fmla="*/ 215 w 222"/>
                <a:gd name="T5" fmla="*/ 10 h 484"/>
                <a:gd name="T6" fmla="*/ 221 w 222"/>
                <a:gd name="T7" fmla="*/ 19 h 484"/>
                <a:gd name="T8" fmla="*/ 222 w 222"/>
                <a:gd name="T9" fmla="*/ 30 h 484"/>
                <a:gd name="T10" fmla="*/ 222 w 222"/>
                <a:gd name="T11" fmla="*/ 454 h 484"/>
                <a:gd name="T12" fmla="*/ 220 w 222"/>
                <a:gd name="T13" fmla="*/ 465 h 484"/>
                <a:gd name="T14" fmla="*/ 214 w 222"/>
                <a:gd name="T15" fmla="*/ 475 h 484"/>
                <a:gd name="T16" fmla="*/ 205 w 222"/>
                <a:gd name="T17" fmla="*/ 481 h 484"/>
                <a:gd name="T18" fmla="*/ 193 w 222"/>
                <a:gd name="T19" fmla="*/ 484 h 484"/>
                <a:gd name="T20" fmla="*/ 182 w 222"/>
                <a:gd name="T21" fmla="*/ 481 h 484"/>
                <a:gd name="T22" fmla="*/ 171 w 222"/>
                <a:gd name="T23" fmla="*/ 475 h 484"/>
                <a:gd name="T24" fmla="*/ 166 w 222"/>
                <a:gd name="T25" fmla="*/ 465 h 484"/>
                <a:gd name="T26" fmla="*/ 163 w 222"/>
                <a:gd name="T27" fmla="*/ 454 h 484"/>
                <a:gd name="T28" fmla="*/ 163 w 222"/>
                <a:gd name="T29" fmla="*/ 86 h 484"/>
                <a:gd name="T30" fmla="*/ 46 w 222"/>
                <a:gd name="T31" fmla="*/ 168 h 484"/>
                <a:gd name="T32" fmla="*/ 35 w 222"/>
                <a:gd name="T33" fmla="*/ 172 h 484"/>
                <a:gd name="T34" fmla="*/ 24 w 222"/>
                <a:gd name="T35" fmla="*/ 172 h 484"/>
                <a:gd name="T36" fmla="*/ 13 w 222"/>
                <a:gd name="T37" fmla="*/ 168 h 484"/>
                <a:gd name="T38" fmla="*/ 4 w 222"/>
                <a:gd name="T39" fmla="*/ 160 h 484"/>
                <a:gd name="T40" fmla="*/ 0 w 222"/>
                <a:gd name="T41" fmla="*/ 149 h 484"/>
                <a:gd name="T42" fmla="*/ 0 w 222"/>
                <a:gd name="T43" fmla="*/ 138 h 484"/>
                <a:gd name="T44" fmla="*/ 4 w 222"/>
                <a:gd name="T45" fmla="*/ 127 h 484"/>
                <a:gd name="T46" fmla="*/ 12 w 222"/>
                <a:gd name="T47" fmla="*/ 118 h 484"/>
                <a:gd name="T48" fmla="*/ 176 w 222"/>
                <a:gd name="T49" fmla="*/ 5 h 484"/>
                <a:gd name="T50" fmla="*/ 185 w 222"/>
                <a:gd name="T51" fmla="*/ 1 h 484"/>
                <a:gd name="T52" fmla="*/ 197 w 222"/>
                <a:gd name="T53" fmla="*/ 0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2" h="484">
                  <a:moveTo>
                    <a:pt x="197" y="0"/>
                  </a:moveTo>
                  <a:lnTo>
                    <a:pt x="207" y="4"/>
                  </a:lnTo>
                  <a:lnTo>
                    <a:pt x="215" y="10"/>
                  </a:lnTo>
                  <a:lnTo>
                    <a:pt x="221" y="19"/>
                  </a:lnTo>
                  <a:lnTo>
                    <a:pt x="222" y="30"/>
                  </a:lnTo>
                  <a:lnTo>
                    <a:pt x="222" y="454"/>
                  </a:lnTo>
                  <a:lnTo>
                    <a:pt x="220" y="465"/>
                  </a:lnTo>
                  <a:lnTo>
                    <a:pt x="214" y="475"/>
                  </a:lnTo>
                  <a:lnTo>
                    <a:pt x="205" y="481"/>
                  </a:lnTo>
                  <a:lnTo>
                    <a:pt x="193" y="484"/>
                  </a:lnTo>
                  <a:lnTo>
                    <a:pt x="182" y="481"/>
                  </a:lnTo>
                  <a:lnTo>
                    <a:pt x="171" y="475"/>
                  </a:lnTo>
                  <a:lnTo>
                    <a:pt x="166" y="465"/>
                  </a:lnTo>
                  <a:lnTo>
                    <a:pt x="163" y="454"/>
                  </a:lnTo>
                  <a:lnTo>
                    <a:pt x="163" y="86"/>
                  </a:lnTo>
                  <a:lnTo>
                    <a:pt x="46" y="168"/>
                  </a:lnTo>
                  <a:lnTo>
                    <a:pt x="35" y="172"/>
                  </a:lnTo>
                  <a:lnTo>
                    <a:pt x="24" y="172"/>
                  </a:lnTo>
                  <a:lnTo>
                    <a:pt x="13" y="168"/>
                  </a:lnTo>
                  <a:lnTo>
                    <a:pt x="4" y="160"/>
                  </a:lnTo>
                  <a:lnTo>
                    <a:pt x="0" y="149"/>
                  </a:lnTo>
                  <a:lnTo>
                    <a:pt x="0" y="138"/>
                  </a:lnTo>
                  <a:lnTo>
                    <a:pt x="4" y="127"/>
                  </a:lnTo>
                  <a:lnTo>
                    <a:pt x="12" y="118"/>
                  </a:lnTo>
                  <a:lnTo>
                    <a:pt x="176" y="5"/>
                  </a:lnTo>
                  <a:lnTo>
                    <a:pt x="185" y="1"/>
                  </a:lnTo>
                  <a:lnTo>
                    <a:pt x="1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1" name="Freeform 128">
              <a:extLst>
                <a:ext uri="{FF2B5EF4-FFF2-40B4-BE49-F238E27FC236}">
                  <a16:creationId xmlns:a16="http://schemas.microsoft.com/office/drawing/2014/main" id="{6CA472B9-5D98-E406-AC43-63A02403DC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626" y="3395663"/>
              <a:ext cx="58738" cy="127000"/>
            </a:xfrm>
            <a:custGeom>
              <a:avLst/>
              <a:gdLst>
                <a:gd name="T0" fmla="*/ 198 w 224"/>
                <a:gd name="T1" fmla="*/ 0 h 482"/>
                <a:gd name="T2" fmla="*/ 208 w 224"/>
                <a:gd name="T3" fmla="*/ 2 h 482"/>
                <a:gd name="T4" fmla="*/ 216 w 224"/>
                <a:gd name="T5" fmla="*/ 9 h 482"/>
                <a:gd name="T6" fmla="*/ 222 w 224"/>
                <a:gd name="T7" fmla="*/ 18 h 482"/>
                <a:gd name="T8" fmla="*/ 224 w 224"/>
                <a:gd name="T9" fmla="*/ 28 h 482"/>
                <a:gd name="T10" fmla="*/ 224 w 224"/>
                <a:gd name="T11" fmla="*/ 452 h 482"/>
                <a:gd name="T12" fmla="*/ 222 w 224"/>
                <a:gd name="T13" fmla="*/ 465 h 482"/>
                <a:gd name="T14" fmla="*/ 215 w 224"/>
                <a:gd name="T15" fmla="*/ 474 h 482"/>
                <a:gd name="T16" fmla="*/ 206 w 224"/>
                <a:gd name="T17" fmla="*/ 480 h 482"/>
                <a:gd name="T18" fmla="*/ 194 w 224"/>
                <a:gd name="T19" fmla="*/ 482 h 482"/>
                <a:gd name="T20" fmla="*/ 183 w 224"/>
                <a:gd name="T21" fmla="*/ 480 h 482"/>
                <a:gd name="T22" fmla="*/ 173 w 224"/>
                <a:gd name="T23" fmla="*/ 474 h 482"/>
                <a:gd name="T24" fmla="*/ 166 w 224"/>
                <a:gd name="T25" fmla="*/ 465 h 482"/>
                <a:gd name="T26" fmla="*/ 164 w 224"/>
                <a:gd name="T27" fmla="*/ 452 h 482"/>
                <a:gd name="T28" fmla="*/ 164 w 224"/>
                <a:gd name="T29" fmla="*/ 86 h 482"/>
                <a:gd name="T30" fmla="*/ 48 w 224"/>
                <a:gd name="T31" fmla="*/ 166 h 482"/>
                <a:gd name="T32" fmla="*/ 36 w 224"/>
                <a:gd name="T33" fmla="*/ 172 h 482"/>
                <a:gd name="T34" fmla="*/ 25 w 224"/>
                <a:gd name="T35" fmla="*/ 172 h 482"/>
                <a:gd name="T36" fmla="*/ 14 w 224"/>
                <a:gd name="T37" fmla="*/ 167 h 482"/>
                <a:gd name="T38" fmla="*/ 6 w 224"/>
                <a:gd name="T39" fmla="*/ 159 h 482"/>
                <a:gd name="T40" fmla="*/ 0 w 224"/>
                <a:gd name="T41" fmla="*/ 149 h 482"/>
                <a:gd name="T42" fmla="*/ 0 w 224"/>
                <a:gd name="T43" fmla="*/ 137 h 482"/>
                <a:gd name="T44" fmla="*/ 5 w 224"/>
                <a:gd name="T45" fmla="*/ 126 h 482"/>
                <a:gd name="T46" fmla="*/ 13 w 224"/>
                <a:gd name="T47" fmla="*/ 118 h 482"/>
                <a:gd name="T48" fmla="*/ 177 w 224"/>
                <a:gd name="T49" fmla="*/ 4 h 482"/>
                <a:gd name="T50" fmla="*/ 187 w 224"/>
                <a:gd name="T51" fmla="*/ 0 h 482"/>
                <a:gd name="T52" fmla="*/ 198 w 224"/>
                <a:gd name="T53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4" h="482">
                  <a:moveTo>
                    <a:pt x="198" y="0"/>
                  </a:moveTo>
                  <a:lnTo>
                    <a:pt x="208" y="2"/>
                  </a:lnTo>
                  <a:lnTo>
                    <a:pt x="216" y="9"/>
                  </a:lnTo>
                  <a:lnTo>
                    <a:pt x="222" y="18"/>
                  </a:lnTo>
                  <a:lnTo>
                    <a:pt x="224" y="28"/>
                  </a:lnTo>
                  <a:lnTo>
                    <a:pt x="224" y="452"/>
                  </a:lnTo>
                  <a:lnTo>
                    <a:pt x="222" y="465"/>
                  </a:lnTo>
                  <a:lnTo>
                    <a:pt x="215" y="474"/>
                  </a:lnTo>
                  <a:lnTo>
                    <a:pt x="206" y="480"/>
                  </a:lnTo>
                  <a:lnTo>
                    <a:pt x="194" y="482"/>
                  </a:lnTo>
                  <a:lnTo>
                    <a:pt x="183" y="480"/>
                  </a:lnTo>
                  <a:lnTo>
                    <a:pt x="173" y="474"/>
                  </a:lnTo>
                  <a:lnTo>
                    <a:pt x="166" y="465"/>
                  </a:lnTo>
                  <a:lnTo>
                    <a:pt x="164" y="452"/>
                  </a:lnTo>
                  <a:lnTo>
                    <a:pt x="164" y="86"/>
                  </a:lnTo>
                  <a:lnTo>
                    <a:pt x="48" y="166"/>
                  </a:lnTo>
                  <a:lnTo>
                    <a:pt x="36" y="172"/>
                  </a:lnTo>
                  <a:lnTo>
                    <a:pt x="25" y="172"/>
                  </a:lnTo>
                  <a:lnTo>
                    <a:pt x="14" y="167"/>
                  </a:lnTo>
                  <a:lnTo>
                    <a:pt x="6" y="159"/>
                  </a:lnTo>
                  <a:lnTo>
                    <a:pt x="0" y="149"/>
                  </a:lnTo>
                  <a:lnTo>
                    <a:pt x="0" y="137"/>
                  </a:lnTo>
                  <a:lnTo>
                    <a:pt x="5" y="126"/>
                  </a:lnTo>
                  <a:lnTo>
                    <a:pt x="13" y="118"/>
                  </a:lnTo>
                  <a:lnTo>
                    <a:pt x="177" y="4"/>
                  </a:lnTo>
                  <a:lnTo>
                    <a:pt x="187" y="0"/>
                  </a:lnTo>
                  <a:lnTo>
                    <a:pt x="19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2" name="Freeform 129">
              <a:extLst>
                <a:ext uri="{FF2B5EF4-FFF2-40B4-BE49-F238E27FC236}">
                  <a16:creationId xmlns:a16="http://schemas.microsoft.com/office/drawing/2014/main" id="{0ED0032F-637D-4C89-A752-E28C8ECD34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62688" y="3221038"/>
              <a:ext cx="84138" cy="120650"/>
            </a:xfrm>
            <a:custGeom>
              <a:avLst/>
              <a:gdLst>
                <a:gd name="T0" fmla="*/ 89 w 318"/>
                <a:gd name="T1" fmla="*/ 60 h 454"/>
                <a:gd name="T2" fmla="*/ 77 w 318"/>
                <a:gd name="T3" fmla="*/ 62 h 454"/>
                <a:gd name="T4" fmla="*/ 68 w 318"/>
                <a:gd name="T5" fmla="*/ 68 h 454"/>
                <a:gd name="T6" fmla="*/ 62 w 318"/>
                <a:gd name="T7" fmla="*/ 77 h 454"/>
                <a:gd name="T8" fmla="*/ 60 w 318"/>
                <a:gd name="T9" fmla="*/ 89 h 454"/>
                <a:gd name="T10" fmla="*/ 60 w 318"/>
                <a:gd name="T11" fmla="*/ 365 h 454"/>
                <a:gd name="T12" fmla="*/ 62 w 318"/>
                <a:gd name="T13" fmla="*/ 376 h 454"/>
                <a:gd name="T14" fmla="*/ 68 w 318"/>
                <a:gd name="T15" fmla="*/ 386 h 454"/>
                <a:gd name="T16" fmla="*/ 77 w 318"/>
                <a:gd name="T17" fmla="*/ 392 h 454"/>
                <a:gd name="T18" fmla="*/ 89 w 318"/>
                <a:gd name="T19" fmla="*/ 394 h 454"/>
                <a:gd name="T20" fmla="*/ 228 w 318"/>
                <a:gd name="T21" fmla="*/ 394 h 454"/>
                <a:gd name="T22" fmla="*/ 240 w 318"/>
                <a:gd name="T23" fmla="*/ 392 h 454"/>
                <a:gd name="T24" fmla="*/ 249 w 318"/>
                <a:gd name="T25" fmla="*/ 386 h 454"/>
                <a:gd name="T26" fmla="*/ 256 w 318"/>
                <a:gd name="T27" fmla="*/ 376 h 454"/>
                <a:gd name="T28" fmla="*/ 258 w 318"/>
                <a:gd name="T29" fmla="*/ 365 h 454"/>
                <a:gd name="T30" fmla="*/ 258 w 318"/>
                <a:gd name="T31" fmla="*/ 89 h 454"/>
                <a:gd name="T32" fmla="*/ 256 w 318"/>
                <a:gd name="T33" fmla="*/ 77 h 454"/>
                <a:gd name="T34" fmla="*/ 249 w 318"/>
                <a:gd name="T35" fmla="*/ 68 h 454"/>
                <a:gd name="T36" fmla="*/ 240 w 318"/>
                <a:gd name="T37" fmla="*/ 62 h 454"/>
                <a:gd name="T38" fmla="*/ 228 w 318"/>
                <a:gd name="T39" fmla="*/ 60 h 454"/>
                <a:gd name="T40" fmla="*/ 89 w 318"/>
                <a:gd name="T41" fmla="*/ 60 h 454"/>
                <a:gd name="T42" fmla="*/ 89 w 318"/>
                <a:gd name="T43" fmla="*/ 0 h 454"/>
                <a:gd name="T44" fmla="*/ 228 w 318"/>
                <a:gd name="T45" fmla="*/ 0 h 454"/>
                <a:gd name="T46" fmla="*/ 253 w 318"/>
                <a:gd name="T47" fmla="*/ 4 h 454"/>
                <a:gd name="T48" fmla="*/ 273 w 318"/>
                <a:gd name="T49" fmla="*/ 12 h 454"/>
                <a:gd name="T50" fmla="*/ 292 w 318"/>
                <a:gd name="T51" fmla="*/ 27 h 454"/>
                <a:gd name="T52" fmla="*/ 306 w 318"/>
                <a:gd name="T53" fmla="*/ 44 h 454"/>
                <a:gd name="T54" fmla="*/ 315 w 318"/>
                <a:gd name="T55" fmla="*/ 66 h 454"/>
                <a:gd name="T56" fmla="*/ 318 w 318"/>
                <a:gd name="T57" fmla="*/ 89 h 454"/>
                <a:gd name="T58" fmla="*/ 318 w 318"/>
                <a:gd name="T59" fmla="*/ 365 h 454"/>
                <a:gd name="T60" fmla="*/ 315 w 318"/>
                <a:gd name="T61" fmla="*/ 389 h 454"/>
                <a:gd name="T62" fmla="*/ 306 w 318"/>
                <a:gd name="T63" fmla="*/ 409 h 454"/>
                <a:gd name="T64" fmla="*/ 292 w 318"/>
                <a:gd name="T65" fmla="*/ 428 h 454"/>
                <a:gd name="T66" fmla="*/ 273 w 318"/>
                <a:gd name="T67" fmla="*/ 441 h 454"/>
                <a:gd name="T68" fmla="*/ 253 w 318"/>
                <a:gd name="T69" fmla="*/ 451 h 454"/>
                <a:gd name="T70" fmla="*/ 228 w 318"/>
                <a:gd name="T71" fmla="*/ 454 h 454"/>
                <a:gd name="T72" fmla="*/ 89 w 318"/>
                <a:gd name="T73" fmla="*/ 454 h 454"/>
                <a:gd name="T74" fmla="*/ 66 w 318"/>
                <a:gd name="T75" fmla="*/ 451 h 454"/>
                <a:gd name="T76" fmla="*/ 44 w 318"/>
                <a:gd name="T77" fmla="*/ 441 h 454"/>
                <a:gd name="T78" fmla="*/ 27 w 318"/>
                <a:gd name="T79" fmla="*/ 428 h 454"/>
                <a:gd name="T80" fmla="*/ 13 w 318"/>
                <a:gd name="T81" fmla="*/ 409 h 454"/>
                <a:gd name="T82" fmla="*/ 4 w 318"/>
                <a:gd name="T83" fmla="*/ 389 h 454"/>
                <a:gd name="T84" fmla="*/ 0 w 318"/>
                <a:gd name="T85" fmla="*/ 365 h 454"/>
                <a:gd name="T86" fmla="*/ 0 w 318"/>
                <a:gd name="T87" fmla="*/ 89 h 454"/>
                <a:gd name="T88" fmla="*/ 4 w 318"/>
                <a:gd name="T89" fmla="*/ 66 h 454"/>
                <a:gd name="T90" fmla="*/ 13 w 318"/>
                <a:gd name="T91" fmla="*/ 44 h 454"/>
                <a:gd name="T92" fmla="*/ 27 w 318"/>
                <a:gd name="T93" fmla="*/ 27 h 454"/>
                <a:gd name="T94" fmla="*/ 44 w 318"/>
                <a:gd name="T95" fmla="*/ 12 h 454"/>
                <a:gd name="T96" fmla="*/ 66 w 318"/>
                <a:gd name="T97" fmla="*/ 4 h 454"/>
                <a:gd name="T98" fmla="*/ 89 w 318"/>
                <a:gd name="T99" fmla="*/ 0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18" h="454">
                  <a:moveTo>
                    <a:pt x="89" y="60"/>
                  </a:moveTo>
                  <a:lnTo>
                    <a:pt x="77" y="62"/>
                  </a:lnTo>
                  <a:lnTo>
                    <a:pt x="68" y="68"/>
                  </a:lnTo>
                  <a:lnTo>
                    <a:pt x="62" y="77"/>
                  </a:lnTo>
                  <a:lnTo>
                    <a:pt x="60" y="89"/>
                  </a:lnTo>
                  <a:lnTo>
                    <a:pt x="60" y="365"/>
                  </a:lnTo>
                  <a:lnTo>
                    <a:pt x="62" y="376"/>
                  </a:lnTo>
                  <a:lnTo>
                    <a:pt x="68" y="386"/>
                  </a:lnTo>
                  <a:lnTo>
                    <a:pt x="77" y="392"/>
                  </a:lnTo>
                  <a:lnTo>
                    <a:pt x="89" y="394"/>
                  </a:lnTo>
                  <a:lnTo>
                    <a:pt x="228" y="394"/>
                  </a:lnTo>
                  <a:lnTo>
                    <a:pt x="240" y="392"/>
                  </a:lnTo>
                  <a:lnTo>
                    <a:pt x="249" y="386"/>
                  </a:lnTo>
                  <a:lnTo>
                    <a:pt x="256" y="376"/>
                  </a:lnTo>
                  <a:lnTo>
                    <a:pt x="258" y="365"/>
                  </a:lnTo>
                  <a:lnTo>
                    <a:pt x="258" y="89"/>
                  </a:lnTo>
                  <a:lnTo>
                    <a:pt x="256" y="77"/>
                  </a:lnTo>
                  <a:lnTo>
                    <a:pt x="249" y="68"/>
                  </a:lnTo>
                  <a:lnTo>
                    <a:pt x="240" y="62"/>
                  </a:lnTo>
                  <a:lnTo>
                    <a:pt x="228" y="60"/>
                  </a:lnTo>
                  <a:lnTo>
                    <a:pt x="89" y="60"/>
                  </a:lnTo>
                  <a:close/>
                  <a:moveTo>
                    <a:pt x="89" y="0"/>
                  </a:moveTo>
                  <a:lnTo>
                    <a:pt x="228" y="0"/>
                  </a:lnTo>
                  <a:lnTo>
                    <a:pt x="253" y="4"/>
                  </a:lnTo>
                  <a:lnTo>
                    <a:pt x="273" y="12"/>
                  </a:lnTo>
                  <a:lnTo>
                    <a:pt x="292" y="27"/>
                  </a:lnTo>
                  <a:lnTo>
                    <a:pt x="306" y="44"/>
                  </a:lnTo>
                  <a:lnTo>
                    <a:pt x="315" y="66"/>
                  </a:lnTo>
                  <a:lnTo>
                    <a:pt x="318" y="89"/>
                  </a:lnTo>
                  <a:lnTo>
                    <a:pt x="318" y="365"/>
                  </a:lnTo>
                  <a:lnTo>
                    <a:pt x="315" y="389"/>
                  </a:lnTo>
                  <a:lnTo>
                    <a:pt x="306" y="409"/>
                  </a:lnTo>
                  <a:lnTo>
                    <a:pt x="292" y="428"/>
                  </a:lnTo>
                  <a:lnTo>
                    <a:pt x="273" y="441"/>
                  </a:lnTo>
                  <a:lnTo>
                    <a:pt x="253" y="451"/>
                  </a:lnTo>
                  <a:lnTo>
                    <a:pt x="228" y="454"/>
                  </a:lnTo>
                  <a:lnTo>
                    <a:pt x="89" y="454"/>
                  </a:lnTo>
                  <a:lnTo>
                    <a:pt x="66" y="451"/>
                  </a:lnTo>
                  <a:lnTo>
                    <a:pt x="44" y="441"/>
                  </a:lnTo>
                  <a:lnTo>
                    <a:pt x="27" y="428"/>
                  </a:lnTo>
                  <a:lnTo>
                    <a:pt x="13" y="409"/>
                  </a:lnTo>
                  <a:lnTo>
                    <a:pt x="4" y="389"/>
                  </a:lnTo>
                  <a:lnTo>
                    <a:pt x="0" y="365"/>
                  </a:lnTo>
                  <a:lnTo>
                    <a:pt x="0" y="89"/>
                  </a:lnTo>
                  <a:lnTo>
                    <a:pt x="4" y="66"/>
                  </a:lnTo>
                  <a:lnTo>
                    <a:pt x="13" y="44"/>
                  </a:lnTo>
                  <a:lnTo>
                    <a:pt x="27" y="27"/>
                  </a:lnTo>
                  <a:lnTo>
                    <a:pt x="44" y="12"/>
                  </a:lnTo>
                  <a:lnTo>
                    <a:pt x="66" y="4"/>
                  </a:lnTo>
                  <a:lnTo>
                    <a:pt x="8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3" name="Freeform 130">
              <a:extLst>
                <a:ext uri="{FF2B5EF4-FFF2-40B4-BE49-F238E27FC236}">
                  <a16:creationId xmlns:a16="http://schemas.microsoft.com/office/drawing/2014/main" id="{CFF50691-C783-0FEE-7D60-01A5B98032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72213" y="3559176"/>
              <a:ext cx="84138" cy="120650"/>
            </a:xfrm>
            <a:custGeom>
              <a:avLst/>
              <a:gdLst>
                <a:gd name="T0" fmla="*/ 89 w 317"/>
                <a:gd name="T1" fmla="*/ 59 h 453"/>
                <a:gd name="T2" fmla="*/ 77 w 317"/>
                <a:gd name="T3" fmla="*/ 62 h 453"/>
                <a:gd name="T4" fmla="*/ 68 w 317"/>
                <a:gd name="T5" fmla="*/ 68 h 453"/>
                <a:gd name="T6" fmla="*/ 61 w 317"/>
                <a:gd name="T7" fmla="*/ 78 h 453"/>
                <a:gd name="T8" fmla="*/ 59 w 317"/>
                <a:gd name="T9" fmla="*/ 89 h 453"/>
                <a:gd name="T10" fmla="*/ 59 w 317"/>
                <a:gd name="T11" fmla="*/ 365 h 453"/>
                <a:gd name="T12" fmla="*/ 61 w 317"/>
                <a:gd name="T13" fmla="*/ 377 h 453"/>
                <a:gd name="T14" fmla="*/ 68 w 317"/>
                <a:gd name="T15" fmla="*/ 386 h 453"/>
                <a:gd name="T16" fmla="*/ 77 w 317"/>
                <a:gd name="T17" fmla="*/ 393 h 453"/>
                <a:gd name="T18" fmla="*/ 89 w 317"/>
                <a:gd name="T19" fmla="*/ 395 h 453"/>
                <a:gd name="T20" fmla="*/ 228 w 317"/>
                <a:gd name="T21" fmla="*/ 395 h 453"/>
                <a:gd name="T22" fmla="*/ 240 w 317"/>
                <a:gd name="T23" fmla="*/ 393 h 453"/>
                <a:gd name="T24" fmla="*/ 249 w 317"/>
                <a:gd name="T25" fmla="*/ 386 h 453"/>
                <a:gd name="T26" fmla="*/ 255 w 317"/>
                <a:gd name="T27" fmla="*/ 377 h 453"/>
                <a:gd name="T28" fmla="*/ 257 w 317"/>
                <a:gd name="T29" fmla="*/ 365 h 453"/>
                <a:gd name="T30" fmla="*/ 257 w 317"/>
                <a:gd name="T31" fmla="*/ 89 h 453"/>
                <a:gd name="T32" fmla="*/ 255 w 317"/>
                <a:gd name="T33" fmla="*/ 78 h 453"/>
                <a:gd name="T34" fmla="*/ 249 w 317"/>
                <a:gd name="T35" fmla="*/ 68 h 453"/>
                <a:gd name="T36" fmla="*/ 240 w 317"/>
                <a:gd name="T37" fmla="*/ 62 h 453"/>
                <a:gd name="T38" fmla="*/ 228 w 317"/>
                <a:gd name="T39" fmla="*/ 59 h 453"/>
                <a:gd name="T40" fmla="*/ 89 w 317"/>
                <a:gd name="T41" fmla="*/ 59 h 453"/>
                <a:gd name="T42" fmla="*/ 89 w 317"/>
                <a:gd name="T43" fmla="*/ 0 h 453"/>
                <a:gd name="T44" fmla="*/ 228 w 317"/>
                <a:gd name="T45" fmla="*/ 0 h 453"/>
                <a:gd name="T46" fmla="*/ 251 w 317"/>
                <a:gd name="T47" fmla="*/ 3 h 453"/>
                <a:gd name="T48" fmla="*/ 273 w 317"/>
                <a:gd name="T49" fmla="*/ 12 h 453"/>
                <a:gd name="T50" fmla="*/ 290 w 317"/>
                <a:gd name="T51" fmla="*/ 26 h 453"/>
                <a:gd name="T52" fmla="*/ 304 w 317"/>
                <a:gd name="T53" fmla="*/ 44 h 453"/>
                <a:gd name="T54" fmla="*/ 313 w 317"/>
                <a:gd name="T55" fmla="*/ 65 h 453"/>
                <a:gd name="T56" fmla="*/ 317 w 317"/>
                <a:gd name="T57" fmla="*/ 89 h 453"/>
                <a:gd name="T58" fmla="*/ 317 w 317"/>
                <a:gd name="T59" fmla="*/ 365 h 453"/>
                <a:gd name="T60" fmla="*/ 313 w 317"/>
                <a:gd name="T61" fmla="*/ 388 h 453"/>
                <a:gd name="T62" fmla="*/ 304 w 317"/>
                <a:gd name="T63" fmla="*/ 410 h 453"/>
                <a:gd name="T64" fmla="*/ 290 w 317"/>
                <a:gd name="T65" fmla="*/ 428 h 453"/>
                <a:gd name="T66" fmla="*/ 273 w 317"/>
                <a:gd name="T67" fmla="*/ 442 h 453"/>
                <a:gd name="T68" fmla="*/ 251 w 317"/>
                <a:gd name="T69" fmla="*/ 451 h 453"/>
                <a:gd name="T70" fmla="*/ 228 w 317"/>
                <a:gd name="T71" fmla="*/ 453 h 453"/>
                <a:gd name="T72" fmla="*/ 89 w 317"/>
                <a:gd name="T73" fmla="*/ 453 h 453"/>
                <a:gd name="T74" fmla="*/ 64 w 317"/>
                <a:gd name="T75" fmla="*/ 451 h 453"/>
                <a:gd name="T76" fmla="*/ 44 w 317"/>
                <a:gd name="T77" fmla="*/ 442 h 453"/>
                <a:gd name="T78" fmla="*/ 25 w 317"/>
                <a:gd name="T79" fmla="*/ 428 h 453"/>
                <a:gd name="T80" fmla="*/ 11 w 317"/>
                <a:gd name="T81" fmla="*/ 410 h 453"/>
                <a:gd name="T82" fmla="*/ 2 w 317"/>
                <a:gd name="T83" fmla="*/ 388 h 453"/>
                <a:gd name="T84" fmla="*/ 0 w 317"/>
                <a:gd name="T85" fmla="*/ 365 h 453"/>
                <a:gd name="T86" fmla="*/ 0 w 317"/>
                <a:gd name="T87" fmla="*/ 89 h 453"/>
                <a:gd name="T88" fmla="*/ 2 w 317"/>
                <a:gd name="T89" fmla="*/ 65 h 453"/>
                <a:gd name="T90" fmla="*/ 11 w 317"/>
                <a:gd name="T91" fmla="*/ 44 h 453"/>
                <a:gd name="T92" fmla="*/ 25 w 317"/>
                <a:gd name="T93" fmla="*/ 26 h 453"/>
                <a:gd name="T94" fmla="*/ 44 w 317"/>
                <a:gd name="T95" fmla="*/ 12 h 453"/>
                <a:gd name="T96" fmla="*/ 64 w 317"/>
                <a:gd name="T97" fmla="*/ 3 h 453"/>
                <a:gd name="T98" fmla="*/ 89 w 317"/>
                <a:gd name="T99" fmla="*/ 0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17" h="453">
                  <a:moveTo>
                    <a:pt x="89" y="59"/>
                  </a:moveTo>
                  <a:lnTo>
                    <a:pt x="77" y="62"/>
                  </a:lnTo>
                  <a:lnTo>
                    <a:pt x="68" y="68"/>
                  </a:lnTo>
                  <a:lnTo>
                    <a:pt x="61" y="78"/>
                  </a:lnTo>
                  <a:lnTo>
                    <a:pt x="59" y="89"/>
                  </a:lnTo>
                  <a:lnTo>
                    <a:pt x="59" y="365"/>
                  </a:lnTo>
                  <a:lnTo>
                    <a:pt x="61" y="377"/>
                  </a:lnTo>
                  <a:lnTo>
                    <a:pt x="68" y="386"/>
                  </a:lnTo>
                  <a:lnTo>
                    <a:pt x="77" y="393"/>
                  </a:lnTo>
                  <a:lnTo>
                    <a:pt x="89" y="395"/>
                  </a:lnTo>
                  <a:lnTo>
                    <a:pt x="228" y="395"/>
                  </a:lnTo>
                  <a:lnTo>
                    <a:pt x="240" y="393"/>
                  </a:lnTo>
                  <a:lnTo>
                    <a:pt x="249" y="386"/>
                  </a:lnTo>
                  <a:lnTo>
                    <a:pt x="255" y="377"/>
                  </a:lnTo>
                  <a:lnTo>
                    <a:pt x="257" y="365"/>
                  </a:lnTo>
                  <a:lnTo>
                    <a:pt x="257" y="89"/>
                  </a:lnTo>
                  <a:lnTo>
                    <a:pt x="255" y="78"/>
                  </a:lnTo>
                  <a:lnTo>
                    <a:pt x="249" y="68"/>
                  </a:lnTo>
                  <a:lnTo>
                    <a:pt x="240" y="62"/>
                  </a:lnTo>
                  <a:lnTo>
                    <a:pt x="228" y="59"/>
                  </a:lnTo>
                  <a:lnTo>
                    <a:pt x="89" y="59"/>
                  </a:lnTo>
                  <a:close/>
                  <a:moveTo>
                    <a:pt x="89" y="0"/>
                  </a:moveTo>
                  <a:lnTo>
                    <a:pt x="228" y="0"/>
                  </a:lnTo>
                  <a:lnTo>
                    <a:pt x="251" y="3"/>
                  </a:lnTo>
                  <a:lnTo>
                    <a:pt x="273" y="12"/>
                  </a:lnTo>
                  <a:lnTo>
                    <a:pt x="290" y="26"/>
                  </a:lnTo>
                  <a:lnTo>
                    <a:pt x="304" y="44"/>
                  </a:lnTo>
                  <a:lnTo>
                    <a:pt x="313" y="65"/>
                  </a:lnTo>
                  <a:lnTo>
                    <a:pt x="317" y="89"/>
                  </a:lnTo>
                  <a:lnTo>
                    <a:pt x="317" y="365"/>
                  </a:lnTo>
                  <a:lnTo>
                    <a:pt x="313" y="388"/>
                  </a:lnTo>
                  <a:lnTo>
                    <a:pt x="304" y="410"/>
                  </a:lnTo>
                  <a:lnTo>
                    <a:pt x="290" y="428"/>
                  </a:lnTo>
                  <a:lnTo>
                    <a:pt x="273" y="442"/>
                  </a:lnTo>
                  <a:lnTo>
                    <a:pt x="251" y="451"/>
                  </a:lnTo>
                  <a:lnTo>
                    <a:pt x="228" y="453"/>
                  </a:lnTo>
                  <a:lnTo>
                    <a:pt x="89" y="453"/>
                  </a:lnTo>
                  <a:lnTo>
                    <a:pt x="64" y="451"/>
                  </a:lnTo>
                  <a:lnTo>
                    <a:pt x="44" y="442"/>
                  </a:lnTo>
                  <a:lnTo>
                    <a:pt x="25" y="428"/>
                  </a:lnTo>
                  <a:lnTo>
                    <a:pt x="11" y="410"/>
                  </a:lnTo>
                  <a:lnTo>
                    <a:pt x="2" y="388"/>
                  </a:lnTo>
                  <a:lnTo>
                    <a:pt x="0" y="365"/>
                  </a:lnTo>
                  <a:lnTo>
                    <a:pt x="0" y="89"/>
                  </a:lnTo>
                  <a:lnTo>
                    <a:pt x="2" y="65"/>
                  </a:lnTo>
                  <a:lnTo>
                    <a:pt x="11" y="44"/>
                  </a:lnTo>
                  <a:lnTo>
                    <a:pt x="25" y="26"/>
                  </a:lnTo>
                  <a:lnTo>
                    <a:pt x="44" y="12"/>
                  </a:lnTo>
                  <a:lnTo>
                    <a:pt x="64" y="3"/>
                  </a:lnTo>
                  <a:lnTo>
                    <a:pt x="8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4" name="Freeform 131">
              <a:extLst>
                <a:ext uri="{FF2B5EF4-FFF2-40B4-BE49-F238E27FC236}">
                  <a16:creationId xmlns:a16="http://schemas.microsoft.com/office/drawing/2014/main" id="{6A933F19-85E1-49FC-7591-20CAAADDB98D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5388" y="3395663"/>
              <a:ext cx="58738" cy="127000"/>
            </a:xfrm>
            <a:custGeom>
              <a:avLst/>
              <a:gdLst>
                <a:gd name="T0" fmla="*/ 198 w 224"/>
                <a:gd name="T1" fmla="*/ 0 h 482"/>
                <a:gd name="T2" fmla="*/ 208 w 224"/>
                <a:gd name="T3" fmla="*/ 2 h 482"/>
                <a:gd name="T4" fmla="*/ 216 w 224"/>
                <a:gd name="T5" fmla="*/ 9 h 482"/>
                <a:gd name="T6" fmla="*/ 222 w 224"/>
                <a:gd name="T7" fmla="*/ 18 h 482"/>
                <a:gd name="T8" fmla="*/ 224 w 224"/>
                <a:gd name="T9" fmla="*/ 28 h 482"/>
                <a:gd name="T10" fmla="*/ 224 w 224"/>
                <a:gd name="T11" fmla="*/ 452 h 482"/>
                <a:gd name="T12" fmla="*/ 222 w 224"/>
                <a:gd name="T13" fmla="*/ 465 h 482"/>
                <a:gd name="T14" fmla="*/ 215 w 224"/>
                <a:gd name="T15" fmla="*/ 474 h 482"/>
                <a:gd name="T16" fmla="*/ 206 w 224"/>
                <a:gd name="T17" fmla="*/ 480 h 482"/>
                <a:gd name="T18" fmla="*/ 194 w 224"/>
                <a:gd name="T19" fmla="*/ 482 h 482"/>
                <a:gd name="T20" fmla="*/ 183 w 224"/>
                <a:gd name="T21" fmla="*/ 480 h 482"/>
                <a:gd name="T22" fmla="*/ 173 w 224"/>
                <a:gd name="T23" fmla="*/ 474 h 482"/>
                <a:gd name="T24" fmla="*/ 166 w 224"/>
                <a:gd name="T25" fmla="*/ 465 h 482"/>
                <a:gd name="T26" fmla="*/ 164 w 224"/>
                <a:gd name="T27" fmla="*/ 452 h 482"/>
                <a:gd name="T28" fmla="*/ 164 w 224"/>
                <a:gd name="T29" fmla="*/ 86 h 482"/>
                <a:gd name="T30" fmla="*/ 47 w 224"/>
                <a:gd name="T31" fmla="*/ 166 h 482"/>
                <a:gd name="T32" fmla="*/ 36 w 224"/>
                <a:gd name="T33" fmla="*/ 172 h 482"/>
                <a:gd name="T34" fmla="*/ 25 w 224"/>
                <a:gd name="T35" fmla="*/ 172 h 482"/>
                <a:gd name="T36" fmla="*/ 14 w 224"/>
                <a:gd name="T37" fmla="*/ 167 h 482"/>
                <a:gd name="T38" fmla="*/ 5 w 224"/>
                <a:gd name="T39" fmla="*/ 159 h 482"/>
                <a:gd name="T40" fmla="*/ 0 w 224"/>
                <a:gd name="T41" fmla="*/ 149 h 482"/>
                <a:gd name="T42" fmla="*/ 0 w 224"/>
                <a:gd name="T43" fmla="*/ 137 h 482"/>
                <a:gd name="T44" fmla="*/ 5 w 224"/>
                <a:gd name="T45" fmla="*/ 126 h 482"/>
                <a:gd name="T46" fmla="*/ 13 w 224"/>
                <a:gd name="T47" fmla="*/ 118 h 482"/>
                <a:gd name="T48" fmla="*/ 177 w 224"/>
                <a:gd name="T49" fmla="*/ 4 h 482"/>
                <a:gd name="T50" fmla="*/ 187 w 224"/>
                <a:gd name="T51" fmla="*/ 0 h 482"/>
                <a:gd name="T52" fmla="*/ 198 w 224"/>
                <a:gd name="T53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4" h="482">
                  <a:moveTo>
                    <a:pt x="198" y="0"/>
                  </a:moveTo>
                  <a:lnTo>
                    <a:pt x="208" y="2"/>
                  </a:lnTo>
                  <a:lnTo>
                    <a:pt x="216" y="9"/>
                  </a:lnTo>
                  <a:lnTo>
                    <a:pt x="222" y="18"/>
                  </a:lnTo>
                  <a:lnTo>
                    <a:pt x="224" y="28"/>
                  </a:lnTo>
                  <a:lnTo>
                    <a:pt x="224" y="452"/>
                  </a:lnTo>
                  <a:lnTo>
                    <a:pt x="222" y="465"/>
                  </a:lnTo>
                  <a:lnTo>
                    <a:pt x="215" y="474"/>
                  </a:lnTo>
                  <a:lnTo>
                    <a:pt x="206" y="480"/>
                  </a:lnTo>
                  <a:lnTo>
                    <a:pt x="194" y="482"/>
                  </a:lnTo>
                  <a:lnTo>
                    <a:pt x="183" y="480"/>
                  </a:lnTo>
                  <a:lnTo>
                    <a:pt x="173" y="474"/>
                  </a:lnTo>
                  <a:lnTo>
                    <a:pt x="166" y="465"/>
                  </a:lnTo>
                  <a:lnTo>
                    <a:pt x="164" y="452"/>
                  </a:lnTo>
                  <a:lnTo>
                    <a:pt x="164" y="86"/>
                  </a:lnTo>
                  <a:lnTo>
                    <a:pt x="47" y="166"/>
                  </a:lnTo>
                  <a:lnTo>
                    <a:pt x="36" y="172"/>
                  </a:lnTo>
                  <a:lnTo>
                    <a:pt x="25" y="172"/>
                  </a:lnTo>
                  <a:lnTo>
                    <a:pt x="14" y="167"/>
                  </a:lnTo>
                  <a:lnTo>
                    <a:pt x="5" y="159"/>
                  </a:lnTo>
                  <a:lnTo>
                    <a:pt x="0" y="149"/>
                  </a:lnTo>
                  <a:lnTo>
                    <a:pt x="0" y="137"/>
                  </a:lnTo>
                  <a:lnTo>
                    <a:pt x="5" y="126"/>
                  </a:lnTo>
                  <a:lnTo>
                    <a:pt x="13" y="118"/>
                  </a:lnTo>
                  <a:lnTo>
                    <a:pt x="177" y="4"/>
                  </a:lnTo>
                  <a:lnTo>
                    <a:pt x="187" y="0"/>
                  </a:lnTo>
                  <a:lnTo>
                    <a:pt x="19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C1845D5-C65C-15E8-F6F0-AF863168F786}"/>
              </a:ext>
            </a:extLst>
          </p:cNvPr>
          <p:cNvGrpSpPr/>
          <p:nvPr/>
        </p:nvGrpSpPr>
        <p:grpSpPr>
          <a:xfrm>
            <a:off x="3186786" y="2700018"/>
            <a:ext cx="640442" cy="644300"/>
            <a:chOff x="4895850" y="5472113"/>
            <a:chExt cx="1054101" cy="1060451"/>
          </a:xfrm>
          <a:solidFill>
            <a:schemeClr val="bg1"/>
          </a:solidFill>
        </p:grpSpPr>
        <p:sp>
          <p:nvSpPr>
            <p:cNvPr id="36" name="Freeform 569">
              <a:extLst>
                <a:ext uri="{FF2B5EF4-FFF2-40B4-BE49-F238E27FC236}">
                  <a16:creationId xmlns:a16="http://schemas.microsoft.com/office/drawing/2014/main" id="{2A106D20-9768-F2EA-CE58-B5F4D43F16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83200" y="5513388"/>
              <a:ext cx="622300" cy="720725"/>
            </a:xfrm>
            <a:custGeom>
              <a:avLst/>
              <a:gdLst>
                <a:gd name="T0" fmla="*/ 57 w 1957"/>
                <a:gd name="T1" fmla="*/ 1734 h 2268"/>
                <a:gd name="T2" fmla="*/ 27 w 1957"/>
                <a:gd name="T3" fmla="*/ 1833 h 2268"/>
                <a:gd name="T4" fmla="*/ 95 w 1957"/>
                <a:gd name="T5" fmla="*/ 1916 h 2268"/>
                <a:gd name="T6" fmla="*/ 200 w 1957"/>
                <a:gd name="T7" fmla="*/ 1905 h 2268"/>
                <a:gd name="T8" fmla="*/ 251 w 1957"/>
                <a:gd name="T9" fmla="*/ 1813 h 2268"/>
                <a:gd name="T10" fmla="*/ 200 w 1957"/>
                <a:gd name="T11" fmla="*/ 1719 h 2268"/>
                <a:gd name="T12" fmla="*/ 929 w 1957"/>
                <a:gd name="T13" fmla="*/ 1318 h 2268"/>
                <a:gd name="T14" fmla="*/ 839 w 1957"/>
                <a:gd name="T15" fmla="*/ 1348 h 2268"/>
                <a:gd name="T16" fmla="*/ 1114 w 1957"/>
                <a:gd name="T17" fmla="*/ 1040 h 2268"/>
                <a:gd name="T18" fmla="*/ 1100 w 1957"/>
                <a:gd name="T19" fmla="*/ 1004 h 2268"/>
                <a:gd name="T20" fmla="*/ 817 w 1957"/>
                <a:gd name="T21" fmla="*/ 951 h 2268"/>
                <a:gd name="T22" fmla="*/ 685 w 1957"/>
                <a:gd name="T23" fmla="*/ 1005 h 2268"/>
                <a:gd name="T24" fmla="*/ 630 w 1957"/>
                <a:gd name="T25" fmla="*/ 1137 h 2268"/>
                <a:gd name="T26" fmla="*/ 685 w 1957"/>
                <a:gd name="T27" fmla="*/ 1268 h 2268"/>
                <a:gd name="T28" fmla="*/ 817 w 1957"/>
                <a:gd name="T29" fmla="*/ 1323 h 2268"/>
                <a:gd name="T30" fmla="*/ 950 w 1957"/>
                <a:gd name="T31" fmla="*/ 1268 h 2268"/>
                <a:gd name="T32" fmla="*/ 1005 w 1957"/>
                <a:gd name="T33" fmla="*/ 1137 h 2268"/>
                <a:gd name="T34" fmla="*/ 950 w 1957"/>
                <a:gd name="T35" fmla="*/ 1005 h 2268"/>
                <a:gd name="T36" fmla="*/ 817 w 1957"/>
                <a:gd name="T37" fmla="*/ 951 h 2268"/>
                <a:gd name="T38" fmla="*/ 934 w 1957"/>
                <a:gd name="T39" fmla="*/ 41 h 2268"/>
                <a:gd name="T40" fmla="*/ 996 w 1957"/>
                <a:gd name="T41" fmla="*/ 173 h 2268"/>
                <a:gd name="T42" fmla="*/ 930 w 1957"/>
                <a:gd name="T43" fmla="*/ 309 h 2268"/>
                <a:gd name="T44" fmla="*/ 846 w 1957"/>
                <a:gd name="T45" fmla="*/ 803 h 2268"/>
                <a:gd name="T46" fmla="*/ 1019 w 1957"/>
                <a:gd name="T47" fmla="*/ 868 h 2268"/>
                <a:gd name="T48" fmla="*/ 1065 w 1957"/>
                <a:gd name="T49" fmla="*/ 909 h 2268"/>
                <a:gd name="T50" fmla="*/ 1149 w 1957"/>
                <a:gd name="T51" fmla="*/ 1072 h 2268"/>
                <a:gd name="T52" fmla="*/ 1645 w 1957"/>
                <a:gd name="T53" fmla="*/ 1025 h 2268"/>
                <a:gd name="T54" fmla="*/ 1781 w 1957"/>
                <a:gd name="T55" fmla="*/ 959 h 2268"/>
                <a:gd name="T56" fmla="*/ 1916 w 1957"/>
                <a:gd name="T57" fmla="*/ 1022 h 2268"/>
                <a:gd name="T58" fmla="*/ 1954 w 1957"/>
                <a:gd name="T59" fmla="*/ 1165 h 2268"/>
                <a:gd name="T60" fmla="*/ 1870 w 1957"/>
                <a:gd name="T61" fmla="*/ 1284 h 2268"/>
                <a:gd name="T62" fmla="*/ 1719 w 1957"/>
                <a:gd name="T63" fmla="*/ 1296 h 2268"/>
                <a:gd name="T64" fmla="*/ 1616 w 1957"/>
                <a:gd name="T65" fmla="*/ 1189 h 2268"/>
                <a:gd name="T66" fmla="*/ 1127 w 1957"/>
                <a:gd name="T67" fmla="*/ 1271 h 2268"/>
                <a:gd name="T68" fmla="*/ 1389 w 1957"/>
                <a:gd name="T69" fmla="*/ 1729 h 2268"/>
                <a:gd name="T70" fmla="*/ 889 w 1957"/>
                <a:gd name="T71" fmla="*/ 1465 h 2268"/>
                <a:gd name="T72" fmla="*/ 905 w 1957"/>
                <a:gd name="T73" fmla="*/ 1941 h 2268"/>
                <a:gd name="T74" fmla="*/ 993 w 1957"/>
                <a:gd name="T75" fmla="*/ 2062 h 2268"/>
                <a:gd name="T76" fmla="*/ 955 w 1957"/>
                <a:gd name="T77" fmla="*/ 2206 h 2268"/>
                <a:gd name="T78" fmla="*/ 820 w 1957"/>
                <a:gd name="T79" fmla="*/ 2268 h 2268"/>
                <a:gd name="T80" fmla="*/ 687 w 1957"/>
                <a:gd name="T81" fmla="*/ 2206 h 2268"/>
                <a:gd name="T82" fmla="*/ 649 w 1957"/>
                <a:gd name="T83" fmla="*/ 2062 h 2268"/>
                <a:gd name="T84" fmla="*/ 736 w 1957"/>
                <a:gd name="T85" fmla="*/ 1941 h 2268"/>
                <a:gd name="T86" fmla="*/ 757 w 1957"/>
                <a:gd name="T87" fmla="*/ 1467 h 2268"/>
                <a:gd name="T88" fmla="*/ 590 w 1957"/>
                <a:gd name="T89" fmla="*/ 1385 h 2268"/>
                <a:gd name="T90" fmla="*/ 276 w 1957"/>
                <a:gd name="T91" fmla="*/ 1813 h 2268"/>
                <a:gd name="T92" fmla="*/ 214 w 1957"/>
                <a:gd name="T93" fmla="*/ 1926 h 2268"/>
                <a:gd name="T94" fmla="*/ 85 w 1957"/>
                <a:gd name="T95" fmla="*/ 1939 h 2268"/>
                <a:gd name="T96" fmla="*/ 3 w 1957"/>
                <a:gd name="T97" fmla="*/ 1839 h 2268"/>
                <a:gd name="T98" fmla="*/ 40 w 1957"/>
                <a:gd name="T99" fmla="*/ 1715 h 2268"/>
                <a:gd name="T100" fmla="*/ 162 w 1957"/>
                <a:gd name="T101" fmla="*/ 1678 h 2268"/>
                <a:gd name="T102" fmla="*/ 546 w 1957"/>
                <a:gd name="T103" fmla="*/ 1336 h 2268"/>
                <a:gd name="T104" fmla="*/ 480 w 1957"/>
                <a:gd name="T105" fmla="*/ 1159 h 2268"/>
                <a:gd name="T106" fmla="*/ 497 w 1957"/>
                <a:gd name="T107" fmla="*/ 1032 h 2268"/>
                <a:gd name="T108" fmla="*/ 609 w 1957"/>
                <a:gd name="T109" fmla="*/ 873 h 2268"/>
                <a:gd name="T110" fmla="*/ 795 w 1957"/>
                <a:gd name="T111" fmla="*/ 802 h 2268"/>
                <a:gd name="T112" fmla="*/ 711 w 1957"/>
                <a:gd name="T113" fmla="*/ 309 h 2268"/>
                <a:gd name="T114" fmla="*/ 646 w 1957"/>
                <a:gd name="T115" fmla="*/ 173 h 2268"/>
                <a:gd name="T116" fmla="*/ 708 w 1957"/>
                <a:gd name="T117" fmla="*/ 41 h 2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57" h="2268">
                  <a:moveTo>
                    <a:pt x="138" y="1701"/>
                  </a:moveTo>
                  <a:lnTo>
                    <a:pt x="115" y="1703"/>
                  </a:lnTo>
                  <a:lnTo>
                    <a:pt x="95" y="1709"/>
                  </a:lnTo>
                  <a:lnTo>
                    <a:pt x="75" y="1719"/>
                  </a:lnTo>
                  <a:lnTo>
                    <a:pt x="57" y="1734"/>
                  </a:lnTo>
                  <a:lnTo>
                    <a:pt x="44" y="1751"/>
                  </a:lnTo>
                  <a:lnTo>
                    <a:pt x="34" y="1771"/>
                  </a:lnTo>
                  <a:lnTo>
                    <a:pt x="27" y="1791"/>
                  </a:lnTo>
                  <a:lnTo>
                    <a:pt x="25" y="1813"/>
                  </a:lnTo>
                  <a:lnTo>
                    <a:pt x="27" y="1833"/>
                  </a:lnTo>
                  <a:lnTo>
                    <a:pt x="34" y="1855"/>
                  </a:lnTo>
                  <a:lnTo>
                    <a:pt x="44" y="1875"/>
                  </a:lnTo>
                  <a:lnTo>
                    <a:pt x="57" y="1892"/>
                  </a:lnTo>
                  <a:lnTo>
                    <a:pt x="75" y="1905"/>
                  </a:lnTo>
                  <a:lnTo>
                    <a:pt x="95" y="1916"/>
                  </a:lnTo>
                  <a:lnTo>
                    <a:pt x="115" y="1922"/>
                  </a:lnTo>
                  <a:lnTo>
                    <a:pt x="138" y="1925"/>
                  </a:lnTo>
                  <a:lnTo>
                    <a:pt x="160" y="1922"/>
                  </a:lnTo>
                  <a:lnTo>
                    <a:pt x="180" y="1916"/>
                  </a:lnTo>
                  <a:lnTo>
                    <a:pt x="200" y="1905"/>
                  </a:lnTo>
                  <a:lnTo>
                    <a:pt x="218" y="1892"/>
                  </a:lnTo>
                  <a:lnTo>
                    <a:pt x="231" y="1875"/>
                  </a:lnTo>
                  <a:lnTo>
                    <a:pt x="241" y="1855"/>
                  </a:lnTo>
                  <a:lnTo>
                    <a:pt x="248" y="1834"/>
                  </a:lnTo>
                  <a:lnTo>
                    <a:pt x="251" y="1813"/>
                  </a:lnTo>
                  <a:lnTo>
                    <a:pt x="248" y="1790"/>
                  </a:lnTo>
                  <a:lnTo>
                    <a:pt x="241" y="1770"/>
                  </a:lnTo>
                  <a:lnTo>
                    <a:pt x="231" y="1750"/>
                  </a:lnTo>
                  <a:lnTo>
                    <a:pt x="218" y="1734"/>
                  </a:lnTo>
                  <a:lnTo>
                    <a:pt x="200" y="1719"/>
                  </a:lnTo>
                  <a:lnTo>
                    <a:pt x="180" y="1709"/>
                  </a:lnTo>
                  <a:lnTo>
                    <a:pt x="160" y="1703"/>
                  </a:lnTo>
                  <a:lnTo>
                    <a:pt x="138" y="1701"/>
                  </a:lnTo>
                  <a:close/>
                  <a:moveTo>
                    <a:pt x="955" y="1299"/>
                  </a:moveTo>
                  <a:lnTo>
                    <a:pt x="929" y="1318"/>
                  </a:lnTo>
                  <a:lnTo>
                    <a:pt x="900" y="1332"/>
                  </a:lnTo>
                  <a:lnTo>
                    <a:pt x="871" y="1341"/>
                  </a:lnTo>
                  <a:lnTo>
                    <a:pt x="839" y="1348"/>
                  </a:lnTo>
                  <a:lnTo>
                    <a:pt x="807" y="1349"/>
                  </a:lnTo>
                  <a:lnTo>
                    <a:pt x="839" y="1348"/>
                  </a:lnTo>
                  <a:lnTo>
                    <a:pt x="871" y="1341"/>
                  </a:lnTo>
                  <a:lnTo>
                    <a:pt x="901" y="1332"/>
                  </a:lnTo>
                  <a:lnTo>
                    <a:pt x="929" y="1318"/>
                  </a:lnTo>
                  <a:lnTo>
                    <a:pt x="955" y="1299"/>
                  </a:lnTo>
                  <a:close/>
                  <a:moveTo>
                    <a:pt x="1114" y="1040"/>
                  </a:moveTo>
                  <a:lnTo>
                    <a:pt x="1123" y="1073"/>
                  </a:lnTo>
                  <a:lnTo>
                    <a:pt x="1123" y="1072"/>
                  </a:lnTo>
                  <a:lnTo>
                    <a:pt x="1114" y="1040"/>
                  </a:lnTo>
                  <a:close/>
                  <a:moveTo>
                    <a:pt x="1082" y="972"/>
                  </a:moveTo>
                  <a:lnTo>
                    <a:pt x="1100" y="1004"/>
                  </a:lnTo>
                  <a:lnTo>
                    <a:pt x="1114" y="1038"/>
                  </a:lnTo>
                  <a:lnTo>
                    <a:pt x="1114" y="1037"/>
                  </a:lnTo>
                  <a:lnTo>
                    <a:pt x="1099" y="1003"/>
                  </a:lnTo>
                  <a:lnTo>
                    <a:pt x="1082" y="972"/>
                  </a:lnTo>
                  <a:close/>
                  <a:moveTo>
                    <a:pt x="817" y="951"/>
                  </a:moveTo>
                  <a:lnTo>
                    <a:pt x="787" y="953"/>
                  </a:lnTo>
                  <a:lnTo>
                    <a:pt x="759" y="959"/>
                  </a:lnTo>
                  <a:lnTo>
                    <a:pt x="732" y="971"/>
                  </a:lnTo>
                  <a:lnTo>
                    <a:pt x="707" y="986"/>
                  </a:lnTo>
                  <a:lnTo>
                    <a:pt x="685" y="1005"/>
                  </a:lnTo>
                  <a:lnTo>
                    <a:pt x="665" y="1028"/>
                  </a:lnTo>
                  <a:lnTo>
                    <a:pt x="650" y="1053"/>
                  </a:lnTo>
                  <a:lnTo>
                    <a:pt x="638" y="1079"/>
                  </a:lnTo>
                  <a:lnTo>
                    <a:pt x="632" y="1107"/>
                  </a:lnTo>
                  <a:lnTo>
                    <a:pt x="630" y="1137"/>
                  </a:lnTo>
                  <a:lnTo>
                    <a:pt x="632" y="1167"/>
                  </a:lnTo>
                  <a:lnTo>
                    <a:pt x="638" y="1194"/>
                  </a:lnTo>
                  <a:lnTo>
                    <a:pt x="650" y="1221"/>
                  </a:lnTo>
                  <a:lnTo>
                    <a:pt x="665" y="1247"/>
                  </a:lnTo>
                  <a:lnTo>
                    <a:pt x="685" y="1268"/>
                  </a:lnTo>
                  <a:lnTo>
                    <a:pt x="707" y="1288"/>
                  </a:lnTo>
                  <a:lnTo>
                    <a:pt x="732" y="1303"/>
                  </a:lnTo>
                  <a:lnTo>
                    <a:pt x="759" y="1315"/>
                  </a:lnTo>
                  <a:lnTo>
                    <a:pt x="787" y="1321"/>
                  </a:lnTo>
                  <a:lnTo>
                    <a:pt x="817" y="1323"/>
                  </a:lnTo>
                  <a:lnTo>
                    <a:pt x="847" y="1321"/>
                  </a:lnTo>
                  <a:lnTo>
                    <a:pt x="875" y="1315"/>
                  </a:lnTo>
                  <a:lnTo>
                    <a:pt x="903" y="1303"/>
                  </a:lnTo>
                  <a:lnTo>
                    <a:pt x="928" y="1288"/>
                  </a:lnTo>
                  <a:lnTo>
                    <a:pt x="950" y="1268"/>
                  </a:lnTo>
                  <a:lnTo>
                    <a:pt x="970" y="1246"/>
                  </a:lnTo>
                  <a:lnTo>
                    <a:pt x="986" y="1220"/>
                  </a:lnTo>
                  <a:lnTo>
                    <a:pt x="996" y="1193"/>
                  </a:lnTo>
                  <a:lnTo>
                    <a:pt x="1003" y="1166"/>
                  </a:lnTo>
                  <a:lnTo>
                    <a:pt x="1005" y="1137"/>
                  </a:lnTo>
                  <a:lnTo>
                    <a:pt x="1003" y="1108"/>
                  </a:lnTo>
                  <a:lnTo>
                    <a:pt x="996" y="1080"/>
                  </a:lnTo>
                  <a:lnTo>
                    <a:pt x="986" y="1054"/>
                  </a:lnTo>
                  <a:lnTo>
                    <a:pt x="970" y="1028"/>
                  </a:lnTo>
                  <a:lnTo>
                    <a:pt x="950" y="1005"/>
                  </a:lnTo>
                  <a:lnTo>
                    <a:pt x="928" y="986"/>
                  </a:lnTo>
                  <a:lnTo>
                    <a:pt x="903" y="971"/>
                  </a:lnTo>
                  <a:lnTo>
                    <a:pt x="875" y="959"/>
                  </a:lnTo>
                  <a:lnTo>
                    <a:pt x="847" y="953"/>
                  </a:lnTo>
                  <a:lnTo>
                    <a:pt x="817" y="951"/>
                  </a:lnTo>
                  <a:close/>
                  <a:moveTo>
                    <a:pt x="820" y="0"/>
                  </a:moveTo>
                  <a:lnTo>
                    <a:pt x="852" y="3"/>
                  </a:lnTo>
                  <a:lnTo>
                    <a:pt x="881" y="10"/>
                  </a:lnTo>
                  <a:lnTo>
                    <a:pt x="909" y="23"/>
                  </a:lnTo>
                  <a:lnTo>
                    <a:pt x="934" y="41"/>
                  </a:lnTo>
                  <a:lnTo>
                    <a:pt x="955" y="61"/>
                  </a:lnTo>
                  <a:lnTo>
                    <a:pt x="972" y="86"/>
                  </a:lnTo>
                  <a:lnTo>
                    <a:pt x="985" y="113"/>
                  </a:lnTo>
                  <a:lnTo>
                    <a:pt x="993" y="143"/>
                  </a:lnTo>
                  <a:lnTo>
                    <a:pt x="996" y="173"/>
                  </a:lnTo>
                  <a:lnTo>
                    <a:pt x="993" y="206"/>
                  </a:lnTo>
                  <a:lnTo>
                    <a:pt x="985" y="236"/>
                  </a:lnTo>
                  <a:lnTo>
                    <a:pt x="970" y="264"/>
                  </a:lnTo>
                  <a:lnTo>
                    <a:pt x="952" y="288"/>
                  </a:lnTo>
                  <a:lnTo>
                    <a:pt x="930" y="309"/>
                  </a:lnTo>
                  <a:lnTo>
                    <a:pt x="905" y="326"/>
                  </a:lnTo>
                  <a:lnTo>
                    <a:pt x="876" y="339"/>
                  </a:lnTo>
                  <a:lnTo>
                    <a:pt x="845" y="346"/>
                  </a:lnTo>
                  <a:lnTo>
                    <a:pt x="846" y="346"/>
                  </a:lnTo>
                  <a:lnTo>
                    <a:pt x="846" y="803"/>
                  </a:lnTo>
                  <a:lnTo>
                    <a:pt x="883" y="808"/>
                  </a:lnTo>
                  <a:lnTo>
                    <a:pt x="919" y="817"/>
                  </a:lnTo>
                  <a:lnTo>
                    <a:pt x="955" y="831"/>
                  </a:lnTo>
                  <a:lnTo>
                    <a:pt x="988" y="847"/>
                  </a:lnTo>
                  <a:lnTo>
                    <a:pt x="1019" y="868"/>
                  </a:lnTo>
                  <a:lnTo>
                    <a:pt x="1048" y="892"/>
                  </a:lnTo>
                  <a:lnTo>
                    <a:pt x="1397" y="545"/>
                  </a:lnTo>
                  <a:lnTo>
                    <a:pt x="1416" y="564"/>
                  </a:lnTo>
                  <a:lnTo>
                    <a:pt x="1067" y="911"/>
                  </a:lnTo>
                  <a:lnTo>
                    <a:pt x="1065" y="909"/>
                  </a:lnTo>
                  <a:lnTo>
                    <a:pt x="1089" y="938"/>
                  </a:lnTo>
                  <a:lnTo>
                    <a:pt x="1110" y="968"/>
                  </a:lnTo>
                  <a:lnTo>
                    <a:pt x="1126" y="1001"/>
                  </a:lnTo>
                  <a:lnTo>
                    <a:pt x="1140" y="1036"/>
                  </a:lnTo>
                  <a:lnTo>
                    <a:pt x="1149" y="1072"/>
                  </a:lnTo>
                  <a:lnTo>
                    <a:pt x="1154" y="1109"/>
                  </a:lnTo>
                  <a:lnTo>
                    <a:pt x="1609" y="1109"/>
                  </a:lnTo>
                  <a:lnTo>
                    <a:pt x="1616" y="1078"/>
                  </a:lnTo>
                  <a:lnTo>
                    <a:pt x="1628" y="1050"/>
                  </a:lnTo>
                  <a:lnTo>
                    <a:pt x="1645" y="1025"/>
                  </a:lnTo>
                  <a:lnTo>
                    <a:pt x="1667" y="1002"/>
                  </a:lnTo>
                  <a:lnTo>
                    <a:pt x="1691" y="985"/>
                  </a:lnTo>
                  <a:lnTo>
                    <a:pt x="1719" y="971"/>
                  </a:lnTo>
                  <a:lnTo>
                    <a:pt x="1749" y="962"/>
                  </a:lnTo>
                  <a:lnTo>
                    <a:pt x="1781" y="959"/>
                  </a:lnTo>
                  <a:lnTo>
                    <a:pt x="1813" y="962"/>
                  </a:lnTo>
                  <a:lnTo>
                    <a:pt x="1842" y="971"/>
                  </a:lnTo>
                  <a:lnTo>
                    <a:pt x="1870" y="983"/>
                  </a:lnTo>
                  <a:lnTo>
                    <a:pt x="1895" y="1000"/>
                  </a:lnTo>
                  <a:lnTo>
                    <a:pt x="1916" y="1022"/>
                  </a:lnTo>
                  <a:lnTo>
                    <a:pt x="1933" y="1046"/>
                  </a:lnTo>
                  <a:lnTo>
                    <a:pt x="1946" y="1073"/>
                  </a:lnTo>
                  <a:lnTo>
                    <a:pt x="1954" y="1102"/>
                  </a:lnTo>
                  <a:lnTo>
                    <a:pt x="1957" y="1134"/>
                  </a:lnTo>
                  <a:lnTo>
                    <a:pt x="1954" y="1165"/>
                  </a:lnTo>
                  <a:lnTo>
                    <a:pt x="1946" y="1194"/>
                  </a:lnTo>
                  <a:lnTo>
                    <a:pt x="1933" y="1221"/>
                  </a:lnTo>
                  <a:lnTo>
                    <a:pt x="1916" y="1246"/>
                  </a:lnTo>
                  <a:lnTo>
                    <a:pt x="1895" y="1266"/>
                  </a:lnTo>
                  <a:lnTo>
                    <a:pt x="1870" y="1284"/>
                  </a:lnTo>
                  <a:lnTo>
                    <a:pt x="1842" y="1297"/>
                  </a:lnTo>
                  <a:lnTo>
                    <a:pt x="1813" y="1305"/>
                  </a:lnTo>
                  <a:lnTo>
                    <a:pt x="1781" y="1307"/>
                  </a:lnTo>
                  <a:lnTo>
                    <a:pt x="1749" y="1304"/>
                  </a:lnTo>
                  <a:lnTo>
                    <a:pt x="1719" y="1296"/>
                  </a:lnTo>
                  <a:lnTo>
                    <a:pt x="1691" y="1283"/>
                  </a:lnTo>
                  <a:lnTo>
                    <a:pt x="1667" y="1264"/>
                  </a:lnTo>
                  <a:lnTo>
                    <a:pt x="1645" y="1243"/>
                  </a:lnTo>
                  <a:lnTo>
                    <a:pt x="1628" y="1217"/>
                  </a:lnTo>
                  <a:lnTo>
                    <a:pt x="1616" y="1189"/>
                  </a:lnTo>
                  <a:lnTo>
                    <a:pt x="1609" y="1159"/>
                  </a:lnTo>
                  <a:lnTo>
                    <a:pt x="1154" y="1159"/>
                  </a:lnTo>
                  <a:lnTo>
                    <a:pt x="1149" y="1198"/>
                  </a:lnTo>
                  <a:lnTo>
                    <a:pt x="1140" y="1235"/>
                  </a:lnTo>
                  <a:lnTo>
                    <a:pt x="1127" y="1271"/>
                  </a:lnTo>
                  <a:lnTo>
                    <a:pt x="1110" y="1305"/>
                  </a:lnTo>
                  <a:lnTo>
                    <a:pt x="1088" y="1337"/>
                  </a:lnTo>
                  <a:lnTo>
                    <a:pt x="1062" y="1367"/>
                  </a:lnTo>
                  <a:lnTo>
                    <a:pt x="1407" y="1710"/>
                  </a:lnTo>
                  <a:lnTo>
                    <a:pt x="1389" y="1729"/>
                  </a:lnTo>
                  <a:lnTo>
                    <a:pt x="1043" y="1386"/>
                  </a:lnTo>
                  <a:lnTo>
                    <a:pt x="1008" y="1413"/>
                  </a:lnTo>
                  <a:lnTo>
                    <a:pt x="971" y="1436"/>
                  </a:lnTo>
                  <a:lnTo>
                    <a:pt x="932" y="1452"/>
                  </a:lnTo>
                  <a:lnTo>
                    <a:pt x="889" y="1465"/>
                  </a:lnTo>
                  <a:lnTo>
                    <a:pt x="846" y="1471"/>
                  </a:lnTo>
                  <a:lnTo>
                    <a:pt x="846" y="1922"/>
                  </a:lnTo>
                  <a:lnTo>
                    <a:pt x="845" y="1922"/>
                  </a:lnTo>
                  <a:lnTo>
                    <a:pt x="876" y="1929"/>
                  </a:lnTo>
                  <a:lnTo>
                    <a:pt x="905" y="1941"/>
                  </a:lnTo>
                  <a:lnTo>
                    <a:pt x="930" y="1958"/>
                  </a:lnTo>
                  <a:lnTo>
                    <a:pt x="952" y="1979"/>
                  </a:lnTo>
                  <a:lnTo>
                    <a:pt x="970" y="2004"/>
                  </a:lnTo>
                  <a:lnTo>
                    <a:pt x="985" y="2032"/>
                  </a:lnTo>
                  <a:lnTo>
                    <a:pt x="993" y="2062"/>
                  </a:lnTo>
                  <a:lnTo>
                    <a:pt x="996" y="2093"/>
                  </a:lnTo>
                  <a:lnTo>
                    <a:pt x="993" y="2125"/>
                  </a:lnTo>
                  <a:lnTo>
                    <a:pt x="985" y="2155"/>
                  </a:lnTo>
                  <a:lnTo>
                    <a:pt x="972" y="2182"/>
                  </a:lnTo>
                  <a:lnTo>
                    <a:pt x="955" y="2206"/>
                  </a:lnTo>
                  <a:lnTo>
                    <a:pt x="934" y="2227"/>
                  </a:lnTo>
                  <a:lnTo>
                    <a:pt x="909" y="2244"/>
                  </a:lnTo>
                  <a:lnTo>
                    <a:pt x="882" y="2257"/>
                  </a:lnTo>
                  <a:lnTo>
                    <a:pt x="852" y="2265"/>
                  </a:lnTo>
                  <a:lnTo>
                    <a:pt x="820" y="2268"/>
                  </a:lnTo>
                  <a:lnTo>
                    <a:pt x="789" y="2265"/>
                  </a:lnTo>
                  <a:lnTo>
                    <a:pt x="759" y="2257"/>
                  </a:lnTo>
                  <a:lnTo>
                    <a:pt x="732" y="2244"/>
                  </a:lnTo>
                  <a:lnTo>
                    <a:pt x="708" y="2227"/>
                  </a:lnTo>
                  <a:lnTo>
                    <a:pt x="687" y="2206"/>
                  </a:lnTo>
                  <a:lnTo>
                    <a:pt x="669" y="2182"/>
                  </a:lnTo>
                  <a:lnTo>
                    <a:pt x="656" y="2155"/>
                  </a:lnTo>
                  <a:lnTo>
                    <a:pt x="649" y="2125"/>
                  </a:lnTo>
                  <a:lnTo>
                    <a:pt x="646" y="2093"/>
                  </a:lnTo>
                  <a:lnTo>
                    <a:pt x="649" y="2062"/>
                  </a:lnTo>
                  <a:lnTo>
                    <a:pt x="657" y="2032"/>
                  </a:lnTo>
                  <a:lnTo>
                    <a:pt x="670" y="2004"/>
                  </a:lnTo>
                  <a:lnTo>
                    <a:pt x="689" y="1979"/>
                  </a:lnTo>
                  <a:lnTo>
                    <a:pt x="711" y="1958"/>
                  </a:lnTo>
                  <a:lnTo>
                    <a:pt x="736" y="1941"/>
                  </a:lnTo>
                  <a:lnTo>
                    <a:pt x="765" y="1929"/>
                  </a:lnTo>
                  <a:lnTo>
                    <a:pt x="796" y="1922"/>
                  </a:lnTo>
                  <a:lnTo>
                    <a:pt x="795" y="1922"/>
                  </a:lnTo>
                  <a:lnTo>
                    <a:pt x="795" y="1472"/>
                  </a:lnTo>
                  <a:lnTo>
                    <a:pt x="757" y="1467"/>
                  </a:lnTo>
                  <a:lnTo>
                    <a:pt x="721" y="1458"/>
                  </a:lnTo>
                  <a:lnTo>
                    <a:pt x="685" y="1446"/>
                  </a:lnTo>
                  <a:lnTo>
                    <a:pt x="652" y="1429"/>
                  </a:lnTo>
                  <a:lnTo>
                    <a:pt x="620" y="1409"/>
                  </a:lnTo>
                  <a:lnTo>
                    <a:pt x="590" y="1385"/>
                  </a:lnTo>
                  <a:lnTo>
                    <a:pt x="245" y="1728"/>
                  </a:lnTo>
                  <a:lnTo>
                    <a:pt x="258" y="1747"/>
                  </a:lnTo>
                  <a:lnTo>
                    <a:pt x="267" y="1768"/>
                  </a:lnTo>
                  <a:lnTo>
                    <a:pt x="273" y="1789"/>
                  </a:lnTo>
                  <a:lnTo>
                    <a:pt x="276" y="1813"/>
                  </a:lnTo>
                  <a:lnTo>
                    <a:pt x="272" y="1840"/>
                  </a:lnTo>
                  <a:lnTo>
                    <a:pt x="265" y="1865"/>
                  </a:lnTo>
                  <a:lnTo>
                    <a:pt x="252" y="1888"/>
                  </a:lnTo>
                  <a:lnTo>
                    <a:pt x="235" y="1909"/>
                  </a:lnTo>
                  <a:lnTo>
                    <a:pt x="214" y="1926"/>
                  </a:lnTo>
                  <a:lnTo>
                    <a:pt x="191" y="1939"/>
                  </a:lnTo>
                  <a:lnTo>
                    <a:pt x="165" y="1946"/>
                  </a:lnTo>
                  <a:lnTo>
                    <a:pt x="138" y="1950"/>
                  </a:lnTo>
                  <a:lnTo>
                    <a:pt x="110" y="1946"/>
                  </a:lnTo>
                  <a:lnTo>
                    <a:pt x="85" y="1939"/>
                  </a:lnTo>
                  <a:lnTo>
                    <a:pt x="62" y="1926"/>
                  </a:lnTo>
                  <a:lnTo>
                    <a:pt x="40" y="1909"/>
                  </a:lnTo>
                  <a:lnTo>
                    <a:pt x="22" y="1888"/>
                  </a:lnTo>
                  <a:lnTo>
                    <a:pt x="10" y="1864"/>
                  </a:lnTo>
                  <a:lnTo>
                    <a:pt x="3" y="1839"/>
                  </a:lnTo>
                  <a:lnTo>
                    <a:pt x="0" y="1813"/>
                  </a:lnTo>
                  <a:lnTo>
                    <a:pt x="3" y="1786"/>
                  </a:lnTo>
                  <a:lnTo>
                    <a:pt x="10" y="1761"/>
                  </a:lnTo>
                  <a:lnTo>
                    <a:pt x="22" y="1737"/>
                  </a:lnTo>
                  <a:lnTo>
                    <a:pt x="40" y="1715"/>
                  </a:lnTo>
                  <a:lnTo>
                    <a:pt x="62" y="1699"/>
                  </a:lnTo>
                  <a:lnTo>
                    <a:pt x="85" y="1687"/>
                  </a:lnTo>
                  <a:lnTo>
                    <a:pt x="110" y="1678"/>
                  </a:lnTo>
                  <a:lnTo>
                    <a:pt x="138" y="1676"/>
                  </a:lnTo>
                  <a:lnTo>
                    <a:pt x="162" y="1678"/>
                  </a:lnTo>
                  <a:lnTo>
                    <a:pt x="185" y="1684"/>
                  </a:lnTo>
                  <a:lnTo>
                    <a:pt x="206" y="1695"/>
                  </a:lnTo>
                  <a:lnTo>
                    <a:pt x="226" y="1709"/>
                  </a:lnTo>
                  <a:lnTo>
                    <a:pt x="571" y="1366"/>
                  </a:lnTo>
                  <a:lnTo>
                    <a:pt x="546" y="1336"/>
                  </a:lnTo>
                  <a:lnTo>
                    <a:pt x="525" y="1304"/>
                  </a:lnTo>
                  <a:lnTo>
                    <a:pt x="507" y="1271"/>
                  </a:lnTo>
                  <a:lnTo>
                    <a:pt x="495" y="1235"/>
                  </a:lnTo>
                  <a:lnTo>
                    <a:pt x="485" y="1198"/>
                  </a:lnTo>
                  <a:lnTo>
                    <a:pt x="480" y="1159"/>
                  </a:lnTo>
                  <a:lnTo>
                    <a:pt x="25" y="1159"/>
                  </a:lnTo>
                  <a:lnTo>
                    <a:pt x="25" y="1109"/>
                  </a:lnTo>
                  <a:lnTo>
                    <a:pt x="481" y="1109"/>
                  </a:lnTo>
                  <a:lnTo>
                    <a:pt x="486" y="1070"/>
                  </a:lnTo>
                  <a:lnTo>
                    <a:pt x="497" y="1032"/>
                  </a:lnTo>
                  <a:lnTo>
                    <a:pt x="510" y="996"/>
                  </a:lnTo>
                  <a:lnTo>
                    <a:pt x="529" y="961"/>
                  </a:lnTo>
                  <a:lnTo>
                    <a:pt x="551" y="929"/>
                  </a:lnTo>
                  <a:lnTo>
                    <a:pt x="578" y="900"/>
                  </a:lnTo>
                  <a:lnTo>
                    <a:pt x="609" y="873"/>
                  </a:lnTo>
                  <a:lnTo>
                    <a:pt x="642" y="849"/>
                  </a:lnTo>
                  <a:lnTo>
                    <a:pt x="678" y="831"/>
                  </a:lnTo>
                  <a:lnTo>
                    <a:pt x="716" y="817"/>
                  </a:lnTo>
                  <a:lnTo>
                    <a:pt x="755" y="807"/>
                  </a:lnTo>
                  <a:lnTo>
                    <a:pt x="795" y="802"/>
                  </a:lnTo>
                  <a:lnTo>
                    <a:pt x="795" y="346"/>
                  </a:lnTo>
                  <a:lnTo>
                    <a:pt x="796" y="346"/>
                  </a:lnTo>
                  <a:lnTo>
                    <a:pt x="765" y="339"/>
                  </a:lnTo>
                  <a:lnTo>
                    <a:pt x="736" y="326"/>
                  </a:lnTo>
                  <a:lnTo>
                    <a:pt x="711" y="309"/>
                  </a:lnTo>
                  <a:lnTo>
                    <a:pt x="689" y="288"/>
                  </a:lnTo>
                  <a:lnTo>
                    <a:pt x="670" y="264"/>
                  </a:lnTo>
                  <a:lnTo>
                    <a:pt x="657" y="236"/>
                  </a:lnTo>
                  <a:lnTo>
                    <a:pt x="649" y="206"/>
                  </a:lnTo>
                  <a:lnTo>
                    <a:pt x="646" y="173"/>
                  </a:lnTo>
                  <a:lnTo>
                    <a:pt x="649" y="143"/>
                  </a:lnTo>
                  <a:lnTo>
                    <a:pt x="656" y="113"/>
                  </a:lnTo>
                  <a:lnTo>
                    <a:pt x="669" y="86"/>
                  </a:lnTo>
                  <a:lnTo>
                    <a:pt x="687" y="61"/>
                  </a:lnTo>
                  <a:lnTo>
                    <a:pt x="708" y="41"/>
                  </a:lnTo>
                  <a:lnTo>
                    <a:pt x="732" y="23"/>
                  </a:lnTo>
                  <a:lnTo>
                    <a:pt x="759" y="10"/>
                  </a:lnTo>
                  <a:lnTo>
                    <a:pt x="789" y="3"/>
                  </a:lnTo>
                  <a:lnTo>
                    <a:pt x="82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3" name="Freeform 570">
              <a:extLst>
                <a:ext uri="{FF2B5EF4-FFF2-40B4-BE49-F238E27FC236}">
                  <a16:creationId xmlns:a16="http://schemas.microsoft.com/office/drawing/2014/main" id="{0690B733-27F2-BFFD-0235-80B7F93D67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0013" y="5818188"/>
              <a:ext cx="111125" cy="111125"/>
            </a:xfrm>
            <a:custGeom>
              <a:avLst/>
              <a:gdLst>
                <a:gd name="T0" fmla="*/ 175 w 350"/>
                <a:gd name="T1" fmla="*/ 0 h 348"/>
                <a:gd name="T2" fmla="*/ 207 w 350"/>
                <a:gd name="T3" fmla="*/ 3 h 348"/>
                <a:gd name="T4" fmla="*/ 236 w 350"/>
                <a:gd name="T5" fmla="*/ 12 h 348"/>
                <a:gd name="T6" fmla="*/ 264 w 350"/>
                <a:gd name="T7" fmla="*/ 24 h 348"/>
                <a:gd name="T8" fmla="*/ 287 w 350"/>
                <a:gd name="T9" fmla="*/ 41 h 348"/>
                <a:gd name="T10" fmla="*/ 309 w 350"/>
                <a:gd name="T11" fmla="*/ 63 h 348"/>
                <a:gd name="T12" fmla="*/ 327 w 350"/>
                <a:gd name="T13" fmla="*/ 87 h 348"/>
                <a:gd name="T14" fmla="*/ 339 w 350"/>
                <a:gd name="T15" fmla="*/ 114 h 348"/>
                <a:gd name="T16" fmla="*/ 347 w 350"/>
                <a:gd name="T17" fmla="*/ 143 h 348"/>
                <a:gd name="T18" fmla="*/ 350 w 350"/>
                <a:gd name="T19" fmla="*/ 175 h 348"/>
                <a:gd name="T20" fmla="*/ 347 w 350"/>
                <a:gd name="T21" fmla="*/ 206 h 348"/>
                <a:gd name="T22" fmla="*/ 339 w 350"/>
                <a:gd name="T23" fmla="*/ 235 h 348"/>
                <a:gd name="T24" fmla="*/ 327 w 350"/>
                <a:gd name="T25" fmla="*/ 262 h 348"/>
                <a:gd name="T26" fmla="*/ 309 w 350"/>
                <a:gd name="T27" fmla="*/ 287 h 348"/>
                <a:gd name="T28" fmla="*/ 287 w 350"/>
                <a:gd name="T29" fmla="*/ 307 h 348"/>
                <a:gd name="T30" fmla="*/ 264 w 350"/>
                <a:gd name="T31" fmla="*/ 325 h 348"/>
                <a:gd name="T32" fmla="*/ 236 w 350"/>
                <a:gd name="T33" fmla="*/ 338 h 348"/>
                <a:gd name="T34" fmla="*/ 207 w 350"/>
                <a:gd name="T35" fmla="*/ 346 h 348"/>
                <a:gd name="T36" fmla="*/ 175 w 350"/>
                <a:gd name="T37" fmla="*/ 348 h 348"/>
                <a:gd name="T38" fmla="*/ 144 w 350"/>
                <a:gd name="T39" fmla="*/ 346 h 348"/>
                <a:gd name="T40" fmla="*/ 114 w 350"/>
                <a:gd name="T41" fmla="*/ 338 h 348"/>
                <a:gd name="T42" fmla="*/ 87 w 350"/>
                <a:gd name="T43" fmla="*/ 325 h 348"/>
                <a:gd name="T44" fmla="*/ 62 w 350"/>
                <a:gd name="T45" fmla="*/ 307 h 348"/>
                <a:gd name="T46" fmla="*/ 41 w 350"/>
                <a:gd name="T47" fmla="*/ 287 h 348"/>
                <a:gd name="T48" fmla="*/ 24 w 350"/>
                <a:gd name="T49" fmla="*/ 262 h 348"/>
                <a:gd name="T50" fmla="*/ 10 w 350"/>
                <a:gd name="T51" fmla="*/ 235 h 348"/>
                <a:gd name="T52" fmla="*/ 3 w 350"/>
                <a:gd name="T53" fmla="*/ 206 h 348"/>
                <a:gd name="T54" fmla="*/ 0 w 350"/>
                <a:gd name="T55" fmla="*/ 175 h 348"/>
                <a:gd name="T56" fmla="*/ 3 w 350"/>
                <a:gd name="T57" fmla="*/ 143 h 348"/>
                <a:gd name="T58" fmla="*/ 10 w 350"/>
                <a:gd name="T59" fmla="*/ 114 h 348"/>
                <a:gd name="T60" fmla="*/ 24 w 350"/>
                <a:gd name="T61" fmla="*/ 87 h 348"/>
                <a:gd name="T62" fmla="*/ 41 w 350"/>
                <a:gd name="T63" fmla="*/ 63 h 348"/>
                <a:gd name="T64" fmla="*/ 62 w 350"/>
                <a:gd name="T65" fmla="*/ 41 h 348"/>
                <a:gd name="T66" fmla="*/ 87 w 350"/>
                <a:gd name="T67" fmla="*/ 24 h 348"/>
                <a:gd name="T68" fmla="*/ 114 w 350"/>
                <a:gd name="T69" fmla="*/ 12 h 348"/>
                <a:gd name="T70" fmla="*/ 144 w 350"/>
                <a:gd name="T71" fmla="*/ 3 h 348"/>
                <a:gd name="T72" fmla="*/ 175 w 350"/>
                <a:gd name="T73" fmla="*/ 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0" h="348">
                  <a:moveTo>
                    <a:pt x="175" y="0"/>
                  </a:moveTo>
                  <a:lnTo>
                    <a:pt x="207" y="3"/>
                  </a:lnTo>
                  <a:lnTo>
                    <a:pt x="236" y="12"/>
                  </a:lnTo>
                  <a:lnTo>
                    <a:pt x="264" y="24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7" y="87"/>
                  </a:lnTo>
                  <a:lnTo>
                    <a:pt x="339" y="114"/>
                  </a:lnTo>
                  <a:lnTo>
                    <a:pt x="347" y="143"/>
                  </a:lnTo>
                  <a:lnTo>
                    <a:pt x="350" y="175"/>
                  </a:lnTo>
                  <a:lnTo>
                    <a:pt x="347" y="206"/>
                  </a:lnTo>
                  <a:lnTo>
                    <a:pt x="339" y="235"/>
                  </a:lnTo>
                  <a:lnTo>
                    <a:pt x="327" y="262"/>
                  </a:lnTo>
                  <a:lnTo>
                    <a:pt x="309" y="287"/>
                  </a:lnTo>
                  <a:lnTo>
                    <a:pt x="287" y="307"/>
                  </a:lnTo>
                  <a:lnTo>
                    <a:pt x="264" y="325"/>
                  </a:lnTo>
                  <a:lnTo>
                    <a:pt x="236" y="338"/>
                  </a:lnTo>
                  <a:lnTo>
                    <a:pt x="207" y="346"/>
                  </a:lnTo>
                  <a:lnTo>
                    <a:pt x="175" y="348"/>
                  </a:lnTo>
                  <a:lnTo>
                    <a:pt x="144" y="346"/>
                  </a:lnTo>
                  <a:lnTo>
                    <a:pt x="114" y="338"/>
                  </a:lnTo>
                  <a:lnTo>
                    <a:pt x="87" y="325"/>
                  </a:lnTo>
                  <a:lnTo>
                    <a:pt x="62" y="307"/>
                  </a:lnTo>
                  <a:lnTo>
                    <a:pt x="41" y="287"/>
                  </a:lnTo>
                  <a:lnTo>
                    <a:pt x="24" y="262"/>
                  </a:lnTo>
                  <a:lnTo>
                    <a:pt x="10" y="235"/>
                  </a:lnTo>
                  <a:lnTo>
                    <a:pt x="3" y="206"/>
                  </a:lnTo>
                  <a:lnTo>
                    <a:pt x="0" y="175"/>
                  </a:lnTo>
                  <a:lnTo>
                    <a:pt x="3" y="143"/>
                  </a:lnTo>
                  <a:lnTo>
                    <a:pt x="10" y="114"/>
                  </a:lnTo>
                  <a:lnTo>
                    <a:pt x="24" y="87"/>
                  </a:lnTo>
                  <a:lnTo>
                    <a:pt x="41" y="63"/>
                  </a:lnTo>
                  <a:lnTo>
                    <a:pt x="62" y="41"/>
                  </a:lnTo>
                  <a:lnTo>
                    <a:pt x="87" y="24"/>
                  </a:lnTo>
                  <a:lnTo>
                    <a:pt x="114" y="12"/>
                  </a:lnTo>
                  <a:lnTo>
                    <a:pt x="144" y="3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4" name="Freeform 571">
              <a:extLst>
                <a:ext uri="{FF2B5EF4-FFF2-40B4-BE49-F238E27FC236}">
                  <a16:creationId xmlns:a16="http://schemas.microsoft.com/office/drawing/2014/main" id="{B68F6744-D70D-92B0-A9E3-3FD9C7B4D7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6588" y="5614988"/>
              <a:ext cx="87313" cy="87313"/>
            </a:xfrm>
            <a:custGeom>
              <a:avLst/>
              <a:gdLst>
                <a:gd name="T0" fmla="*/ 116 w 275"/>
                <a:gd name="T1" fmla="*/ 27 h 273"/>
                <a:gd name="T2" fmla="*/ 75 w 275"/>
                <a:gd name="T3" fmla="*/ 43 h 273"/>
                <a:gd name="T4" fmla="*/ 43 w 275"/>
                <a:gd name="T5" fmla="*/ 75 h 273"/>
                <a:gd name="T6" fmla="*/ 27 w 275"/>
                <a:gd name="T7" fmla="*/ 115 h 273"/>
                <a:gd name="T8" fmla="*/ 27 w 275"/>
                <a:gd name="T9" fmla="*/ 158 h 273"/>
                <a:gd name="T10" fmla="*/ 43 w 275"/>
                <a:gd name="T11" fmla="*/ 198 h 273"/>
                <a:gd name="T12" fmla="*/ 75 w 275"/>
                <a:gd name="T13" fmla="*/ 230 h 273"/>
                <a:gd name="T14" fmla="*/ 116 w 275"/>
                <a:gd name="T15" fmla="*/ 247 h 273"/>
                <a:gd name="T16" fmla="*/ 160 w 275"/>
                <a:gd name="T17" fmla="*/ 247 h 273"/>
                <a:gd name="T18" fmla="*/ 200 w 275"/>
                <a:gd name="T19" fmla="*/ 230 h 273"/>
                <a:gd name="T20" fmla="*/ 231 w 275"/>
                <a:gd name="T21" fmla="*/ 198 h 273"/>
                <a:gd name="T22" fmla="*/ 248 w 275"/>
                <a:gd name="T23" fmla="*/ 158 h 273"/>
                <a:gd name="T24" fmla="*/ 248 w 275"/>
                <a:gd name="T25" fmla="*/ 115 h 273"/>
                <a:gd name="T26" fmla="*/ 231 w 275"/>
                <a:gd name="T27" fmla="*/ 75 h 273"/>
                <a:gd name="T28" fmla="*/ 200 w 275"/>
                <a:gd name="T29" fmla="*/ 43 h 273"/>
                <a:gd name="T30" fmla="*/ 160 w 275"/>
                <a:gd name="T31" fmla="*/ 27 h 273"/>
                <a:gd name="T32" fmla="*/ 137 w 275"/>
                <a:gd name="T33" fmla="*/ 0 h 273"/>
                <a:gd name="T34" fmla="*/ 190 w 275"/>
                <a:gd name="T35" fmla="*/ 10 h 273"/>
                <a:gd name="T36" fmla="*/ 235 w 275"/>
                <a:gd name="T37" fmla="*/ 40 h 273"/>
                <a:gd name="T38" fmla="*/ 266 w 275"/>
                <a:gd name="T39" fmla="*/ 85 h 273"/>
                <a:gd name="T40" fmla="*/ 275 w 275"/>
                <a:gd name="T41" fmla="*/ 137 h 273"/>
                <a:gd name="T42" fmla="*/ 266 w 275"/>
                <a:gd name="T43" fmla="*/ 188 h 273"/>
                <a:gd name="T44" fmla="*/ 235 w 275"/>
                <a:gd name="T45" fmla="*/ 233 h 273"/>
                <a:gd name="T46" fmla="*/ 190 w 275"/>
                <a:gd name="T47" fmla="*/ 263 h 273"/>
                <a:gd name="T48" fmla="*/ 137 w 275"/>
                <a:gd name="T49" fmla="*/ 273 h 273"/>
                <a:gd name="T50" fmla="*/ 85 w 275"/>
                <a:gd name="T51" fmla="*/ 263 h 273"/>
                <a:gd name="T52" fmla="*/ 40 w 275"/>
                <a:gd name="T53" fmla="*/ 233 h 273"/>
                <a:gd name="T54" fmla="*/ 10 w 275"/>
                <a:gd name="T55" fmla="*/ 189 h 273"/>
                <a:gd name="T56" fmla="*/ 0 w 275"/>
                <a:gd name="T57" fmla="*/ 137 h 273"/>
                <a:gd name="T58" fmla="*/ 10 w 275"/>
                <a:gd name="T59" fmla="*/ 84 h 273"/>
                <a:gd name="T60" fmla="*/ 40 w 275"/>
                <a:gd name="T61" fmla="*/ 40 h 273"/>
                <a:gd name="T62" fmla="*/ 85 w 275"/>
                <a:gd name="T63" fmla="*/ 10 h 273"/>
                <a:gd name="T64" fmla="*/ 137 w 275"/>
                <a:gd name="T65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5" h="273">
                  <a:moveTo>
                    <a:pt x="137" y="25"/>
                  </a:moveTo>
                  <a:lnTo>
                    <a:pt x="116" y="27"/>
                  </a:lnTo>
                  <a:lnTo>
                    <a:pt x="94" y="33"/>
                  </a:lnTo>
                  <a:lnTo>
                    <a:pt x="75" y="43"/>
                  </a:lnTo>
                  <a:lnTo>
                    <a:pt x="58" y="58"/>
                  </a:lnTo>
                  <a:lnTo>
                    <a:pt x="43" y="75"/>
                  </a:lnTo>
                  <a:lnTo>
                    <a:pt x="33" y="94"/>
                  </a:lnTo>
                  <a:lnTo>
                    <a:pt x="27" y="115"/>
                  </a:lnTo>
                  <a:lnTo>
                    <a:pt x="25" y="137"/>
                  </a:lnTo>
                  <a:lnTo>
                    <a:pt x="27" y="158"/>
                  </a:lnTo>
                  <a:lnTo>
                    <a:pt x="33" y="180"/>
                  </a:lnTo>
                  <a:lnTo>
                    <a:pt x="43" y="198"/>
                  </a:lnTo>
                  <a:lnTo>
                    <a:pt x="58" y="216"/>
                  </a:lnTo>
                  <a:lnTo>
                    <a:pt x="75" y="230"/>
                  </a:lnTo>
                  <a:lnTo>
                    <a:pt x="94" y="241"/>
                  </a:lnTo>
                  <a:lnTo>
                    <a:pt x="116" y="247"/>
                  </a:lnTo>
                  <a:lnTo>
                    <a:pt x="137" y="249"/>
                  </a:lnTo>
                  <a:lnTo>
                    <a:pt x="160" y="247"/>
                  </a:lnTo>
                  <a:lnTo>
                    <a:pt x="181" y="241"/>
                  </a:lnTo>
                  <a:lnTo>
                    <a:pt x="200" y="230"/>
                  </a:lnTo>
                  <a:lnTo>
                    <a:pt x="217" y="216"/>
                  </a:lnTo>
                  <a:lnTo>
                    <a:pt x="231" y="198"/>
                  </a:lnTo>
                  <a:lnTo>
                    <a:pt x="242" y="179"/>
                  </a:lnTo>
                  <a:lnTo>
                    <a:pt x="248" y="158"/>
                  </a:lnTo>
                  <a:lnTo>
                    <a:pt x="250" y="137"/>
                  </a:lnTo>
                  <a:lnTo>
                    <a:pt x="248" y="115"/>
                  </a:lnTo>
                  <a:lnTo>
                    <a:pt x="242" y="95"/>
                  </a:lnTo>
                  <a:lnTo>
                    <a:pt x="231" y="75"/>
                  </a:lnTo>
                  <a:lnTo>
                    <a:pt x="217" y="58"/>
                  </a:lnTo>
                  <a:lnTo>
                    <a:pt x="200" y="43"/>
                  </a:lnTo>
                  <a:lnTo>
                    <a:pt x="181" y="33"/>
                  </a:lnTo>
                  <a:lnTo>
                    <a:pt x="160" y="27"/>
                  </a:lnTo>
                  <a:lnTo>
                    <a:pt x="137" y="25"/>
                  </a:lnTo>
                  <a:close/>
                  <a:moveTo>
                    <a:pt x="137" y="0"/>
                  </a:moveTo>
                  <a:lnTo>
                    <a:pt x="164" y="2"/>
                  </a:lnTo>
                  <a:lnTo>
                    <a:pt x="190" y="10"/>
                  </a:lnTo>
                  <a:lnTo>
                    <a:pt x="214" y="23"/>
                  </a:lnTo>
                  <a:lnTo>
                    <a:pt x="235" y="40"/>
                  </a:lnTo>
                  <a:lnTo>
                    <a:pt x="252" y="62"/>
                  </a:lnTo>
                  <a:lnTo>
                    <a:pt x="266" y="85"/>
                  </a:lnTo>
                  <a:lnTo>
                    <a:pt x="273" y="111"/>
                  </a:lnTo>
                  <a:lnTo>
                    <a:pt x="275" y="137"/>
                  </a:lnTo>
                  <a:lnTo>
                    <a:pt x="273" y="163"/>
                  </a:lnTo>
                  <a:lnTo>
                    <a:pt x="266" y="188"/>
                  </a:lnTo>
                  <a:lnTo>
                    <a:pt x="252" y="212"/>
                  </a:lnTo>
                  <a:lnTo>
                    <a:pt x="235" y="233"/>
                  </a:lnTo>
                  <a:lnTo>
                    <a:pt x="214" y="251"/>
                  </a:lnTo>
                  <a:lnTo>
                    <a:pt x="190" y="263"/>
                  </a:lnTo>
                  <a:lnTo>
                    <a:pt x="164" y="271"/>
                  </a:lnTo>
                  <a:lnTo>
                    <a:pt x="137" y="273"/>
                  </a:lnTo>
                  <a:lnTo>
                    <a:pt x="110" y="271"/>
                  </a:lnTo>
                  <a:lnTo>
                    <a:pt x="85" y="263"/>
                  </a:lnTo>
                  <a:lnTo>
                    <a:pt x="61" y="251"/>
                  </a:lnTo>
                  <a:lnTo>
                    <a:pt x="40" y="233"/>
                  </a:lnTo>
                  <a:lnTo>
                    <a:pt x="23" y="213"/>
                  </a:lnTo>
                  <a:lnTo>
                    <a:pt x="10" y="189"/>
                  </a:lnTo>
                  <a:lnTo>
                    <a:pt x="3" y="164"/>
                  </a:lnTo>
                  <a:lnTo>
                    <a:pt x="0" y="137"/>
                  </a:lnTo>
                  <a:lnTo>
                    <a:pt x="3" y="110"/>
                  </a:lnTo>
                  <a:lnTo>
                    <a:pt x="10" y="84"/>
                  </a:lnTo>
                  <a:lnTo>
                    <a:pt x="23" y="61"/>
                  </a:lnTo>
                  <a:lnTo>
                    <a:pt x="40" y="40"/>
                  </a:lnTo>
                  <a:lnTo>
                    <a:pt x="61" y="23"/>
                  </a:lnTo>
                  <a:lnTo>
                    <a:pt x="85" y="10"/>
                  </a:lnTo>
                  <a:lnTo>
                    <a:pt x="110" y="2"/>
                  </a:lnTo>
                  <a:lnTo>
                    <a:pt x="13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5" name="Freeform 572">
              <a:extLst>
                <a:ext uri="{FF2B5EF4-FFF2-40B4-BE49-F238E27FC236}">
                  <a16:creationId xmlns:a16="http://schemas.microsoft.com/office/drawing/2014/main" id="{B0D25867-927C-5B9F-B8EF-CC92B0A5BA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6588" y="6046788"/>
              <a:ext cx="87313" cy="85725"/>
            </a:xfrm>
            <a:custGeom>
              <a:avLst/>
              <a:gdLst>
                <a:gd name="T0" fmla="*/ 116 w 275"/>
                <a:gd name="T1" fmla="*/ 27 h 274"/>
                <a:gd name="T2" fmla="*/ 75 w 275"/>
                <a:gd name="T3" fmla="*/ 43 h 274"/>
                <a:gd name="T4" fmla="*/ 43 w 275"/>
                <a:gd name="T5" fmla="*/ 74 h 274"/>
                <a:gd name="T6" fmla="*/ 27 w 275"/>
                <a:gd name="T7" fmla="*/ 114 h 274"/>
                <a:gd name="T8" fmla="*/ 27 w 275"/>
                <a:gd name="T9" fmla="*/ 158 h 274"/>
                <a:gd name="T10" fmla="*/ 43 w 275"/>
                <a:gd name="T11" fmla="*/ 199 h 274"/>
                <a:gd name="T12" fmla="*/ 75 w 275"/>
                <a:gd name="T13" fmla="*/ 229 h 274"/>
                <a:gd name="T14" fmla="*/ 116 w 275"/>
                <a:gd name="T15" fmla="*/ 246 h 274"/>
                <a:gd name="T16" fmla="*/ 160 w 275"/>
                <a:gd name="T17" fmla="*/ 246 h 274"/>
                <a:gd name="T18" fmla="*/ 200 w 275"/>
                <a:gd name="T19" fmla="*/ 229 h 274"/>
                <a:gd name="T20" fmla="*/ 231 w 275"/>
                <a:gd name="T21" fmla="*/ 199 h 274"/>
                <a:gd name="T22" fmla="*/ 248 w 275"/>
                <a:gd name="T23" fmla="*/ 157 h 274"/>
                <a:gd name="T24" fmla="*/ 248 w 275"/>
                <a:gd name="T25" fmla="*/ 115 h 274"/>
                <a:gd name="T26" fmla="*/ 231 w 275"/>
                <a:gd name="T27" fmla="*/ 75 h 274"/>
                <a:gd name="T28" fmla="*/ 200 w 275"/>
                <a:gd name="T29" fmla="*/ 43 h 274"/>
                <a:gd name="T30" fmla="*/ 160 w 275"/>
                <a:gd name="T31" fmla="*/ 27 h 274"/>
                <a:gd name="T32" fmla="*/ 137 w 275"/>
                <a:gd name="T33" fmla="*/ 0 h 274"/>
                <a:gd name="T34" fmla="*/ 190 w 275"/>
                <a:gd name="T35" fmla="*/ 11 h 274"/>
                <a:gd name="T36" fmla="*/ 235 w 275"/>
                <a:gd name="T37" fmla="*/ 39 h 274"/>
                <a:gd name="T38" fmla="*/ 266 w 275"/>
                <a:gd name="T39" fmla="*/ 86 h 274"/>
                <a:gd name="T40" fmla="*/ 275 w 275"/>
                <a:gd name="T41" fmla="*/ 137 h 274"/>
                <a:gd name="T42" fmla="*/ 266 w 275"/>
                <a:gd name="T43" fmla="*/ 188 h 274"/>
                <a:gd name="T44" fmla="*/ 235 w 275"/>
                <a:gd name="T45" fmla="*/ 233 h 274"/>
                <a:gd name="T46" fmla="*/ 190 w 275"/>
                <a:gd name="T47" fmla="*/ 263 h 274"/>
                <a:gd name="T48" fmla="*/ 137 w 275"/>
                <a:gd name="T49" fmla="*/ 274 h 274"/>
                <a:gd name="T50" fmla="*/ 85 w 275"/>
                <a:gd name="T51" fmla="*/ 263 h 274"/>
                <a:gd name="T52" fmla="*/ 40 w 275"/>
                <a:gd name="T53" fmla="*/ 233 h 274"/>
                <a:gd name="T54" fmla="*/ 10 w 275"/>
                <a:gd name="T55" fmla="*/ 189 h 274"/>
                <a:gd name="T56" fmla="*/ 0 w 275"/>
                <a:gd name="T57" fmla="*/ 137 h 274"/>
                <a:gd name="T58" fmla="*/ 10 w 275"/>
                <a:gd name="T59" fmla="*/ 85 h 274"/>
                <a:gd name="T60" fmla="*/ 40 w 275"/>
                <a:gd name="T61" fmla="*/ 39 h 274"/>
                <a:gd name="T62" fmla="*/ 85 w 275"/>
                <a:gd name="T63" fmla="*/ 11 h 274"/>
                <a:gd name="T64" fmla="*/ 137 w 275"/>
                <a:gd name="T65" fmla="*/ 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5" h="274">
                  <a:moveTo>
                    <a:pt x="137" y="25"/>
                  </a:moveTo>
                  <a:lnTo>
                    <a:pt x="116" y="27"/>
                  </a:lnTo>
                  <a:lnTo>
                    <a:pt x="94" y="33"/>
                  </a:lnTo>
                  <a:lnTo>
                    <a:pt x="75" y="43"/>
                  </a:lnTo>
                  <a:lnTo>
                    <a:pt x="58" y="58"/>
                  </a:lnTo>
                  <a:lnTo>
                    <a:pt x="43" y="74"/>
                  </a:lnTo>
                  <a:lnTo>
                    <a:pt x="33" y="94"/>
                  </a:lnTo>
                  <a:lnTo>
                    <a:pt x="27" y="114"/>
                  </a:lnTo>
                  <a:lnTo>
                    <a:pt x="25" y="137"/>
                  </a:lnTo>
                  <a:lnTo>
                    <a:pt x="27" y="158"/>
                  </a:lnTo>
                  <a:lnTo>
                    <a:pt x="33" y="179"/>
                  </a:lnTo>
                  <a:lnTo>
                    <a:pt x="43" y="199"/>
                  </a:lnTo>
                  <a:lnTo>
                    <a:pt x="58" y="216"/>
                  </a:lnTo>
                  <a:lnTo>
                    <a:pt x="75" y="229"/>
                  </a:lnTo>
                  <a:lnTo>
                    <a:pt x="94" y="240"/>
                  </a:lnTo>
                  <a:lnTo>
                    <a:pt x="116" y="246"/>
                  </a:lnTo>
                  <a:lnTo>
                    <a:pt x="137" y="249"/>
                  </a:lnTo>
                  <a:lnTo>
                    <a:pt x="160" y="246"/>
                  </a:lnTo>
                  <a:lnTo>
                    <a:pt x="181" y="240"/>
                  </a:lnTo>
                  <a:lnTo>
                    <a:pt x="200" y="229"/>
                  </a:lnTo>
                  <a:lnTo>
                    <a:pt x="217" y="216"/>
                  </a:lnTo>
                  <a:lnTo>
                    <a:pt x="231" y="199"/>
                  </a:lnTo>
                  <a:lnTo>
                    <a:pt x="242" y="179"/>
                  </a:lnTo>
                  <a:lnTo>
                    <a:pt x="248" y="157"/>
                  </a:lnTo>
                  <a:lnTo>
                    <a:pt x="250" y="137"/>
                  </a:lnTo>
                  <a:lnTo>
                    <a:pt x="248" y="115"/>
                  </a:lnTo>
                  <a:lnTo>
                    <a:pt x="242" y="95"/>
                  </a:lnTo>
                  <a:lnTo>
                    <a:pt x="231" y="75"/>
                  </a:lnTo>
                  <a:lnTo>
                    <a:pt x="217" y="58"/>
                  </a:lnTo>
                  <a:lnTo>
                    <a:pt x="200" y="43"/>
                  </a:lnTo>
                  <a:lnTo>
                    <a:pt x="181" y="33"/>
                  </a:lnTo>
                  <a:lnTo>
                    <a:pt x="160" y="27"/>
                  </a:lnTo>
                  <a:lnTo>
                    <a:pt x="137" y="25"/>
                  </a:lnTo>
                  <a:close/>
                  <a:moveTo>
                    <a:pt x="137" y="0"/>
                  </a:moveTo>
                  <a:lnTo>
                    <a:pt x="164" y="2"/>
                  </a:lnTo>
                  <a:lnTo>
                    <a:pt x="190" y="11"/>
                  </a:lnTo>
                  <a:lnTo>
                    <a:pt x="214" y="23"/>
                  </a:lnTo>
                  <a:lnTo>
                    <a:pt x="235" y="39"/>
                  </a:lnTo>
                  <a:lnTo>
                    <a:pt x="252" y="61"/>
                  </a:lnTo>
                  <a:lnTo>
                    <a:pt x="266" y="86"/>
                  </a:lnTo>
                  <a:lnTo>
                    <a:pt x="273" y="110"/>
                  </a:lnTo>
                  <a:lnTo>
                    <a:pt x="275" y="137"/>
                  </a:lnTo>
                  <a:lnTo>
                    <a:pt x="273" y="163"/>
                  </a:lnTo>
                  <a:lnTo>
                    <a:pt x="266" y="188"/>
                  </a:lnTo>
                  <a:lnTo>
                    <a:pt x="252" y="212"/>
                  </a:lnTo>
                  <a:lnTo>
                    <a:pt x="235" y="233"/>
                  </a:lnTo>
                  <a:lnTo>
                    <a:pt x="214" y="250"/>
                  </a:lnTo>
                  <a:lnTo>
                    <a:pt x="190" y="263"/>
                  </a:lnTo>
                  <a:lnTo>
                    <a:pt x="164" y="270"/>
                  </a:lnTo>
                  <a:lnTo>
                    <a:pt x="137" y="274"/>
                  </a:lnTo>
                  <a:lnTo>
                    <a:pt x="110" y="270"/>
                  </a:lnTo>
                  <a:lnTo>
                    <a:pt x="85" y="263"/>
                  </a:lnTo>
                  <a:lnTo>
                    <a:pt x="61" y="250"/>
                  </a:lnTo>
                  <a:lnTo>
                    <a:pt x="40" y="233"/>
                  </a:lnTo>
                  <a:lnTo>
                    <a:pt x="23" y="213"/>
                  </a:lnTo>
                  <a:lnTo>
                    <a:pt x="10" y="189"/>
                  </a:lnTo>
                  <a:lnTo>
                    <a:pt x="3" y="164"/>
                  </a:lnTo>
                  <a:lnTo>
                    <a:pt x="0" y="137"/>
                  </a:lnTo>
                  <a:lnTo>
                    <a:pt x="3" y="109"/>
                  </a:lnTo>
                  <a:lnTo>
                    <a:pt x="10" y="85"/>
                  </a:lnTo>
                  <a:lnTo>
                    <a:pt x="23" y="61"/>
                  </a:lnTo>
                  <a:lnTo>
                    <a:pt x="40" y="39"/>
                  </a:lnTo>
                  <a:lnTo>
                    <a:pt x="61" y="23"/>
                  </a:lnTo>
                  <a:lnTo>
                    <a:pt x="85" y="11"/>
                  </a:lnTo>
                  <a:lnTo>
                    <a:pt x="110" y="2"/>
                  </a:lnTo>
                  <a:lnTo>
                    <a:pt x="13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6" name="Freeform 573">
              <a:extLst>
                <a:ext uri="{FF2B5EF4-FFF2-40B4-BE49-F238E27FC236}">
                  <a16:creationId xmlns:a16="http://schemas.microsoft.com/office/drawing/2014/main" id="{771116A8-1A72-1C05-FF4C-0F1EE0650B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83200" y="5614988"/>
              <a:ext cx="185738" cy="188913"/>
            </a:xfrm>
            <a:custGeom>
              <a:avLst/>
              <a:gdLst>
                <a:gd name="T0" fmla="*/ 115 w 585"/>
                <a:gd name="T1" fmla="*/ 27 h 593"/>
                <a:gd name="T2" fmla="*/ 75 w 585"/>
                <a:gd name="T3" fmla="*/ 43 h 593"/>
                <a:gd name="T4" fmla="*/ 44 w 585"/>
                <a:gd name="T5" fmla="*/ 75 h 593"/>
                <a:gd name="T6" fmla="*/ 27 w 585"/>
                <a:gd name="T7" fmla="*/ 115 h 593"/>
                <a:gd name="T8" fmla="*/ 27 w 585"/>
                <a:gd name="T9" fmla="*/ 158 h 593"/>
                <a:gd name="T10" fmla="*/ 44 w 585"/>
                <a:gd name="T11" fmla="*/ 198 h 593"/>
                <a:gd name="T12" fmla="*/ 75 w 585"/>
                <a:gd name="T13" fmla="*/ 230 h 593"/>
                <a:gd name="T14" fmla="*/ 115 w 585"/>
                <a:gd name="T15" fmla="*/ 247 h 593"/>
                <a:gd name="T16" fmla="*/ 160 w 585"/>
                <a:gd name="T17" fmla="*/ 247 h 593"/>
                <a:gd name="T18" fmla="*/ 200 w 585"/>
                <a:gd name="T19" fmla="*/ 230 h 593"/>
                <a:gd name="T20" fmla="*/ 231 w 585"/>
                <a:gd name="T21" fmla="*/ 198 h 593"/>
                <a:gd name="T22" fmla="*/ 248 w 585"/>
                <a:gd name="T23" fmla="*/ 158 h 593"/>
                <a:gd name="T24" fmla="*/ 248 w 585"/>
                <a:gd name="T25" fmla="*/ 115 h 593"/>
                <a:gd name="T26" fmla="*/ 231 w 585"/>
                <a:gd name="T27" fmla="*/ 75 h 593"/>
                <a:gd name="T28" fmla="*/ 200 w 585"/>
                <a:gd name="T29" fmla="*/ 43 h 593"/>
                <a:gd name="T30" fmla="*/ 160 w 585"/>
                <a:gd name="T31" fmla="*/ 27 h 593"/>
                <a:gd name="T32" fmla="*/ 138 w 585"/>
                <a:gd name="T33" fmla="*/ 0 h 593"/>
                <a:gd name="T34" fmla="*/ 191 w 585"/>
                <a:gd name="T35" fmla="*/ 10 h 593"/>
                <a:gd name="T36" fmla="*/ 235 w 585"/>
                <a:gd name="T37" fmla="*/ 40 h 593"/>
                <a:gd name="T38" fmla="*/ 265 w 585"/>
                <a:gd name="T39" fmla="*/ 84 h 593"/>
                <a:gd name="T40" fmla="*/ 276 w 585"/>
                <a:gd name="T41" fmla="*/ 137 h 593"/>
                <a:gd name="T42" fmla="*/ 265 w 585"/>
                <a:gd name="T43" fmla="*/ 187 h 593"/>
                <a:gd name="T44" fmla="*/ 238 w 585"/>
                <a:gd name="T45" fmla="*/ 230 h 593"/>
                <a:gd name="T46" fmla="*/ 566 w 585"/>
                <a:gd name="T47" fmla="*/ 593 h 593"/>
                <a:gd name="T48" fmla="*/ 193 w 585"/>
                <a:gd name="T49" fmla="*/ 262 h 593"/>
                <a:gd name="T50" fmla="*/ 138 w 585"/>
                <a:gd name="T51" fmla="*/ 273 h 593"/>
                <a:gd name="T52" fmla="*/ 85 w 585"/>
                <a:gd name="T53" fmla="*/ 263 h 593"/>
                <a:gd name="T54" fmla="*/ 40 w 585"/>
                <a:gd name="T55" fmla="*/ 233 h 593"/>
                <a:gd name="T56" fmla="*/ 10 w 585"/>
                <a:gd name="T57" fmla="*/ 189 h 593"/>
                <a:gd name="T58" fmla="*/ 0 w 585"/>
                <a:gd name="T59" fmla="*/ 137 h 593"/>
                <a:gd name="T60" fmla="*/ 10 w 585"/>
                <a:gd name="T61" fmla="*/ 84 h 593"/>
                <a:gd name="T62" fmla="*/ 40 w 585"/>
                <a:gd name="T63" fmla="*/ 40 h 593"/>
                <a:gd name="T64" fmla="*/ 85 w 585"/>
                <a:gd name="T65" fmla="*/ 10 h 593"/>
                <a:gd name="T66" fmla="*/ 138 w 585"/>
                <a:gd name="T67" fmla="*/ 0 h 5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85" h="593">
                  <a:moveTo>
                    <a:pt x="138" y="25"/>
                  </a:moveTo>
                  <a:lnTo>
                    <a:pt x="115" y="27"/>
                  </a:lnTo>
                  <a:lnTo>
                    <a:pt x="95" y="33"/>
                  </a:lnTo>
                  <a:lnTo>
                    <a:pt x="75" y="43"/>
                  </a:lnTo>
                  <a:lnTo>
                    <a:pt x="57" y="58"/>
                  </a:lnTo>
                  <a:lnTo>
                    <a:pt x="44" y="75"/>
                  </a:lnTo>
                  <a:lnTo>
                    <a:pt x="34" y="94"/>
                  </a:lnTo>
                  <a:lnTo>
                    <a:pt x="27" y="115"/>
                  </a:lnTo>
                  <a:lnTo>
                    <a:pt x="25" y="137"/>
                  </a:lnTo>
                  <a:lnTo>
                    <a:pt x="27" y="158"/>
                  </a:lnTo>
                  <a:lnTo>
                    <a:pt x="34" y="180"/>
                  </a:lnTo>
                  <a:lnTo>
                    <a:pt x="44" y="198"/>
                  </a:lnTo>
                  <a:lnTo>
                    <a:pt x="57" y="216"/>
                  </a:lnTo>
                  <a:lnTo>
                    <a:pt x="75" y="230"/>
                  </a:lnTo>
                  <a:lnTo>
                    <a:pt x="95" y="241"/>
                  </a:lnTo>
                  <a:lnTo>
                    <a:pt x="115" y="247"/>
                  </a:lnTo>
                  <a:lnTo>
                    <a:pt x="138" y="249"/>
                  </a:lnTo>
                  <a:lnTo>
                    <a:pt x="160" y="247"/>
                  </a:lnTo>
                  <a:lnTo>
                    <a:pt x="180" y="241"/>
                  </a:lnTo>
                  <a:lnTo>
                    <a:pt x="200" y="230"/>
                  </a:lnTo>
                  <a:lnTo>
                    <a:pt x="218" y="216"/>
                  </a:lnTo>
                  <a:lnTo>
                    <a:pt x="231" y="198"/>
                  </a:lnTo>
                  <a:lnTo>
                    <a:pt x="241" y="180"/>
                  </a:lnTo>
                  <a:lnTo>
                    <a:pt x="248" y="158"/>
                  </a:lnTo>
                  <a:lnTo>
                    <a:pt x="251" y="137"/>
                  </a:lnTo>
                  <a:lnTo>
                    <a:pt x="248" y="115"/>
                  </a:lnTo>
                  <a:lnTo>
                    <a:pt x="241" y="94"/>
                  </a:lnTo>
                  <a:lnTo>
                    <a:pt x="231" y="75"/>
                  </a:lnTo>
                  <a:lnTo>
                    <a:pt x="218" y="58"/>
                  </a:lnTo>
                  <a:lnTo>
                    <a:pt x="200" y="43"/>
                  </a:lnTo>
                  <a:lnTo>
                    <a:pt x="180" y="33"/>
                  </a:lnTo>
                  <a:lnTo>
                    <a:pt x="160" y="27"/>
                  </a:lnTo>
                  <a:lnTo>
                    <a:pt x="138" y="25"/>
                  </a:lnTo>
                  <a:close/>
                  <a:moveTo>
                    <a:pt x="138" y="0"/>
                  </a:moveTo>
                  <a:lnTo>
                    <a:pt x="165" y="2"/>
                  </a:lnTo>
                  <a:lnTo>
                    <a:pt x="191" y="10"/>
                  </a:lnTo>
                  <a:lnTo>
                    <a:pt x="214" y="23"/>
                  </a:lnTo>
                  <a:lnTo>
                    <a:pt x="235" y="40"/>
                  </a:lnTo>
                  <a:lnTo>
                    <a:pt x="252" y="61"/>
                  </a:lnTo>
                  <a:lnTo>
                    <a:pt x="265" y="84"/>
                  </a:lnTo>
                  <a:lnTo>
                    <a:pt x="272" y="110"/>
                  </a:lnTo>
                  <a:lnTo>
                    <a:pt x="276" y="137"/>
                  </a:lnTo>
                  <a:lnTo>
                    <a:pt x="272" y="163"/>
                  </a:lnTo>
                  <a:lnTo>
                    <a:pt x="265" y="187"/>
                  </a:lnTo>
                  <a:lnTo>
                    <a:pt x="254" y="210"/>
                  </a:lnTo>
                  <a:lnTo>
                    <a:pt x="238" y="230"/>
                  </a:lnTo>
                  <a:lnTo>
                    <a:pt x="585" y="574"/>
                  </a:lnTo>
                  <a:lnTo>
                    <a:pt x="566" y="593"/>
                  </a:lnTo>
                  <a:lnTo>
                    <a:pt x="218" y="248"/>
                  </a:lnTo>
                  <a:lnTo>
                    <a:pt x="193" y="262"/>
                  </a:lnTo>
                  <a:lnTo>
                    <a:pt x="166" y="270"/>
                  </a:lnTo>
                  <a:lnTo>
                    <a:pt x="138" y="273"/>
                  </a:lnTo>
                  <a:lnTo>
                    <a:pt x="110" y="271"/>
                  </a:lnTo>
                  <a:lnTo>
                    <a:pt x="85" y="263"/>
                  </a:lnTo>
                  <a:lnTo>
                    <a:pt x="62" y="251"/>
                  </a:lnTo>
                  <a:lnTo>
                    <a:pt x="40" y="233"/>
                  </a:lnTo>
                  <a:lnTo>
                    <a:pt x="23" y="213"/>
                  </a:lnTo>
                  <a:lnTo>
                    <a:pt x="10" y="189"/>
                  </a:lnTo>
                  <a:lnTo>
                    <a:pt x="3" y="164"/>
                  </a:lnTo>
                  <a:lnTo>
                    <a:pt x="0" y="137"/>
                  </a:lnTo>
                  <a:lnTo>
                    <a:pt x="3" y="110"/>
                  </a:lnTo>
                  <a:lnTo>
                    <a:pt x="10" y="84"/>
                  </a:lnTo>
                  <a:lnTo>
                    <a:pt x="23" y="61"/>
                  </a:lnTo>
                  <a:lnTo>
                    <a:pt x="40" y="40"/>
                  </a:lnTo>
                  <a:lnTo>
                    <a:pt x="62" y="23"/>
                  </a:lnTo>
                  <a:lnTo>
                    <a:pt x="85" y="10"/>
                  </a:lnTo>
                  <a:lnTo>
                    <a:pt x="110" y="2"/>
                  </a:lnTo>
                  <a:lnTo>
                    <a:pt x="1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7" name="Freeform 574">
              <a:extLst>
                <a:ext uri="{FF2B5EF4-FFF2-40B4-BE49-F238E27FC236}">
                  <a16:creationId xmlns:a16="http://schemas.microsoft.com/office/drawing/2014/main" id="{945505B0-F4B3-FC45-033D-DABE89BBA4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1025" y="5938838"/>
              <a:ext cx="144463" cy="58738"/>
            </a:xfrm>
            <a:custGeom>
              <a:avLst/>
              <a:gdLst>
                <a:gd name="T0" fmla="*/ 332 w 458"/>
                <a:gd name="T1" fmla="*/ 0 h 184"/>
                <a:gd name="T2" fmla="*/ 345 w 458"/>
                <a:gd name="T3" fmla="*/ 1 h 184"/>
                <a:gd name="T4" fmla="*/ 360 w 458"/>
                <a:gd name="T5" fmla="*/ 5 h 184"/>
                <a:gd name="T6" fmla="*/ 376 w 458"/>
                <a:gd name="T7" fmla="*/ 14 h 184"/>
                <a:gd name="T8" fmla="*/ 393 w 458"/>
                <a:gd name="T9" fmla="*/ 24 h 184"/>
                <a:gd name="T10" fmla="*/ 408 w 458"/>
                <a:gd name="T11" fmla="*/ 37 h 184"/>
                <a:gd name="T12" fmla="*/ 424 w 458"/>
                <a:gd name="T13" fmla="*/ 53 h 184"/>
                <a:gd name="T14" fmla="*/ 437 w 458"/>
                <a:gd name="T15" fmla="*/ 70 h 184"/>
                <a:gd name="T16" fmla="*/ 448 w 458"/>
                <a:gd name="T17" fmla="*/ 87 h 184"/>
                <a:gd name="T18" fmla="*/ 455 w 458"/>
                <a:gd name="T19" fmla="*/ 103 h 184"/>
                <a:gd name="T20" fmla="*/ 458 w 458"/>
                <a:gd name="T21" fmla="*/ 117 h 184"/>
                <a:gd name="T22" fmla="*/ 458 w 458"/>
                <a:gd name="T23" fmla="*/ 131 h 184"/>
                <a:gd name="T24" fmla="*/ 454 w 458"/>
                <a:gd name="T25" fmla="*/ 140 h 184"/>
                <a:gd name="T26" fmla="*/ 447 w 458"/>
                <a:gd name="T27" fmla="*/ 147 h 184"/>
                <a:gd name="T28" fmla="*/ 436 w 458"/>
                <a:gd name="T29" fmla="*/ 150 h 184"/>
                <a:gd name="T30" fmla="*/ 126 w 458"/>
                <a:gd name="T31" fmla="*/ 184 h 184"/>
                <a:gd name="T32" fmla="*/ 113 w 458"/>
                <a:gd name="T33" fmla="*/ 184 h 184"/>
                <a:gd name="T34" fmla="*/ 97 w 458"/>
                <a:gd name="T35" fmla="*/ 179 h 184"/>
                <a:gd name="T36" fmla="*/ 81 w 458"/>
                <a:gd name="T37" fmla="*/ 171 h 184"/>
                <a:gd name="T38" fmla="*/ 15 w 458"/>
                <a:gd name="T39" fmla="*/ 105 h 184"/>
                <a:gd name="T40" fmla="*/ 7 w 458"/>
                <a:gd name="T41" fmla="*/ 90 h 184"/>
                <a:gd name="T42" fmla="*/ 2 w 458"/>
                <a:gd name="T43" fmla="*/ 75 h 184"/>
                <a:gd name="T44" fmla="*/ 0 w 458"/>
                <a:gd name="T45" fmla="*/ 63 h 184"/>
                <a:gd name="T46" fmla="*/ 1 w 458"/>
                <a:gd name="T47" fmla="*/ 52 h 184"/>
                <a:gd name="T48" fmla="*/ 5 w 458"/>
                <a:gd name="T49" fmla="*/ 43 h 184"/>
                <a:gd name="T50" fmla="*/ 11 w 458"/>
                <a:gd name="T51" fmla="*/ 37 h 184"/>
                <a:gd name="T52" fmla="*/ 22 w 458"/>
                <a:gd name="T53" fmla="*/ 34 h 184"/>
                <a:gd name="T54" fmla="*/ 332 w 458"/>
                <a:gd name="T55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58" h="184">
                  <a:moveTo>
                    <a:pt x="332" y="0"/>
                  </a:moveTo>
                  <a:lnTo>
                    <a:pt x="345" y="1"/>
                  </a:lnTo>
                  <a:lnTo>
                    <a:pt x="360" y="5"/>
                  </a:lnTo>
                  <a:lnTo>
                    <a:pt x="376" y="14"/>
                  </a:lnTo>
                  <a:lnTo>
                    <a:pt x="393" y="24"/>
                  </a:lnTo>
                  <a:lnTo>
                    <a:pt x="408" y="37"/>
                  </a:lnTo>
                  <a:lnTo>
                    <a:pt x="424" y="53"/>
                  </a:lnTo>
                  <a:lnTo>
                    <a:pt x="437" y="70"/>
                  </a:lnTo>
                  <a:lnTo>
                    <a:pt x="448" y="87"/>
                  </a:lnTo>
                  <a:lnTo>
                    <a:pt x="455" y="103"/>
                  </a:lnTo>
                  <a:lnTo>
                    <a:pt x="458" y="117"/>
                  </a:lnTo>
                  <a:lnTo>
                    <a:pt x="458" y="131"/>
                  </a:lnTo>
                  <a:lnTo>
                    <a:pt x="454" y="140"/>
                  </a:lnTo>
                  <a:lnTo>
                    <a:pt x="447" y="147"/>
                  </a:lnTo>
                  <a:lnTo>
                    <a:pt x="436" y="150"/>
                  </a:lnTo>
                  <a:lnTo>
                    <a:pt x="126" y="184"/>
                  </a:lnTo>
                  <a:lnTo>
                    <a:pt x="113" y="184"/>
                  </a:lnTo>
                  <a:lnTo>
                    <a:pt x="97" y="179"/>
                  </a:lnTo>
                  <a:lnTo>
                    <a:pt x="81" y="171"/>
                  </a:lnTo>
                  <a:lnTo>
                    <a:pt x="15" y="105"/>
                  </a:lnTo>
                  <a:lnTo>
                    <a:pt x="7" y="90"/>
                  </a:lnTo>
                  <a:lnTo>
                    <a:pt x="2" y="75"/>
                  </a:lnTo>
                  <a:lnTo>
                    <a:pt x="0" y="63"/>
                  </a:lnTo>
                  <a:lnTo>
                    <a:pt x="1" y="52"/>
                  </a:lnTo>
                  <a:lnTo>
                    <a:pt x="5" y="43"/>
                  </a:lnTo>
                  <a:lnTo>
                    <a:pt x="11" y="37"/>
                  </a:lnTo>
                  <a:lnTo>
                    <a:pt x="22" y="34"/>
                  </a:lnTo>
                  <a:lnTo>
                    <a:pt x="33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9" name="Freeform 575">
              <a:extLst>
                <a:ext uri="{FF2B5EF4-FFF2-40B4-BE49-F238E27FC236}">
                  <a16:creationId xmlns:a16="http://schemas.microsoft.com/office/drawing/2014/main" id="{AF14140A-1D41-9C41-3AEE-27B6761EB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7550" y="6099176"/>
              <a:ext cx="107950" cy="63500"/>
            </a:xfrm>
            <a:custGeom>
              <a:avLst/>
              <a:gdLst>
                <a:gd name="T0" fmla="*/ 55 w 342"/>
                <a:gd name="T1" fmla="*/ 0 h 201"/>
                <a:gd name="T2" fmla="*/ 237 w 342"/>
                <a:gd name="T3" fmla="*/ 53 h 201"/>
                <a:gd name="T4" fmla="*/ 255 w 342"/>
                <a:gd name="T5" fmla="*/ 61 h 201"/>
                <a:gd name="T6" fmla="*/ 275 w 342"/>
                <a:gd name="T7" fmla="*/ 74 h 201"/>
                <a:gd name="T8" fmla="*/ 294 w 342"/>
                <a:gd name="T9" fmla="*/ 89 h 201"/>
                <a:gd name="T10" fmla="*/ 310 w 342"/>
                <a:gd name="T11" fmla="*/ 106 h 201"/>
                <a:gd name="T12" fmla="*/ 325 w 342"/>
                <a:gd name="T13" fmla="*/ 126 h 201"/>
                <a:gd name="T14" fmla="*/ 336 w 342"/>
                <a:gd name="T15" fmla="*/ 146 h 201"/>
                <a:gd name="T16" fmla="*/ 341 w 342"/>
                <a:gd name="T17" fmla="*/ 162 h 201"/>
                <a:gd name="T18" fmla="*/ 342 w 342"/>
                <a:gd name="T19" fmla="*/ 175 h 201"/>
                <a:gd name="T20" fmla="*/ 340 w 342"/>
                <a:gd name="T21" fmla="*/ 187 h 201"/>
                <a:gd name="T22" fmla="*/ 334 w 342"/>
                <a:gd name="T23" fmla="*/ 195 h 201"/>
                <a:gd name="T24" fmla="*/ 326 w 342"/>
                <a:gd name="T25" fmla="*/ 200 h 201"/>
                <a:gd name="T26" fmla="*/ 313 w 342"/>
                <a:gd name="T27" fmla="*/ 201 h 201"/>
                <a:gd name="T28" fmla="*/ 299 w 342"/>
                <a:gd name="T29" fmla="*/ 198 h 201"/>
                <a:gd name="T30" fmla="*/ 0 w 342"/>
                <a:gd name="T31" fmla="*/ 109 h 201"/>
                <a:gd name="T32" fmla="*/ 21 w 342"/>
                <a:gd name="T33" fmla="*/ 84 h 201"/>
                <a:gd name="T34" fmla="*/ 36 w 342"/>
                <a:gd name="T35" fmla="*/ 57 h 201"/>
                <a:gd name="T36" fmla="*/ 49 w 342"/>
                <a:gd name="T37" fmla="*/ 29 h 201"/>
                <a:gd name="T38" fmla="*/ 55 w 342"/>
                <a:gd name="T39" fmla="*/ 0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2" h="201">
                  <a:moveTo>
                    <a:pt x="55" y="0"/>
                  </a:moveTo>
                  <a:lnTo>
                    <a:pt x="237" y="53"/>
                  </a:lnTo>
                  <a:lnTo>
                    <a:pt x="255" y="61"/>
                  </a:lnTo>
                  <a:lnTo>
                    <a:pt x="275" y="74"/>
                  </a:lnTo>
                  <a:lnTo>
                    <a:pt x="294" y="89"/>
                  </a:lnTo>
                  <a:lnTo>
                    <a:pt x="310" y="106"/>
                  </a:lnTo>
                  <a:lnTo>
                    <a:pt x="325" y="126"/>
                  </a:lnTo>
                  <a:lnTo>
                    <a:pt x="336" y="146"/>
                  </a:lnTo>
                  <a:lnTo>
                    <a:pt x="341" y="162"/>
                  </a:lnTo>
                  <a:lnTo>
                    <a:pt x="342" y="175"/>
                  </a:lnTo>
                  <a:lnTo>
                    <a:pt x="340" y="187"/>
                  </a:lnTo>
                  <a:lnTo>
                    <a:pt x="334" y="195"/>
                  </a:lnTo>
                  <a:lnTo>
                    <a:pt x="326" y="200"/>
                  </a:lnTo>
                  <a:lnTo>
                    <a:pt x="313" y="201"/>
                  </a:lnTo>
                  <a:lnTo>
                    <a:pt x="299" y="198"/>
                  </a:lnTo>
                  <a:lnTo>
                    <a:pt x="0" y="109"/>
                  </a:lnTo>
                  <a:lnTo>
                    <a:pt x="21" y="84"/>
                  </a:lnTo>
                  <a:lnTo>
                    <a:pt x="36" y="57"/>
                  </a:lnTo>
                  <a:lnTo>
                    <a:pt x="49" y="29"/>
                  </a:lnTo>
                  <a:lnTo>
                    <a:pt x="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0" name="Freeform 576">
              <a:extLst>
                <a:ext uri="{FF2B5EF4-FFF2-40B4-BE49-F238E27FC236}">
                  <a16:creationId xmlns:a16="http://schemas.microsoft.com/office/drawing/2014/main" id="{7B90BE12-44C7-DFB8-7D7D-E1033D2A1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4213" y="6192838"/>
              <a:ext cx="185738" cy="128588"/>
            </a:xfrm>
            <a:custGeom>
              <a:avLst/>
              <a:gdLst>
                <a:gd name="T0" fmla="*/ 24 w 583"/>
                <a:gd name="T1" fmla="*/ 0 h 404"/>
                <a:gd name="T2" fmla="*/ 37 w 583"/>
                <a:gd name="T3" fmla="*/ 1 h 404"/>
                <a:gd name="T4" fmla="*/ 51 w 583"/>
                <a:gd name="T5" fmla="*/ 6 h 404"/>
                <a:gd name="T6" fmla="*/ 69 w 583"/>
                <a:gd name="T7" fmla="*/ 14 h 404"/>
                <a:gd name="T8" fmla="*/ 502 w 583"/>
                <a:gd name="T9" fmla="*/ 269 h 404"/>
                <a:gd name="T10" fmla="*/ 522 w 583"/>
                <a:gd name="T11" fmla="*/ 282 h 404"/>
                <a:gd name="T12" fmla="*/ 540 w 583"/>
                <a:gd name="T13" fmla="*/ 298 h 404"/>
                <a:gd name="T14" fmla="*/ 557 w 583"/>
                <a:gd name="T15" fmla="*/ 317 h 404"/>
                <a:gd name="T16" fmla="*/ 569 w 583"/>
                <a:gd name="T17" fmla="*/ 336 h 404"/>
                <a:gd name="T18" fmla="*/ 579 w 583"/>
                <a:gd name="T19" fmla="*/ 356 h 404"/>
                <a:gd name="T20" fmla="*/ 583 w 583"/>
                <a:gd name="T21" fmla="*/ 373 h 404"/>
                <a:gd name="T22" fmla="*/ 582 w 583"/>
                <a:gd name="T23" fmla="*/ 386 h 404"/>
                <a:gd name="T24" fmla="*/ 577 w 583"/>
                <a:gd name="T25" fmla="*/ 396 h 404"/>
                <a:gd name="T26" fmla="*/ 570 w 583"/>
                <a:gd name="T27" fmla="*/ 402 h 404"/>
                <a:gd name="T28" fmla="*/ 559 w 583"/>
                <a:gd name="T29" fmla="*/ 404 h 404"/>
                <a:gd name="T30" fmla="*/ 546 w 583"/>
                <a:gd name="T31" fmla="*/ 404 h 404"/>
                <a:gd name="T32" fmla="*/ 531 w 583"/>
                <a:gd name="T33" fmla="*/ 399 h 404"/>
                <a:gd name="T34" fmla="*/ 514 w 583"/>
                <a:gd name="T35" fmla="*/ 391 h 404"/>
                <a:gd name="T36" fmla="*/ 80 w 583"/>
                <a:gd name="T37" fmla="*/ 136 h 404"/>
                <a:gd name="T38" fmla="*/ 61 w 583"/>
                <a:gd name="T39" fmla="*/ 123 h 404"/>
                <a:gd name="T40" fmla="*/ 43 w 583"/>
                <a:gd name="T41" fmla="*/ 106 h 404"/>
                <a:gd name="T42" fmla="*/ 27 w 583"/>
                <a:gd name="T43" fmla="*/ 88 h 404"/>
                <a:gd name="T44" fmla="*/ 13 w 583"/>
                <a:gd name="T45" fmla="*/ 68 h 404"/>
                <a:gd name="T46" fmla="*/ 5 w 583"/>
                <a:gd name="T47" fmla="*/ 49 h 404"/>
                <a:gd name="T48" fmla="*/ 0 w 583"/>
                <a:gd name="T49" fmla="*/ 31 h 404"/>
                <a:gd name="T50" fmla="*/ 1 w 583"/>
                <a:gd name="T51" fmla="*/ 18 h 404"/>
                <a:gd name="T52" fmla="*/ 5 w 583"/>
                <a:gd name="T53" fmla="*/ 9 h 404"/>
                <a:gd name="T54" fmla="*/ 13 w 583"/>
                <a:gd name="T55" fmla="*/ 3 h 404"/>
                <a:gd name="T56" fmla="*/ 24 w 583"/>
                <a:gd name="T57" fmla="*/ 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83" h="404">
                  <a:moveTo>
                    <a:pt x="24" y="0"/>
                  </a:moveTo>
                  <a:lnTo>
                    <a:pt x="37" y="1"/>
                  </a:lnTo>
                  <a:lnTo>
                    <a:pt x="51" y="6"/>
                  </a:lnTo>
                  <a:lnTo>
                    <a:pt x="69" y="14"/>
                  </a:lnTo>
                  <a:lnTo>
                    <a:pt x="502" y="269"/>
                  </a:lnTo>
                  <a:lnTo>
                    <a:pt x="522" y="282"/>
                  </a:lnTo>
                  <a:lnTo>
                    <a:pt x="540" y="298"/>
                  </a:lnTo>
                  <a:lnTo>
                    <a:pt x="557" y="317"/>
                  </a:lnTo>
                  <a:lnTo>
                    <a:pt x="569" y="336"/>
                  </a:lnTo>
                  <a:lnTo>
                    <a:pt x="579" y="356"/>
                  </a:lnTo>
                  <a:lnTo>
                    <a:pt x="583" y="373"/>
                  </a:lnTo>
                  <a:lnTo>
                    <a:pt x="582" y="386"/>
                  </a:lnTo>
                  <a:lnTo>
                    <a:pt x="577" y="396"/>
                  </a:lnTo>
                  <a:lnTo>
                    <a:pt x="570" y="402"/>
                  </a:lnTo>
                  <a:lnTo>
                    <a:pt x="559" y="404"/>
                  </a:lnTo>
                  <a:lnTo>
                    <a:pt x="546" y="404"/>
                  </a:lnTo>
                  <a:lnTo>
                    <a:pt x="531" y="399"/>
                  </a:lnTo>
                  <a:lnTo>
                    <a:pt x="514" y="391"/>
                  </a:lnTo>
                  <a:lnTo>
                    <a:pt x="80" y="136"/>
                  </a:lnTo>
                  <a:lnTo>
                    <a:pt x="61" y="123"/>
                  </a:lnTo>
                  <a:lnTo>
                    <a:pt x="43" y="106"/>
                  </a:lnTo>
                  <a:lnTo>
                    <a:pt x="27" y="88"/>
                  </a:lnTo>
                  <a:lnTo>
                    <a:pt x="13" y="68"/>
                  </a:lnTo>
                  <a:lnTo>
                    <a:pt x="5" y="49"/>
                  </a:lnTo>
                  <a:lnTo>
                    <a:pt x="0" y="31"/>
                  </a:lnTo>
                  <a:lnTo>
                    <a:pt x="1" y="18"/>
                  </a:lnTo>
                  <a:lnTo>
                    <a:pt x="5" y="9"/>
                  </a:lnTo>
                  <a:lnTo>
                    <a:pt x="13" y="3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1" name="Freeform 577">
              <a:extLst>
                <a:ext uri="{FF2B5EF4-FFF2-40B4-BE49-F238E27FC236}">
                  <a16:creationId xmlns:a16="http://schemas.microsoft.com/office/drawing/2014/main" id="{ACFB9F4F-BA51-9DC4-A3FF-B3DB1292E3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100" y="6283326"/>
              <a:ext cx="180975" cy="161925"/>
            </a:xfrm>
            <a:custGeom>
              <a:avLst/>
              <a:gdLst>
                <a:gd name="T0" fmla="*/ 31 w 568"/>
                <a:gd name="T1" fmla="*/ 0 h 512"/>
                <a:gd name="T2" fmla="*/ 45 w 568"/>
                <a:gd name="T3" fmla="*/ 3 h 512"/>
                <a:gd name="T4" fmla="*/ 61 w 568"/>
                <a:gd name="T5" fmla="*/ 9 h 512"/>
                <a:gd name="T6" fmla="*/ 77 w 568"/>
                <a:gd name="T7" fmla="*/ 20 h 512"/>
                <a:gd name="T8" fmla="*/ 94 w 568"/>
                <a:gd name="T9" fmla="*/ 33 h 512"/>
                <a:gd name="T10" fmla="*/ 513 w 568"/>
                <a:gd name="T11" fmla="*/ 394 h 512"/>
                <a:gd name="T12" fmla="*/ 529 w 568"/>
                <a:gd name="T13" fmla="*/ 409 h 512"/>
                <a:gd name="T14" fmla="*/ 543 w 568"/>
                <a:gd name="T15" fmla="*/ 425 h 512"/>
                <a:gd name="T16" fmla="*/ 554 w 568"/>
                <a:gd name="T17" fmla="*/ 442 h 512"/>
                <a:gd name="T18" fmla="*/ 562 w 568"/>
                <a:gd name="T19" fmla="*/ 458 h 512"/>
                <a:gd name="T20" fmla="*/ 567 w 568"/>
                <a:gd name="T21" fmla="*/ 474 h 512"/>
                <a:gd name="T22" fmla="*/ 568 w 568"/>
                <a:gd name="T23" fmla="*/ 487 h 512"/>
                <a:gd name="T24" fmla="*/ 565 w 568"/>
                <a:gd name="T25" fmla="*/ 498 h 512"/>
                <a:gd name="T26" fmla="*/ 559 w 568"/>
                <a:gd name="T27" fmla="*/ 507 h 512"/>
                <a:gd name="T28" fmla="*/ 549 w 568"/>
                <a:gd name="T29" fmla="*/ 511 h 512"/>
                <a:gd name="T30" fmla="*/ 537 w 568"/>
                <a:gd name="T31" fmla="*/ 512 h 512"/>
                <a:gd name="T32" fmla="*/ 523 w 568"/>
                <a:gd name="T33" fmla="*/ 509 h 512"/>
                <a:gd name="T34" fmla="*/ 507 w 568"/>
                <a:gd name="T35" fmla="*/ 501 h 512"/>
                <a:gd name="T36" fmla="*/ 490 w 568"/>
                <a:gd name="T37" fmla="*/ 492 h 512"/>
                <a:gd name="T38" fmla="*/ 474 w 568"/>
                <a:gd name="T39" fmla="*/ 479 h 512"/>
                <a:gd name="T40" fmla="*/ 54 w 568"/>
                <a:gd name="T41" fmla="*/ 117 h 512"/>
                <a:gd name="T42" fmla="*/ 48 w 568"/>
                <a:gd name="T43" fmla="*/ 112 h 512"/>
                <a:gd name="T44" fmla="*/ 42 w 568"/>
                <a:gd name="T45" fmla="*/ 106 h 512"/>
                <a:gd name="T46" fmla="*/ 27 w 568"/>
                <a:gd name="T47" fmla="*/ 89 h 512"/>
                <a:gd name="T48" fmla="*/ 15 w 568"/>
                <a:gd name="T49" fmla="*/ 72 h 512"/>
                <a:gd name="T50" fmla="*/ 7 w 568"/>
                <a:gd name="T51" fmla="*/ 56 h 512"/>
                <a:gd name="T52" fmla="*/ 1 w 568"/>
                <a:gd name="T53" fmla="*/ 39 h 512"/>
                <a:gd name="T54" fmla="*/ 0 w 568"/>
                <a:gd name="T55" fmla="*/ 25 h 512"/>
                <a:gd name="T56" fmla="*/ 3 w 568"/>
                <a:gd name="T57" fmla="*/ 13 h 512"/>
                <a:gd name="T58" fmla="*/ 9 w 568"/>
                <a:gd name="T59" fmla="*/ 5 h 512"/>
                <a:gd name="T60" fmla="*/ 18 w 568"/>
                <a:gd name="T61" fmla="*/ 1 h 512"/>
                <a:gd name="T62" fmla="*/ 31 w 568"/>
                <a:gd name="T63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68" h="512">
                  <a:moveTo>
                    <a:pt x="31" y="0"/>
                  </a:moveTo>
                  <a:lnTo>
                    <a:pt x="45" y="3"/>
                  </a:lnTo>
                  <a:lnTo>
                    <a:pt x="61" y="9"/>
                  </a:lnTo>
                  <a:lnTo>
                    <a:pt x="77" y="20"/>
                  </a:lnTo>
                  <a:lnTo>
                    <a:pt x="94" y="33"/>
                  </a:lnTo>
                  <a:lnTo>
                    <a:pt x="513" y="394"/>
                  </a:lnTo>
                  <a:lnTo>
                    <a:pt x="529" y="409"/>
                  </a:lnTo>
                  <a:lnTo>
                    <a:pt x="543" y="425"/>
                  </a:lnTo>
                  <a:lnTo>
                    <a:pt x="554" y="442"/>
                  </a:lnTo>
                  <a:lnTo>
                    <a:pt x="562" y="458"/>
                  </a:lnTo>
                  <a:lnTo>
                    <a:pt x="567" y="474"/>
                  </a:lnTo>
                  <a:lnTo>
                    <a:pt x="568" y="487"/>
                  </a:lnTo>
                  <a:lnTo>
                    <a:pt x="565" y="498"/>
                  </a:lnTo>
                  <a:lnTo>
                    <a:pt x="559" y="507"/>
                  </a:lnTo>
                  <a:lnTo>
                    <a:pt x="549" y="511"/>
                  </a:lnTo>
                  <a:lnTo>
                    <a:pt x="537" y="512"/>
                  </a:lnTo>
                  <a:lnTo>
                    <a:pt x="523" y="509"/>
                  </a:lnTo>
                  <a:lnTo>
                    <a:pt x="507" y="501"/>
                  </a:lnTo>
                  <a:lnTo>
                    <a:pt x="490" y="492"/>
                  </a:lnTo>
                  <a:lnTo>
                    <a:pt x="474" y="479"/>
                  </a:lnTo>
                  <a:lnTo>
                    <a:pt x="54" y="117"/>
                  </a:lnTo>
                  <a:lnTo>
                    <a:pt x="48" y="112"/>
                  </a:lnTo>
                  <a:lnTo>
                    <a:pt x="42" y="106"/>
                  </a:lnTo>
                  <a:lnTo>
                    <a:pt x="27" y="89"/>
                  </a:lnTo>
                  <a:lnTo>
                    <a:pt x="15" y="72"/>
                  </a:lnTo>
                  <a:lnTo>
                    <a:pt x="7" y="56"/>
                  </a:lnTo>
                  <a:lnTo>
                    <a:pt x="1" y="39"/>
                  </a:lnTo>
                  <a:lnTo>
                    <a:pt x="0" y="25"/>
                  </a:lnTo>
                  <a:lnTo>
                    <a:pt x="3" y="13"/>
                  </a:lnTo>
                  <a:lnTo>
                    <a:pt x="9" y="5"/>
                  </a:lnTo>
                  <a:lnTo>
                    <a:pt x="18" y="1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2" name="Freeform 578">
              <a:extLst>
                <a:ext uri="{FF2B5EF4-FFF2-40B4-BE49-F238E27FC236}">
                  <a16:creationId xmlns:a16="http://schemas.microsoft.com/office/drawing/2014/main" id="{76B74898-2270-A531-52D8-A57AEE07E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9125" y="6335713"/>
              <a:ext cx="158750" cy="182563"/>
            </a:xfrm>
            <a:custGeom>
              <a:avLst/>
              <a:gdLst>
                <a:gd name="T0" fmla="*/ 25 w 503"/>
                <a:gd name="T1" fmla="*/ 0 h 574"/>
                <a:gd name="T2" fmla="*/ 38 w 503"/>
                <a:gd name="T3" fmla="*/ 1 h 574"/>
                <a:gd name="T4" fmla="*/ 54 w 503"/>
                <a:gd name="T5" fmla="*/ 6 h 574"/>
                <a:gd name="T6" fmla="*/ 70 w 503"/>
                <a:gd name="T7" fmla="*/ 14 h 574"/>
                <a:gd name="T8" fmla="*/ 86 w 503"/>
                <a:gd name="T9" fmla="*/ 25 h 574"/>
                <a:gd name="T10" fmla="*/ 102 w 503"/>
                <a:gd name="T11" fmla="*/ 40 h 574"/>
                <a:gd name="T12" fmla="*/ 117 w 503"/>
                <a:gd name="T13" fmla="*/ 56 h 574"/>
                <a:gd name="T14" fmla="*/ 472 w 503"/>
                <a:gd name="T15" fmla="*/ 480 h 574"/>
                <a:gd name="T16" fmla="*/ 485 w 503"/>
                <a:gd name="T17" fmla="*/ 498 h 574"/>
                <a:gd name="T18" fmla="*/ 494 w 503"/>
                <a:gd name="T19" fmla="*/ 514 h 574"/>
                <a:gd name="T20" fmla="*/ 500 w 503"/>
                <a:gd name="T21" fmla="*/ 530 h 574"/>
                <a:gd name="T22" fmla="*/ 503 w 503"/>
                <a:gd name="T23" fmla="*/ 544 h 574"/>
                <a:gd name="T24" fmla="*/ 502 w 503"/>
                <a:gd name="T25" fmla="*/ 556 h 574"/>
                <a:gd name="T26" fmla="*/ 498 w 503"/>
                <a:gd name="T27" fmla="*/ 566 h 574"/>
                <a:gd name="T28" fmla="*/ 490 w 503"/>
                <a:gd name="T29" fmla="*/ 572 h 574"/>
                <a:gd name="T30" fmla="*/ 477 w 503"/>
                <a:gd name="T31" fmla="*/ 574 h 574"/>
                <a:gd name="T32" fmla="*/ 463 w 503"/>
                <a:gd name="T33" fmla="*/ 572 h 574"/>
                <a:gd name="T34" fmla="*/ 448 w 503"/>
                <a:gd name="T35" fmla="*/ 567 h 574"/>
                <a:gd name="T36" fmla="*/ 431 w 503"/>
                <a:gd name="T37" fmla="*/ 557 h 574"/>
                <a:gd name="T38" fmla="*/ 413 w 503"/>
                <a:gd name="T39" fmla="*/ 545 h 574"/>
                <a:gd name="T40" fmla="*/ 397 w 503"/>
                <a:gd name="T41" fmla="*/ 531 h 574"/>
                <a:gd name="T42" fmla="*/ 391 w 503"/>
                <a:gd name="T43" fmla="*/ 524 h 574"/>
                <a:gd name="T44" fmla="*/ 385 w 503"/>
                <a:gd name="T45" fmla="*/ 517 h 574"/>
                <a:gd name="T46" fmla="*/ 31 w 503"/>
                <a:gd name="T47" fmla="*/ 93 h 574"/>
                <a:gd name="T48" fmla="*/ 19 w 503"/>
                <a:gd name="T49" fmla="*/ 76 h 574"/>
                <a:gd name="T50" fmla="*/ 8 w 503"/>
                <a:gd name="T51" fmla="*/ 59 h 574"/>
                <a:gd name="T52" fmla="*/ 2 w 503"/>
                <a:gd name="T53" fmla="*/ 44 h 574"/>
                <a:gd name="T54" fmla="*/ 0 w 503"/>
                <a:gd name="T55" fmla="*/ 29 h 574"/>
                <a:gd name="T56" fmla="*/ 1 w 503"/>
                <a:gd name="T57" fmla="*/ 17 h 574"/>
                <a:gd name="T58" fmla="*/ 5 w 503"/>
                <a:gd name="T59" fmla="*/ 8 h 574"/>
                <a:gd name="T60" fmla="*/ 13 w 503"/>
                <a:gd name="T61" fmla="*/ 2 h 574"/>
                <a:gd name="T62" fmla="*/ 25 w 503"/>
                <a:gd name="T63" fmla="*/ 0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03" h="574">
                  <a:moveTo>
                    <a:pt x="25" y="0"/>
                  </a:moveTo>
                  <a:lnTo>
                    <a:pt x="38" y="1"/>
                  </a:lnTo>
                  <a:lnTo>
                    <a:pt x="54" y="6"/>
                  </a:lnTo>
                  <a:lnTo>
                    <a:pt x="70" y="14"/>
                  </a:lnTo>
                  <a:lnTo>
                    <a:pt x="86" y="25"/>
                  </a:lnTo>
                  <a:lnTo>
                    <a:pt x="102" y="40"/>
                  </a:lnTo>
                  <a:lnTo>
                    <a:pt x="117" y="56"/>
                  </a:lnTo>
                  <a:lnTo>
                    <a:pt x="472" y="480"/>
                  </a:lnTo>
                  <a:lnTo>
                    <a:pt x="485" y="498"/>
                  </a:lnTo>
                  <a:lnTo>
                    <a:pt x="494" y="514"/>
                  </a:lnTo>
                  <a:lnTo>
                    <a:pt x="500" y="530"/>
                  </a:lnTo>
                  <a:lnTo>
                    <a:pt x="503" y="544"/>
                  </a:lnTo>
                  <a:lnTo>
                    <a:pt x="502" y="556"/>
                  </a:lnTo>
                  <a:lnTo>
                    <a:pt x="498" y="566"/>
                  </a:lnTo>
                  <a:lnTo>
                    <a:pt x="490" y="572"/>
                  </a:lnTo>
                  <a:lnTo>
                    <a:pt x="477" y="574"/>
                  </a:lnTo>
                  <a:lnTo>
                    <a:pt x="463" y="572"/>
                  </a:lnTo>
                  <a:lnTo>
                    <a:pt x="448" y="567"/>
                  </a:lnTo>
                  <a:lnTo>
                    <a:pt x="431" y="557"/>
                  </a:lnTo>
                  <a:lnTo>
                    <a:pt x="413" y="545"/>
                  </a:lnTo>
                  <a:lnTo>
                    <a:pt x="397" y="531"/>
                  </a:lnTo>
                  <a:lnTo>
                    <a:pt x="391" y="524"/>
                  </a:lnTo>
                  <a:lnTo>
                    <a:pt x="385" y="517"/>
                  </a:lnTo>
                  <a:lnTo>
                    <a:pt x="31" y="93"/>
                  </a:lnTo>
                  <a:lnTo>
                    <a:pt x="19" y="76"/>
                  </a:lnTo>
                  <a:lnTo>
                    <a:pt x="8" y="59"/>
                  </a:lnTo>
                  <a:lnTo>
                    <a:pt x="2" y="44"/>
                  </a:lnTo>
                  <a:lnTo>
                    <a:pt x="0" y="29"/>
                  </a:lnTo>
                  <a:lnTo>
                    <a:pt x="1" y="17"/>
                  </a:lnTo>
                  <a:lnTo>
                    <a:pt x="5" y="8"/>
                  </a:lnTo>
                  <a:lnTo>
                    <a:pt x="13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3" name="Freeform 579">
              <a:extLst>
                <a:ext uri="{FF2B5EF4-FFF2-40B4-BE49-F238E27FC236}">
                  <a16:creationId xmlns:a16="http://schemas.microsoft.com/office/drawing/2014/main" id="{FFBEEF00-CDDC-5741-0190-F728AFDF6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7050" y="6346826"/>
              <a:ext cx="127000" cy="185738"/>
            </a:xfrm>
            <a:custGeom>
              <a:avLst/>
              <a:gdLst>
                <a:gd name="T0" fmla="*/ 32 w 396"/>
                <a:gd name="T1" fmla="*/ 0 h 586"/>
                <a:gd name="T2" fmla="*/ 50 w 396"/>
                <a:gd name="T3" fmla="*/ 4 h 586"/>
                <a:gd name="T4" fmla="*/ 69 w 396"/>
                <a:gd name="T5" fmla="*/ 14 h 586"/>
                <a:gd name="T6" fmla="*/ 88 w 396"/>
                <a:gd name="T7" fmla="*/ 27 h 586"/>
                <a:gd name="T8" fmla="*/ 106 w 396"/>
                <a:gd name="T9" fmla="*/ 44 h 586"/>
                <a:gd name="T10" fmla="*/ 123 w 396"/>
                <a:gd name="T11" fmla="*/ 62 h 586"/>
                <a:gd name="T12" fmla="*/ 136 w 396"/>
                <a:gd name="T13" fmla="*/ 83 h 586"/>
                <a:gd name="T14" fmla="*/ 383 w 396"/>
                <a:gd name="T15" fmla="*/ 518 h 586"/>
                <a:gd name="T16" fmla="*/ 391 w 396"/>
                <a:gd name="T17" fmla="*/ 536 h 586"/>
                <a:gd name="T18" fmla="*/ 396 w 396"/>
                <a:gd name="T19" fmla="*/ 550 h 586"/>
                <a:gd name="T20" fmla="*/ 396 w 396"/>
                <a:gd name="T21" fmla="*/ 563 h 586"/>
                <a:gd name="T22" fmla="*/ 393 w 396"/>
                <a:gd name="T23" fmla="*/ 574 h 586"/>
                <a:gd name="T24" fmla="*/ 386 w 396"/>
                <a:gd name="T25" fmla="*/ 582 h 586"/>
                <a:gd name="T26" fmla="*/ 377 w 396"/>
                <a:gd name="T27" fmla="*/ 586 h 586"/>
                <a:gd name="T28" fmla="*/ 364 w 396"/>
                <a:gd name="T29" fmla="*/ 586 h 586"/>
                <a:gd name="T30" fmla="*/ 346 w 396"/>
                <a:gd name="T31" fmla="*/ 581 h 586"/>
                <a:gd name="T32" fmla="*/ 327 w 396"/>
                <a:gd name="T33" fmla="*/ 572 h 586"/>
                <a:gd name="T34" fmla="*/ 308 w 396"/>
                <a:gd name="T35" fmla="*/ 558 h 586"/>
                <a:gd name="T36" fmla="*/ 290 w 396"/>
                <a:gd name="T37" fmla="*/ 542 h 586"/>
                <a:gd name="T38" fmla="*/ 274 w 396"/>
                <a:gd name="T39" fmla="*/ 523 h 586"/>
                <a:gd name="T40" fmla="*/ 260 w 396"/>
                <a:gd name="T41" fmla="*/ 504 h 586"/>
                <a:gd name="T42" fmla="*/ 13 w 396"/>
                <a:gd name="T43" fmla="*/ 67 h 586"/>
                <a:gd name="T44" fmla="*/ 5 w 396"/>
                <a:gd name="T45" fmla="*/ 51 h 586"/>
                <a:gd name="T46" fmla="*/ 1 w 396"/>
                <a:gd name="T47" fmla="*/ 35 h 586"/>
                <a:gd name="T48" fmla="*/ 0 w 396"/>
                <a:gd name="T49" fmla="*/ 22 h 586"/>
                <a:gd name="T50" fmla="*/ 3 w 396"/>
                <a:gd name="T51" fmla="*/ 12 h 586"/>
                <a:gd name="T52" fmla="*/ 9 w 396"/>
                <a:gd name="T53" fmla="*/ 4 h 586"/>
                <a:gd name="T54" fmla="*/ 19 w 396"/>
                <a:gd name="T55" fmla="*/ 0 h 586"/>
                <a:gd name="T56" fmla="*/ 32 w 396"/>
                <a:gd name="T57" fmla="*/ 0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96" h="586">
                  <a:moveTo>
                    <a:pt x="32" y="0"/>
                  </a:moveTo>
                  <a:lnTo>
                    <a:pt x="50" y="4"/>
                  </a:lnTo>
                  <a:lnTo>
                    <a:pt x="69" y="14"/>
                  </a:lnTo>
                  <a:lnTo>
                    <a:pt x="88" y="27"/>
                  </a:lnTo>
                  <a:lnTo>
                    <a:pt x="106" y="44"/>
                  </a:lnTo>
                  <a:lnTo>
                    <a:pt x="123" y="62"/>
                  </a:lnTo>
                  <a:lnTo>
                    <a:pt x="136" y="83"/>
                  </a:lnTo>
                  <a:lnTo>
                    <a:pt x="383" y="518"/>
                  </a:lnTo>
                  <a:lnTo>
                    <a:pt x="391" y="536"/>
                  </a:lnTo>
                  <a:lnTo>
                    <a:pt x="396" y="550"/>
                  </a:lnTo>
                  <a:lnTo>
                    <a:pt x="396" y="563"/>
                  </a:lnTo>
                  <a:lnTo>
                    <a:pt x="393" y="574"/>
                  </a:lnTo>
                  <a:lnTo>
                    <a:pt x="386" y="582"/>
                  </a:lnTo>
                  <a:lnTo>
                    <a:pt x="377" y="586"/>
                  </a:lnTo>
                  <a:lnTo>
                    <a:pt x="364" y="586"/>
                  </a:lnTo>
                  <a:lnTo>
                    <a:pt x="346" y="581"/>
                  </a:lnTo>
                  <a:lnTo>
                    <a:pt x="327" y="572"/>
                  </a:lnTo>
                  <a:lnTo>
                    <a:pt x="308" y="558"/>
                  </a:lnTo>
                  <a:lnTo>
                    <a:pt x="290" y="542"/>
                  </a:lnTo>
                  <a:lnTo>
                    <a:pt x="274" y="523"/>
                  </a:lnTo>
                  <a:lnTo>
                    <a:pt x="260" y="504"/>
                  </a:lnTo>
                  <a:lnTo>
                    <a:pt x="13" y="67"/>
                  </a:lnTo>
                  <a:lnTo>
                    <a:pt x="5" y="51"/>
                  </a:lnTo>
                  <a:lnTo>
                    <a:pt x="1" y="35"/>
                  </a:lnTo>
                  <a:lnTo>
                    <a:pt x="0" y="22"/>
                  </a:lnTo>
                  <a:lnTo>
                    <a:pt x="3" y="12"/>
                  </a:lnTo>
                  <a:lnTo>
                    <a:pt x="9" y="4"/>
                  </a:lnTo>
                  <a:lnTo>
                    <a:pt x="19" y="0"/>
                  </a:lnTo>
                  <a:lnTo>
                    <a:pt x="3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5" name="Freeform 580">
              <a:extLst>
                <a:ext uri="{FF2B5EF4-FFF2-40B4-BE49-F238E27FC236}">
                  <a16:creationId xmlns:a16="http://schemas.microsoft.com/office/drawing/2014/main" id="{9C0C4171-A1EA-1970-FD4A-2C65D2B1EC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1163" y="6311901"/>
              <a:ext cx="82550" cy="173038"/>
            </a:xfrm>
            <a:custGeom>
              <a:avLst/>
              <a:gdLst>
                <a:gd name="T0" fmla="*/ 26 w 259"/>
                <a:gd name="T1" fmla="*/ 0 h 546"/>
                <a:gd name="T2" fmla="*/ 40 w 259"/>
                <a:gd name="T3" fmla="*/ 2 h 546"/>
                <a:gd name="T4" fmla="*/ 56 w 259"/>
                <a:gd name="T5" fmla="*/ 8 h 546"/>
                <a:gd name="T6" fmla="*/ 75 w 259"/>
                <a:gd name="T7" fmla="*/ 19 h 546"/>
                <a:gd name="T8" fmla="*/ 95 w 259"/>
                <a:gd name="T9" fmla="*/ 33 h 546"/>
                <a:gd name="T10" fmla="*/ 113 w 259"/>
                <a:gd name="T11" fmla="*/ 50 h 546"/>
                <a:gd name="T12" fmla="*/ 127 w 259"/>
                <a:gd name="T13" fmla="*/ 69 h 546"/>
                <a:gd name="T14" fmla="*/ 139 w 259"/>
                <a:gd name="T15" fmla="*/ 89 h 546"/>
                <a:gd name="T16" fmla="*/ 147 w 259"/>
                <a:gd name="T17" fmla="*/ 107 h 546"/>
                <a:gd name="T18" fmla="*/ 256 w 259"/>
                <a:gd name="T19" fmla="*/ 503 h 546"/>
                <a:gd name="T20" fmla="*/ 259 w 259"/>
                <a:gd name="T21" fmla="*/ 518 h 546"/>
                <a:gd name="T22" fmla="*/ 257 w 259"/>
                <a:gd name="T23" fmla="*/ 530 h 546"/>
                <a:gd name="T24" fmla="*/ 252 w 259"/>
                <a:gd name="T25" fmla="*/ 539 h 546"/>
                <a:gd name="T26" fmla="*/ 245 w 259"/>
                <a:gd name="T27" fmla="*/ 544 h 546"/>
                <a:gd name="T28" fmla="*/ 233 w 259"/>
                <a:gd name="T29" fmla="*/ 546 h 546"/>
                <a:gd name="T30" fmla="*/ 219 w 259"/>
                <a:gd name="T31" fmla="*/ 544 h 546"/>
                <a:gd name="T32" fmla="*/ 203 w 259"/>
                <a:gd name="T33" fmla="*/ 539 h 546"/>
                <a:gd name="T34" fmla="*/ 177 w 259"/>
                <a:gd name="T35" fmla="*/ 523 h 546"/>
                <a:gd name="T36" fmla="*/ 153 w 259"/>
                <a:gd name="T37" fmla="*/ 502 h 546"/>
                <a:gd name="T38" fmla="*/ 135 w 259"/>
                <a:gd name="T39" fmla="*/ 481 h 546"/>
                <a:gd name="T40" fmla="*/ 121 w 259"/>
                <a:gd name="T41" fmla="*/ 460 h 546"/>
                <a:gd name="T42" fmla="*/ 113 w 259"/>
                <a:gd name="T43" fmla="*/ 438 h 546"/>
                <a:gd name="T44" fmla="*/ 2 w 259"/>
                <a:gd name="T45" fmla="*/ 43 h 546"/>
                <a:gd name="T46" fmla="*/ 0 w 259"/>
                <a:gd name="T47" fmla="*/ 28 h 546"/>
                <a:gd name="T48" fmla="*/ 2 w 259"/>
                <a:gd name="T49" fmla="*/ 16 h 546"/>
                <a:gd name="T50" fmla="*/ 6 w 259"/>
                <a:gd name="T51" fmla="*/ 8 h 546"/>
                <a:gd name="T52" fmla="*/ 14 w 259"/>
                <a:gd name="T53" fmla="*/ 3 h 546"/>
                <a:gd name="T54" fmla="*/ 26 w 259"/>
                <a:gd name="T55" fmla="*/ 0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9" h="546">
                  <a:moveTo>
                    <a:pt x="26" y="0"/>
                  </a:moveTo>
                  <a:lnTo>
                    <a:pt x="40" y="2"/>
                  </a:lnTo>
                  <a:lnTo>
                    <a:pt x="56" y="8"/>
                  </a:lnTo>
                  <a:lnTo>
                    <a:pt x="75" y="19"/>
                  </a:lnTo>
                  <a:lnTo>
                    <a:pt x="95" y="33"/>
                  </a:lnTo>
                  <a:lnTo>
                    <a:pt x="113" y="50"/>
                  </a:lnTo>
                  <a:lnTo>
                    <a:pt x="127" y="69"/>
                  </a:lnTo>
                  <a:lnTo>
                    <a:pt x="139" y="89"/>
                  </a:lnTo>
                  <a:lnTo>
                    <a:pt x="147" y="107"/>
                  </a:lnTo>
                  <a:lnTo>
                    <a:pt x="256" y="503"/>
                  </a:lnTo>
                  <a:lnTo>
                    <a:pt x="259" y="518"/>
                  </a:lnTo>
                  <a:lnTo>
                    <a:pt x="257" y="530"/>
                  </a:lnTo>
                  <a:lnTo>
                    <a:pt x="252" y="539"/>
                  </a:lnTo>
                  <a:lnTo>
                    <a:pt x="245" y="544"/>
                  </a:lnTo>
                  <a:lnTo>
                    <a:pt x="233" y="546"/>
                  </a:lnTo>
                  <a:lnTo>
                    <a:pt x="219" y="544"/>
                  </a:lnTo>
                  <a:lnTo>
                    <a:pt x="203" y="539"/>
                  </a:lnTo>
                  <a:lnTo>
                    <a:pt x="177" y="523"/>
                  </a:lnTo>
                  <a:lnTo>
                    <a:pt x="153" y="502"/>
                  </a:lnTo>
                  <a:lnTo>
                    <a:pt x="135" y="481"/>
                  </a:lnTo>
                  <a:lnTo>
                    <a:pt x="121" y="460"/>
                  </a:lnTo>
                  <a:lnTo>
                    <a:pt x="113" y="438"/>
                  </a:lnTo>
                  <a:lnTo>
                    <a:pt x="2" y="43"/>
                  </a:lnTo>
                  <a:lnTo>
                    <a:pt x="0" y="28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4" y="3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62" name="Freeform 581">
              <a:extLst>
                <a:ext uri="{FF2B5EF4-FFF2-40B4-BE49-F238E27FC236}">
                  <a16:creationId xmlns:a16="http://schemas.microsoft.com/office/drawing/2014/main" id="{644794A5-67B5-AB09-D90C-EAF062F1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1463" y="6237288"/>
              <a:ext cx="60325" cy="144463"/>
            </a:xfrm>
            <a:custGeom>
              <a:avLst/>
              <a:gdLst>
                <a:gd name="T0" fmla="*/ 61 w 189"/>
                <a:gd name="T1" fmla="*/ 0 h 456"/>
                <a:gd name="T2" fmla="*/ 74 w 189"/>
                <a:gd name="T3" fmla="*/ 0 h 456"/>
                <a:gd name="T4" fmla="*/ 88 w 189"/>
                <a:gd name="T5" fmla="*/ 4 h 456"/>
                <a:gd name="T6" fmla="*/ 104 w 189"/>
                <a:gd name="T7" fmla="*/ 12 h 456"/>
                <a:gd name="T8" fmla="*/ 122 w 189"/>
                <a:gd name="T9" fmla="*/ 23 h 456"/>
                <a:gd name="T10" fmla="*/ 138 w 189"/>
                <a:gd name="T11" fmla="*/ 36 h 456"/>
                <a:gd name="T12" fmla="*/ 154 w 189"/>
                <a:gd name="T13" fmla="*/ 52 h 456"/>
                <a:gd name="T14" fmla="*/ 166 w 189"/>
                <a:gd name="T15" fmla="*/ 68 h 456"/>
                <a:gd name="T16" fmla="*/ 177 w 189"/>
                <a:gd name="T17" fmla="*/ 84 h 456"/>
                <a:gd name="T18" fmla="*/ 185 w 189"/>
                <a:gd name="T19" fmla="*/ 100 h 456"/>
                <a:gd name="T20" fmla="*/ 189 w 189"/>
                <a:gd name="T21" fmla="*/ 115 h 456"/>
                <a:gd name="T22" fmla="*/ 189 w 189"/>
                <a:gd name="T23" fmla="*/ 129 h 456"/>
                <a:gd name="T24" fmla="*/ 148 w 189"/>
                <a:gd name="T25" fmla="*/ 436 h 456"/>
                <a:gd name="T26" fmla="*/ 144 w 189"/>
                <a:gd name="T27" fmla="*/ 446 h 456"/>
                <a:gd name="T28" fmla="*/ 137 w 189"/>
                <a:gd name="T29" fmla="*/ 453 h 456"/>
                <a:gd name="T30" fmla="*/ 128 w 189"/>
                <a:gd name="T31" fmla="*/ 456 h 456"/>
                <a:gd name="T32" fmla="*/ 114 w 189"/>
                <a:gd name="T33" fmla="*/ 456 h 456"/>
                <a:gd name="T34" fmla="*/ 100 w 189"/>
                <a:gd name="T35" fmla="*/ 453 h 456"/>
                <a:gd name="T36" fmla="*/ 84 w 189"/>
                <a:gd name="T37" fmla="*/ 445 h 456"/>
                <a:gd name="T38" fmla="*/ 67 w 189"/>
                <a:gd name="T39" fmla="*/ 435 h 456"/>
                <a:gd name="T40" fmla="*/ 54 w 189"/>
                <a:gd name="T41" fmla="*/ 424 h 456"/>
                <a:gd name="T42" fmla="*/ 42 w 189"/>
                <a:gd name="T43" fmla="*/ 413 h 456"/>
                <a:gd name="T44" fmla="*/ 26 w 189"/>
                <a:gd name="T45" fmla="*/ 396 h 456"/>
                <a:gd name="T46" fmla="*/ 14 w 189"/>
                <a:gd name="T47" fmla="*/ 377 h 456"/>
                <a:gd name="T48" fmla="*/ 6 w 189"/>
                <a:gd name="T49" fmla="*/ 360 h 456"/>
                <a:gd name="T50" fmla="*/ 1 w 189"/>
                <a:gd name="T51" fmla="*/ 343 h 456"/>
                <a:gd name="T52" fmla="*/ 0 w 189"/>
                <a:gd name="T53" fmla="*/ 328 h 456"/>
                <a:gd name="T54" fmla="*/ 40 w 189"/>
                <a:gd name="T55" fmla="*/ 22 h 456"/>
                <a:gd name="T56" fmla="*/ 44 w 189"/>
                <a:gd name="T57" fmla="*/ 11 h 456"/>
                <a:gd name="T58" fmla="*/ 51 w 189"/>
                <a:gd name="T59" fmla="*/ 3 h 456"/>
                <a:gd name="T60" fmla="*/ 61 w 189"/>
                <a:gd name="T61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9" h="456">
                  <a:moveTo>
                    <a:pt x="61" y="0"/>
                  </a:moveTo>
                  <a:lnTo>
                    <a:pt x="74" y="0"/>
                  </a:lnTo>
                  <a:lnTo>
                    <a:pt x="88" y="4"/>
                  </a:lnTo>
                  <a:lnTo>
                    <a:pt x="104" y="12"/>
                  </a:lnTo>
                  <a:lnTo>
                    <a:pt x="122" y="23"/>
                  </a:lnTo>
                  <a:lnTo>
                    <a:pt x="138" y="36"/>
                  </a:lnTo>
                  <a:lnTo>
                    <a:pt x="154" y="52"/>
                  </a:lnTo>
                  <a:lnTo>
                    <a:pt x="166" y="68"/>
                  </a:lnTo>
                  <a:lnTo>
                    <a:pt x="177" y="84"/>
                  </a:lnTo>
                  <a:lnTo>
                    <a:pt x="185" y="100"/>
                  </a:lnTo>
                  <a:lnTo>
                    <a:pt x="189" y="115"/>
                  </a:lnTo>
                  <a:lnTo>
                    <a:pt x="189" y="129"/>
                  </a:lnTo>
                  <a:lnTo>
                    <a:pt x="148" y="436"/>
                  </a:lnTo>
                  <a:lnTo>
                    <a:pt x="144" y="446"/>
                  </a:lnTo>
                  <a:lnTo>
                    <a:pt x="137" y="453"/>
                  </a:lnTo>
                  <a:lnTo>
                    <a:pt x="128" y="456"/>
                  </a:lnTo>
                  <a:lnTo>
                    <a:pt x="114" y="456"/>
                  </a:lnTo>
                  <a:lnTo>
                    <a:pt x="100" y="453"/>
                  </a:lnTo>
                  <a:lnTo>
                    <a:pt x="84" y="445"/>
                  </a:lnTo>
                  <a:lnTo>
                    <a:pt x="67" y="435"/>
                  </a:lnTo>
                  <a:lnTo>
                    <a:pt x="54" y="424"/>
                  </a:lnTo>
                  <a:lnTo>
                    <a:pt x="42" y="413"/>
                  </a:lnTo>
                  <a:lnTo>
                    <a:pt x="26" y="396"/>
                  </a:lnTo>
                  <a:lnTo>
                    <a:pt x="14" y="377"/>
                  </a:lnTo>
                  <a:lnTo>
                    <a:pt x="6" y="360"/>
                  </a:lnTo>
                  <a:lnTo>
                    <a:pt x="1" y="343"/>
                  </a:lnTo>
                  <a:lnTo>
                    <a:pt x="0" y="328"/>
                  </a:lnTo>
                  <a:lnTo>
                    <a:pt x="40" y="22"/>
                  </a:lnTo>
                  <a:lnTo>
                    <a:pt x="44" y="11"/>
                  </a:lnTo>
                  <a:lnTo>
                    <a:pt x="51" y="3"/>
                  </a:lnTo>
                  <a:lnTo>
                    <a:pt x="6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63" name="Freeform 582">
              <a:extLst>
                <a:ext uri="{FF2B5EF4-FFF2-40B4-BE49-F238E27FC236}">
                  <a16:creationId xmlns:a16="http://schemas.microsoft.com/office/drawing/2014/main" id="{AC25444C-2E6F-BD31-6D6D-37CF68B24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3188" y="6130926"/>
              <a:ext cx="106363" cy="104775"/>
            </a:xfrm>
            <a:custGeom>
              <a:avLst/>
              <a:gdLst>
                <a:gd name="T0" fmla="*/ 215 w 336"/>
                <a:gd name="T1" fmla="*/ 0 h 332"/>
                <a:gd name="T2" fmla="*/ 229 w 336"/>
                <a:gd name="T3" fmla="*/ 2 h 332"/>
                <a:gd name="T4" fmla="*/ 244 w 336"/>
                <a:gd name="T5" fmla="*/ 9 h 332"/>
                <a:gd name="T6" fmla="*/ 261 w 336"/>
                <a:gd name="T7" fmla="*/ 18 h 332"/>
                <a:gd name="T8" fmla="*/ 277 w 336"/>
                <a:gd name="T9" fmla="*/ 29 h 332"/>
                <a:gd name="T10" fmla="*/ 294 w 336"/>
                <a:gd name="T11" fmla="*/ 45 h 332"/>
                <a:gd name="T12" fmla="*/ 308 w 336"/>
                <a:gd name="T13" fmla="*/ 61 h 332"/>
                <a:gd name="T14" fmla="*/ 320 w 336"/>
                <a:gd name="T15" fmla="*/ 77 h 332"/>
                <a:gd name="T16" fmla="*/ 329 w 336"/>
                <a:gd name="T17" fmla="*/ 94 h 332"/>
                <a:gd name="T18" fmla="*/ 334 w 336"/>
                <a:gd name="T19" fmla="*/ 109 h 332"/>
                <a:gd name="T20" fmla="*/ 336 w 336"/>
                <a:gd name="T21" fmla="*/ 124 h 332"/>
                <a:gd name="T22" fmla="*/ 334 w 336"/>
                <a:gd name="T23" fmla="*/ 135 h 332"/>
                <a:gd name="T24" fmla="*/ 329 w 336"/>
                <a:gd name="T25" fmla="*/ 144 h 332"/>
                <a:gd name="T26" fmla="*/ 143 w 336"/>
                <a:gd name="T27" fmla="*/ 325 h 332"/>
                <a:gd name="T28" fmla="*/ 134 w 336"/>
                <a:gd name="T29" fmla="*/ 331 h 332"/>
                <a:gd name="T30" fmla="*/ 121 w 336"/>
                <a:gd name="T31" fmla="*/ 332 h 332"/>
                <a:gd name="T32" fmla="*/ 108 w 336"/>
                <a:gd name="T33" fmla="*/ 330 h 332"/>
                <a:gd name="T34" fmla="*/ 92 w 336"/>
                <a:gd name="T35" fmla="*/ 324 h 332"/>
                <a:gd name="T36" fmla="*/ 76 w 336"/>
                <a:gd name="T37" fmla="*/ 315 h 332"/>
                <a:gd name="T38" fmla="*/ 59 w 336"/>
                <a:gd name="T39" fmla="*/ 302 h 332"/>
                <a:gd name="T40" fmla="*/ 44 w 336"/>
                <a:gd name="T41" fmla="*/ 288 h 332"/>
                <a:gd name="T42" fmla="*/ 28 w 336"/>
                <a:gd name="T43" fmla="*/ 272 h 332"/>
                <a:gd name="T44" fmla="*/ 17 w 336"/>
                <a:gd name="T45" fmla="*/ 255 h 332"/>
                <a:gd name="T46" fmla="*/ 9 w 336"/>
                <a:gd name="T47" fmla="*/ 239 h 332"/>
                <a:gd name="T48" fmla="*/ 2 w 336"/>
                <a:gd name="T49" fmla="*/ 223 h 332"/>
                <a:gd name="T50" fmla="*/ 0 w 336"/>
                <a:gd name="T51" fmla="*/ 209 h 332"/>
                <a:gd name="T52" fmla="*/ 2 w 336"/>
                <a:gd name="T53" fmla="*/ 198 h 332"/>
                <a:gd name="T54" fmla="*/ 8 w 336"/>
                <a:gd name="T55" fmla="*/ 188 h 332"/>
                <a:gd name="T56" fmla="*/ 195 w 336"/>
                <a:gd name="T57" fmla="*/ 8 h 332"/>
                <a:gd name="T58" fmla="*/ 203 w 336"/>
                <a:gd name="T59" fmla="*/ 1 h 332"/>
                <a:gd name="T60" fmla="*/ 215 w 336"/>
                <a:gd name="T61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36" h="332">
                  <a:moveTo>
                    <a:pt x="215" y="0"/>
                  </a:moveTo>
                  <a:lnTo>
                    <a:pt x="229" y="2"/>
                  </a:lnTo>
                  <a:lnTo>
                    <a:pt x="244" y="9"/>
                  </a:lnTo>
                  <a:lnTo>
                    <a:pt x="261" y="18"/>
                  </a:lnTo>
                  <a:lnTo>
                    <a:pt x="277" y="29"/>
                  </a:lnTo>
                  <a:lnTo>
                    <a:pt x="294" y="45"/>
                  </a:lnTo>
                  <a:lnTo>
                    <a:pt x="308" y="61"/>
                  </a:lnTo>
                  <a:lnTo>
                    <a:pt x="320" y="77"/>
                  </a:lnTo>
                  <a:lnTo>
                    <a:pt x="329" y="94"/>
                  </a:lnTo>
                  <a:lnTo>
                    <a:pt x="334" y="109"/>
                  </a:lnTo>
                  <a:lnTo>
                    <a:pt x="336" y="124"/>
                  </a:lnTo>
                  <a:lnTo>
                    <a:pt x="334" y="135"/>
                  </a:lnTo>
                  <a:lnTo>
                    <a:pt x="329" y="144"/>
                  </a:lnTo>
                  <a:lnTo>
                    <a:pt x="143" y="325"/>
                  </a:lnTo>
                  <a:lnTo>
                    <a:pt x="134" y="331"/>
                  </a:lnTo>
                  <a:lnTo>
                    <a:pt x="121" y="332"/>
                  </a:lnTo>
                  <a:lnTo>
                    <a:pt x="108" y="330"/>
                  </a:lnTo>
                  <a:lnTo>
                    <a:pt x="92" y="324"/>
                  </a:lnTo>
                  <a:lnTo>
                    <a:pt x="76" y="315"/>
                  </a:lnTo>
                  <a:lnTo>
                    <a:pt x="59" y="302"/>
                  </a:lnTo>
                  <a:lnTo>
                    <a:pt x="44" y="288"/>
                  </a:lnTo>
                  <a:lnTo>
                    <a:pt x="28" y="272"/>
                  </a:lnTo>
                  <a:lnTo>
                    <a:pt x="17" y="255"/>
                  </a:lnTo>
                  <a:lnTo>
                    <a:pt x="9" y="239"/>
                  </a:lnTo>
                  <a:lnTo>
                    <a:pt x="2" y="223"/>
                  </a:lnTo>
                  <a:lnTo>
                    <a:pt x="0" y="209"/>
                  </a:lnTo>
                  <a:lnTo>
                    <a:pt x="2" y="198"/>
                  </a:lnTo>
                  <a:lnTo>
                    <a:pt x="8" y="188"/>
                  </a:lnTo>
                  <a:lnTo>
                    <a:pt x="195" y="8"/>
                  </a:lnTo>
                  <a:lnTo>
                    <a:pt x="203" y="1"/>
                  </a:lnTo>
                  <a:lnTo>
                    <a:pt x="2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64" name="Freeform 583">
              <a:extLst>
                <a:ext uri="{FF2B5EF4-FFF2-40B4-BE49-F238E27FC236}">
                  <a16:creationId xmlns:a16="http://schemas.microsoft.com/office/drawing/2014/main" id="{290DE241-8E15-0FCA-5AA4-A7BB8445E8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0313" y="6007101"/>
              <a:ext cx="144463" cy="58738"/>
            </a:xfrm>
            <a:custGeom>
              <a:avLst/>
              <a:gdLst>
                <a:gd name="T0" fmla="*/ 330 w 458"/>
                <a:gd name="T1" fmla="*/ 0 h 184"/>
                <a:gd name="T2" fmla="*/ 345 w 458"/>
                <a:gd name="T3" fmla="*/ 1 h 184"/>
                <a:gd name="T4" fmla="*/ 359 w 458"/>
                <a:gd name="T5" fmla="*/ 5 h 184"/>
                <a:gd name="T6" fmla="*/ 376 w 458"/>
                <a:gd name="T7" fmla="*/ 13 h 184"/>
                <a:gd name="T8" fmla="*/ 392 w 458"/>
                <a:gd name="T9" fmla="*/ 24 h 184"/>
                <a:gd name="T10" fmla="*/ 408 w 458"/>
                <a:gd name="T11" fmla="*/ 37 h 184"/>
                <a:gd name="T12" fmla="*/ 423 w 458"/>
                <a:gd name="T13" fmla="*/ 52 h 184"/>
                <a:gd name="T14" fmla="*/ 437 w 458"/>
                <a:gd name="T15" fmla="*/ 69 h 184"/>
                <a:gd name="T16" fmla="*/ 447 w 458"/>
                <a:gd name="T17" fmla="*/ 86 h 184"/>
                <a:gd name="T18" fmla="*/ 454 w 458"/>
                <a:gd name="T19" fmla="*/ 103 h 184"/>
                <a:gd name="T20" fmla="*/ 458 w 458"/>
                <a:gd name="T21" fmla="*/ 117 h 184"/>
                <a:gd name="T22" fmla="*/ 458 w 458"/>
                <a:gd name="T23" fmla="*/ 129 h 184"/>
                <a:gd name="T24" fmla="*/ 453 w 458"/>
                <a:gd name="T25" fmla="*/ 140 h 184"/>
                <a:gd name="T26" fmla="*/ 446 w 458"/>
                <a:gd name="T27" fmla="*/ 147 h 184"/>
                <a:gd name="T28" fmla="*/ 436 w 458"/>
                <a:gd name="T29" fmla="*/ 150 h 184"/>
                <a:gd name="T30" fmla="*/ 126 w 458"/>
                <a:gd name="T31" fmla="*/ 184 h 184"/>
                <a:gd name="T32" fmla="*/ 111 w 458"/>
                <a:gd name="T33" fmla="*/ 183 h 184"/>
                <a:gd name="T34" fmla="*/ 95 w 458"/>
                <a:gd name="T35" fmla="*/ 178 h 184"/>
                <a:gd name="T36" fmla="*/ 77 w 458"/>
                <a:gd name="T37" fmla="*/ 168 h 184"/>
                <a:gd name="T38" fmla="*/ 59 w 458"/>
                <a:gd name="T39" fmla="*/ 155 h 184"/>
                <a:gd name="T40" fmla="*/ 42 w 458"/>
                <a:gd name="T41" fmla="*/ 140 h 184"/>
                <a:gd name="T42" fmla="*/ 20 w 458"/>
                <a:gd name="T43" fmla="*/ 115 h 184"/>
                <a:gd name="T44" fmla="*/ 10 w 458"/>
                <a:gd name="T45" fmla="*/ 98 h 184"/>
                <a:gd name="T46" fmla="*/ 3 w 458"/>
                <a:gd name="T47" fmla="*/ 81 h 184"/>
                <a:gd name="T48" fmla="*/ 0 w 458"/>
                <a:gd name="T49" fmla="*/ 67 h 184"/>
                <a:gd name="T50" fmla="*/ 0 w 458"/>
                <a:gd name="T51" fmla="*/ 54 h 184"/>
                <a:gd name="T52" fmla="*/ 4 w 458"/>
                <a:gd name="T53" fmla="*/ 44 h 184"/>
                <a:gd name="T54" fmla="*/ 11 w 458"/>
                <a:gd name="T55" fmla="*/ 37 h 184"/>
                <a:gd name="T56" fmla="*/ 21 w 458"/>
                <a:gd name="T57" fmla="*/ 34 h 184"/>
                <a:gd name="T58" fmla="*/ 330 w 458"/>
                <a:gd name="T59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58" h="184">
                  <a:moveTo>
                    <a:pt x="330" y="0"/>
                  </a:moveTo>
                  <a:lnTo>
                    <a:pt x="345" y="1"/>
                  </a:lnTo>
                  <a:lnTo>
                    <a:pt x="359" y="5"/>
                  </a:lnTo>
                  <a:lnTo>
                    <a:pt x="376" y="13"/>
                  </a:lnTo>
                  <a:lnTo>
                    <a:pt x="392" y="24"/>
                  </a:lnTo>
                  <a:lnTo>
                    <a:pt x="408" y="37"/>
                  </a:lnTo>
                  <a:lnTo>
                    <a:pt x="423" y="52"/>
                  </a:lnTo>
                  <a:lnTo>
                    <a:pt x="437" y="69"/>
                  </a:lnTo>
                  <a:lnTo>
                    <a:pt x="447" y="86"/>
                  </a:lnTo>
                  <a:lnTo>
                    <a:pt x="454" y="103"/>
                  </a:lnTo>
                  <a:lnTo>
                    <a:pt x="458" y="117"/>
                  </a:lnTo>
                  <a:lnTo>
                    <a:pt x="458" y="129"/>
                  </a:lnTo>
                  <a:lnTo>
                    <a:pt x="453" y="140"/>
                  </a:lnTo>
                  <a:lnTo>
                    <a:pt x="446" y="147"/>
                  </a:lnTo>
                  <a:lnTo>
                    <a:pt x="436" y="150"/>
                  </a:lnTo>
                  <a:lnTo>
                    <a:pt x="126" y="184"/>
                  </a:lnTo>
                  <a:lnTo>
                    <a:pt x="111" y="183"/>
                  </a:lnTo>
                  <a:lnTo>
                    <a:pt x="95" y="178"/>
                  </a:lnTo>
                  <a:lnTo>
                    <a:pt x="77" y="168"/>
                  </a:lnTo>
                  <a:lnTo>
                    <a:pt x="59" y="155"/>
                  </a:lnTo>
                  <a:lnTo>
                    <a:pt x="42" y="140"/>
                  </a:lnTo>
                  <a:lnTo>
                    <a:pt x="20" y="115"/>
                  </a:lnTo>
                  <a:lnTo>
                    <a:pt x="10" y="98"/>
                  </a:lnTo>
                  <a:lnTo>
                    <a:pt x="3" y="81"/>
                  </a:lnTo>
                  <a:lnTo>
                    <a:pt x="0" y="67"/>
                  </a:lnTo>
                  <a:lnTo>
                    <a:pt x="0" y="54"/>
                  </a:lnTo>
                  <a:lnTo>
                    <a:pt x="4" y="44"/>
                  </a:lnTo>
                  <a:lnTo>
                    <a:pt x="11" y="37"/>
                  </a:lnTo>
                  <a:lnTo>
                    <a:pt x="21" y="34"/>
                  </a:lnTo>
                  <a:lnTo>
                    <a:pt x="33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65" name="Freeform 584">
              <a:extLst>
                <a:ext uri="{FF2B5EF4-FFF2-40B4-BE49-F238E27FC236}">
                  <a16:creationId xmlns:a16="http://schemas.microsoft.com/office/drawing/2014/main" id="{6E0DE42E-D441-55B2-21CD-A63DD0122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0300" y="5842001"/>
              <a:ext cx="173038" cy="84138"/>
            </a:xfrm>
            <a:custGeom>
              <a:avLst/>
              <a:gdLst>
                <a:gd name="T0" fmla="*/ 28 w 544"/>
                <a:gd name="T1" fmla="*/ 0 h 267"/>
                <a:gd name="T2" fmla="*/ 43 w 544"/>
                <a:gd name="T3" fmla="*/ 2 h 267"/>
                <a:gd name="T4" fmla="*/ 438 w 544"/>
                <a:gd name="T5" fmla="*/ 120 h 267"/>
                <a:gd name="T6" fmla="*/ 457 w 544"/>
                <a:gd name="T7" fmla="*/ 128 h 267"/>
                <a:gd name="T8" fmla="*/ 477 w 544"/>
                <a:gd name="T9" fmla="*/ 140 h 267"/>
                <a:gd name="T10" fmla="*/ 496 w 544"/>
                <a:gd name="T11" fmla="*/ 155 h 267"/>
                <a:gd name="T12" fmla="*/ 512 w 544"/>
                <a:gd name="T13" fmla="*/ 173 h 267"/>
                <a:gd name="T14" fmla="*/ 527 w 544"/>
                <a:gd name="T15" fmla="*/ 192 h 267"/>
                <a:gd name="T16" fmla="*/ 537 w 544"/>
                <a:gd name="T17" fmla="*/ 213 h 267"/>
                <a:gd name="T18" fmla="*/ 542 w 544"/>
                <a:gd name="T19" fmla="*/ 228 h 267"/>
                <a:gd name="T20" fmla="*/ 544 w 544"/>
                <a:gd name="T21" fmla="*/ 243 h 267"/>
                <a:gd name="T22" fmla="*/ 541 w 544"/>
                <a:gd name="T23" fmla="*/ 253 h 267"/>
                <a:gd name="T24" fmla="*/ 536 w 544"/>
                <a:gd name="T25" fmla="*/ 261 h 267"/>
                <a:gd name="T26" fmla="*/ 527 w 544"/>
                <a:gd name="T27" fmla="*/ 266 h 267"/>
                <a:gd name="T28" fmla="*/ 515 w 544"/>
                <a:gd name="T29" fmla="*/ 267 h 267"/>
                <a:gd name="T30" fmla="*/ 500 w 544"/>
                <a:gd name="T31" fmla="*/ 265 h 267"/>
                <a:gd name="T32" fmla="*/ 105 w 544"/>
                <a:gd name="T33" fmla="*/ 147 h 267"/>
                <a:gd name="T34" fmla="*/ 83 w 544"/>
                <a:gd name="T35" fmla="*/ 138 h 267"/>
                <a:gd name="T36" fmla="*/ 63 w 544"/>
                <a:gd name="T37" fmla="*/ 123 h 267"/>
                <a:gd name="T38" fmla="*/ 42 w 544"/>
                <a:gd name="T39" fmla="*/ 106 h 267"/>
                <a:gd name="T40" fmla="*/ 21 w 544"/>
                <a:gd name="T41" fmla="*/ 81 h 267"/>
                <a:gd name="T42" fmla="*/ 6 w 544"/>
                <a:gd name="T43" fmla="*/ 55 h 267"/>
                <a:gd name="T44" fmla="*/ 1 w 544"/>
                <a:gd name="T45" fmla="*/ 38 h 267"/>
                <a:gd name="T46" fmla="*/ 0 w 544"/>
                <a:gd name="T47" fmla="*/ 25 h 267"/>
                <a:gd name="T48" fmla="*/ 2 w 544"/>
                <a:gd name="T49" fmla="*/ 14 h 267"/>
                <a:gd name="T50" fmla="*/ 8 w 544"/>
                <a:gd name="T51" fmla="*/ 5 h 267"/>
                <a:gd name="T52" fmla="*/ 16 w 544"/>
                <a:gd name="T53" fmla="*/ 1 h 267"/>
                <a:gd name="T54" fmla="*/ 28 w 544"/>
                <a:gd name="T55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44" h="267">
                  <a:moveTo>
                    <a:pt x="28" y="0"/>
                  </a:moveTo>
                  <a:lnTo>
                    <a:pt x="43" y="2"/>
                  </a:lnTo>
                  <a:lnTo>
                    <a:pt x="438" y="120"/>
                  </a:lnTo>
                  <a:lnTo>
                    <a:pt x="457" y="128"/>
                  </a:lnTo>
                  <a:lnTo>
                    <a:pt x="477" y="140"/>
                  </a:lnTo>
                  <a:lnTo>
                    <a:pt x="496" y="155"/>
                  </a:lnTo>
                  <a:lnTo>
                    <a:pt x="512" y="173"/>
                  </a:lnTo>
                  <a:lnTo>
                    <a:pt x="527" y="192"/>
                  </a:lnTo>
                  <a:lnTo>
                    <a:pt x="537" y="213"/>
                  </a:lnTo>
                  <a:lnTo>
                    <a:pt x="542" y="228"/>
                  </a:lnTo>
                  <a:lnTo>
                    <a:pt x="544" y="243"/>
                  </a:lnTo>
                  <a:lnTo>
                    <a:pt x="541" y="253"/>
                  </a:lnTo>
                  <a:lnTo>
                    <a:pt x="536" y="261"/>
                  </a:lnTo>
                  <a:lnTo>
                    <a:pt x="527" y="266"/>
                  </a:lnTo>
                  <a:lnTo>
                    <a:pt x="515" y="267"/>
                  </a:lnTo>
                  <a:lnTo>
                    <a:pt x="500" y="265"/>
                  </a:lnTo>
                  <a:lnTo>
                    <a:pt x="105" y="147"/>
                  </a:lnTo>
                  <a:lnTo>
                    <a:pt x="83" y="138"/>
                  </a:lnTo>
                  <a:lnTo>
                    <a:pt x="63" y="123"/>
                  </a:lnTo>
                  <a:lnTo>
                    <a:pt x="42" y="106"/>
                  </a:lnTo>
                  <a:lnTo>
                    <a:pt x="21" y="81"/>
                  </a:lnTo>
                  <a:lnTo>
                    <a:pt x="6" y="55"/>
                  </a:lnTo>
                  <a:lnTo>
                    <a:pt x="1" y="38"/>
                  </a:lnTo>
                  <a:lnTo>
                    <a:pt x="0" y="25"/>
                  </a:lnTo>
                  <a:lnTo>
                    <a:pt x="2" y="14"/>
                  </a:lnTo>
                  <a:lnTo>
                    <a:pt x="8" y="5"/>
                  </a:lnTo>
                  <a:lnTo>
                    <a:pt x="16" y="1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66" name="Freeform 585">
              <a:extLst>
                <a:ext uri="{FF2B5EF4-FFF2-40B4-BE49-F238E27FC236}">
                  <a16:creationId xmlns:a16="http://schemas.microsoft.com/office/drawing/2014/main" id="{5D31453B-7B82-64E2-46D6-1062749D01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5850" y="5681663"/>
              <a:ext cx="184150" cy="128588"/>
            </a:xfrm>
            <a:custGeom>
              <a:avLst/>
              <a:gdLst>
                <a:gd name="T0" fmla="*/ 23 w 582"/>
                <a:gd name="T1" fmla="*/ 0 h 405"/>
                <a:gd name="T2" fmla="*/ 36 w 582"/>
                <a:gd name="T3" fmla="*/ 1 h 405"/>
                <a:gd name="T4" fmla="*/ 52 w 582"/>
                <a:gd name="T5" fmla="*/ 5 h 405"/>
                <a:gd name="T6" fmla="*/ 68 w 582"/>
                <a:gd name="T7" fmla="*/ 13 h 405"/>
                <a:gd name="T8" fmla="*/ 502 w 582"/>
                <a:gd name="T9" fmla="*/ 268 h 405"/>
                <a:gd name="T10" fmla="*/ 522 w 582"/>
                <a:gd name="T11" fmla="*/ 282 h 405"/>
                <a:gd name="T12" fmla="*/ 541 w 582"/>
                <a:gd name="T13" fmla="*/ 299 h 405"/>
                <a:gd name="T14" fmla="*/ 556 w 582"/>
                <a:gd name="T15" fmla="*/ 317 h 405"/>
                <a:gd name="T16" fmla="*/ 569 w 582"/>
                <a:gd name="T17" fmla="*/ 337 h 405"/>
                <a:gd name="T18" fmla="*/ 578 w 582"/>
                <a:gd name="T19" fmla="*/ 355 h 405"/>
                <a:gd name="T20" fmla="*/ 582 w 582"/>
                <a:gd name="T21" fmla="*/ 373 h 405"/>
                <a:gd name="T22" fmla="*/ 582 w 582"/>
                <a:gd name="T23" fmla="*/ 386 h 405"/>
                <a:gd name="T24" fmla="*/ 578 w 582"/>
                <a:gd name="T25" fmla="*/ 395 h 405"/>
                <a:gd name="T26" fmla="*/ 569 w 582"/>
                <a:gd name="T27" fmla="*/ 402 h 405"/>
                <a:gd name="T28" fmla="*/ 559 w 582"/>
                <a:gd name="T29" fmla="*/ 405 h 405"/>
                <a:gd name="T30" fmla="*/ 546 w 582"/>
                <a:gd name="T31" fmla="*/ 404 h 405"/>
                <a:gd name="T32" fmla="*/ 531 w 582"/>
                <a:gd name="T33" fmla="*/ 399 h 405"/>
                <a:gd name="T34" fmla="*/ 514 w 582"/>
                <a:gd name="T35" fmla="*/ 390 h 405"/>
                <a:gd name="T36" fmla="*/ 81 w 582"/>
                <a:gd name="T37" fmla="*/ 135 h 405"/>
                <a:gd name="T38" fmla="*/ 61 w 582"/>
                <a:gd name="T39" fmla="*/ 122 h 405"/>
                <a:gd name="T40" fmla="*/ 42 w 582"/>
                <a:gd name="T41" fmla="*/ 106 h 405"/>
                <a:gd name="T42" fmla="*/ 26 w 582"/>
                <a:gd name="T43" fmla="*/ 87 h 405"/>
                <a:gd name="T44" fmla="*/ 13 w 582"/>
                <a:gd name="T45" fmla="*/ 68 h 405"/>
                <a:gd name="T46" fmla="*/ 4 w 582"/>
                <a:gd name="T47" fmla="*/ 49 h 405"/>
                <a:gd name="T48" fmla="*/ 0 w 582"/>
                <a:gd name="T49" fmla="*/ 31 h 405"/>
                <a:gd name="T50" fmla="*/ 1 w 582"/>
                <a:gd name="T51" fmla="*/ 18 h 405"/>
                <a:gd name="T52" fmla="*/ 5 w 582"/>
                <a:gd name="T53" fmla="*/ 8 h 405"/>
                <a:gd name="T54" fmla="*/ 12 w 582"/>
                <a:gd name="T55" fmla="*/ 2 h 405"/>
                <a:gd name="T56" fmla="*/ 23 w 582"/>
                <a:gd name="T57" fmla="*/ 0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82" h="405">
                  <a:moveTo>
                    <a:pt x="23" y="0"/>
                  </a:moveTo>
                  <a:lnTo>
                    <a:pt x="36" y="1"/>
                  </a:lnTo>
                  <a:lnTo>
                    <a:pt x="52" y="5"/>
                  </a:lnTo>
                  <a:lnTo>
                    <a:pt x="68" y="13"/>
                  </a:lnTo>
                  <a:lnTo>
                    <a:pt x="502" y="268"/>
                  </a:lnTo>
                  <a:lnTo>
                    <a:pt x="522" y="282"/>
                  </a:lnTo>
                  <a:lnTo>
                    <a:pt x="541" y="299"/>
                  </a:lnTo>
                  <a:lnTo>
                    <a:pt x="556" y="317"/>
                  </a:lnTo>
                  <a:lnTo>
                    <a:pt x="569" y="337"/>
                  </a:lnTo>
                  <a:lnTo>
                    <a:pt x="578" y="355"/>
                  </a:lnTo>
                  <a:lnTo>
                    <a:pt x="582" y="373"/>
                  </a:lnTo>
                  <a:lnTo>
                    <a:pt x="582" y="386"/>
                  </a:lnTo>
                  <a:lnTo>
                    <a:pt x="578" y="395"/>
                  </a:lnTo>
                  <a:lnTo>
                    <a:pt x="569" y="402"/>
                  </a:lnTo>
                  <a:lnTo>
                    <a:pt x="559" y="405"/>
                  </a:lnTo>
                  <a:lnTo>
                    <a:pt x="546" y="404"/>
                  </a:lnTo>
                  <a:lnTo>
                    <a:pt x="531" y="399"/>
                  </a:lnTo>
                  <a:lnTo>
                    <a:pt x="514" y="390"/>
                  </a:lnTo>
                  <a:lnTo>
                    <a:pt x="81" y="135"/>
                  </a:lnTo>
                  <a:lnTo>
                    <a:pt x="61" y="122"/>
                  </a:lnTo>
                  <a:lnTo>
                    <a:pt x="42" y="106"/>
                  </a:lnTo>
                  <a:lnTo>
                    <a:pt x="26" y="87"/>
                  </a:lnTo>
                  <a:lnTo>
                    <a:pt x="13" y="68"/>
                  </a:lnTo>
                  <a:lnTo>
                    <a:pt x="4" y="49"/>
                  </a:lnTo>
                  <a:lnTo>
                    <a:pt x="0" y="31"/>
                  </a:lnTo>
                  <a:lnTo>
                    <a:pt x="1" y="18"/>
                  </a:lnTo>
                  <a:lnTo>
                    <a:pt x="5" y="8"/>
                  </a:lnTo>
                  <a:lnTo>
                    <a:pt x="12" y="2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67" name="Freeform 586">
              <a:extLst>
                <a:ext uri="{FF2B5EF4-FFF2-40B4-BE49-F238E27FC236}">
                  <a16:creationId xmlns:a16="http://schemas.microsoft.com/office/drawing/2014/main" id="{565A4645-B120-4333-8E9F-51EDAEA71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1725" y="5557838"/>
              <a:ext cx="180975" cy="163513"/>
            </a:xfrm>
            <a:custGeom>
              <a:avLst/>
              <a:gdLst>
                <a:gd name="T0" fmla="*/ 31 w 568"/>
                <a:gd name="T1" fmla="*/ 0 h 512"/>
                <a:gd name="T2" fmla="*/ 44 w 568"/>
                <a:gd name="T3" fmla="*/ 4 h 512"/>
                <a:gd name="T4" fmla="*/ 61 w 568"/>
                <a:gd name="T5" fmla="*/ 11 h 512"/>
                <a:gd name="T6" fmla="*/ 77 w 568"/>
                <a:gd name="T7" fmla="*/ 20 h 512"/>
                <a:gd name="T8" fmla="*/ 94 w 568"/>
                <a:gd name="T9" fmla="*/ 33 h 512"/>
                <a:gd name="T10" fmla="*/ 513 w 568"/>
                <a:gd name="T11" fmla="*/ 395 h 512"/>
                <a:gd name="T12" fmla="*/ 529 w 568"/>
                <a:gd name="T13" fmla="*/ 410 h 512"/>
                <a:gd name="T14" fmla="*/ 543 w 568"/>
                <a:gd name="T15" fmla="*/ 427 h 512"/>
                <a:gd name="T16" fmla="*/ 554 w 568"/>
                <a:gd name="T17" fmla="*/ 443 h 512"/>
                <a:gd name="T18" fmla="*/ 562 w 568"/>
                <a:gd name="T19" fmla="*/ 459 h 512"/>
                <a:gd name="T20" fmla="*/ 567 w 568"/>
                <a:gd name="T21" fmla="*/ 474 h 512"/>
                <a:gd name="T22" fmla="*/ 568 w 568"/>
                <a:gd name="T23" fmla="*/ 487 h 512"/>
                <a:gd name="T24" fmla="*/ 565 w 568"/>
                <a:gd name="T25" fmla="*/ 500 h 512"/>
                <a:gd name="T26" fmla="*/ 559 w 568"/>
                <a:gd name="T27" fmla="*/ 507 h 512"/>
                <a:gd name="T28" fmla="*/ 550 w 568"/>
                <a:gd name="T29" fmla="*/ 512 h 512"/>
                <a:gd name="T30" fmla="*/ 537 w 568"/>
                <a:gd name="T31" fmla="*/ 512 h 512"/>
                <a:gd name="T32" fmla="*/ 523 w 568"/>
                <a:gd name="T33" fmla="*/ 509 h 512"/>
                <a:gd name="T34" fmla="*/ 507 w 568"/>
                <a:gd name="T35" fmla="*/ 503 h 512"/>
                <a:gd name="T36" fmla="*/ 491 w 568"/>
                <a:gd name="T37" fmla="*/ 493 h 512"/>
                <a:gd name="T38" fmla="*/ 474 w 568"/>
                <a:gd name="T39" fmla="*/ 480 h 512"/>
                <a:gd name="T40" fmla="*/ 54 w 568"/>
                <a:gd name="T41" fmla="*/ 119 h 512"/>
                <a:gd name="T42" fmla="*/ 48 w 568"/>
                <a:gd name="T43" fmla="*/ 112 h 512"/>
                <a:gd name="T44" fmla="*/ 42 w 568"/>
                <a:gd name="T45" fmla="*/ 107 h 512"/>
                <a:gd name="T46" fmla="*/ 28 w 568"/>
                <a:gd name="T47" fmla="*/ 90 h 512"/>
                <a:gd name="T48" fmla="*/ 15 w 568"/>
                <a:gd name="T49" fmla="*/ 73 h 512"/>
                <a:gd name="T50" fmla="*/ 7 w 568"/>
                <a:gd name="T51" fmla="*/ 56 h 512"/>
                <a:gd name="T52" fmla="*/ 1 w 568"/>
                <a:gd name="T53" fmla="*/ 41 h 512"/>
                <a:gd name="T54" fmla="*/ 0 w 568"/>
                <a:gd name="T55" fmla="*/ 26 h 512"/>
                <a:gd name="T56" fmla="*/ 2 w 568"/>
                <a:gd name="T57" fmla="*/ 14 h 512"/>
                <a:gd name="T58" fmla="*/ 9 w 568"/>
                <a:gd name="T59" fmla="*/ 6 h 512"/>
                <a:gd name="T60" fmla="*/ 18 w 568"/>
                <a:gd name="T61" fmla="*/ 2 h 512"/>
                <a:gd name="T62" fmla="*/ 31 w 568"/>
                <a:gd name="T63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68" h="512">
                  <a:moveTo>
                    <a:pt x="31" y="0"/>
                  </a:moveTo>
                  <a:lnTo>
                    <a:pt x="44" y="4"/>
                  </a:lnTo>
                  <a:lnTo>
                    <a:pt x="61" y="11"/>
                  </a:lnTo>
                  <a:lnTo>
                    <a:pt x="77" y="20"/>
                  </a:lnTo>
                  <a:lnTo>
                    <a:pt x="94" y="33"/>
                  </a:lnTo>
                  <a:lnTo>
                    <a:pt x="513" y="395"/>
                  </a:lnTo>
                  <a:lnTo>
                    <a:pt x="529" y="410"/>
                  </a:lnTo>
                  <a:lnTo>
                    <a:pt x="543" y="427"/>
                  </a:lnTo>
                  <a:lnTo>
                    <a:pt x="554" y="443"/>
                  </a:lnTo>
                  <a:lnTo>
                    <a:pt x="562" y="459"/>
                  </a:lnTo>
                  <a:lnTo>
                    <a:pt x="567" y="474"/>
                  </a:lnTo>
                  <a:lnTo>
                    <a:pt x="568" y="487"/>
                  </a:lnTo>
                  <a:lnTo>
                    <a:pt x="565" y="500"/>
                  </a:lnTo>
                  <a:lnTo>
                    <a:pt x="559" y="507"/>
                  </a:lnTo>
                  <a:lnTo>
                    <a:pt x="550" y="512"/>
                  </a:lnTo>
                  <a:lnTo>
                    <a:pt x="537" y="512"/>
                  </a:lnTo>
                  <a:lnTo>
                    <a:pt x="523" y="509"/>
                  </a:lnTo>
                  <a:lnTo>
                    <a:pt x="507" y="503"/>
                  </a:lnTo>
                  <a:lnTo>
                    <a:pt x="491" y="493"/>
                  </a:lnTo>
                  <a:lnTo>
                    <a:pt x="474" y="480"/>
                  </a:lnTo>
                  <a:lnTo>
                    <a:pt x="54" y="119"/>
                  </a:lnTo>
                  <a:lnTo>
                    <a:pt x="48" y="112"/>
                  </a:lnTo>
                  <a:lnTo>
                    <a:pt x="42" y="107"/>
                  </a:lnTo>
                  <a:lnTo>
                    <a:pt x="28" y="90"/>
                  </a:lnTo>
                  <a:lnTo>
                    <a:pt x="15" y="73"/>
                  </a:lnTo>
                  <a:lnTo>
                    <a:pt x="7" y="56"/>
                  </a:lnTo>
                  <a:lnTo>
                    <a:pt x="1" y="41"/>
                  </a:lnTo>
                  <a:lnTo>
                    <a:pt x="0" y="26"/>
                  </a:lnTo>
                  <a:lnTo>
                    <a:pt x="2" y="14"/>
                  </a:lnTo>
                  <a:lnTo>
                    <a:pt x="9" y="6"/>
                  </a:lnTo>
                  <a:lnTo>
                    <a:pt x="18" y="2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68" name="Freeform 587">
              <a:extLst>
                <a:ext uri="{FF2B5EF4-FFF2-40B4-BE49-F238E27FC236}">
                  <a16:creationId xmlns:a16="http://schemas.microsoft.com/office/drawing/2014/main" id="{F75937CC-C6CE-DAF7-5175-C2B821204A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7925" y="5484813"/>
              <a:ext cx="158750" cy="182563"/>
            </a:xfrm>
            <a:custGeom>
              <a:avLst/>
              <a:gdLst>
                <a:gd name="T0" fmla="*/ 25 w 504"/>
                <a:gd name="T1" fmla="*/ 0 h 576"/>
                <a:gd name="T2" fmla="*/ 40 w 504"/>
                <a:gd name="T3" fmla="*/ 2 h 576"/>
                <a:gd name="T4" fmla="*/ 54 w 504"/>
                <a:gd name="T5" fmla="*/ 8 h 576"/>
                <a:gd name="T6" fmla="*/ 71 w 504"/>
                <a:gd name="T7" fmla="*/ 16 h 576"/>
                <a:gd name="T8" fmla="*/ 87 w 504"/>
                <a:gd name="T9" fmla="*/ 27 h 576"/>
                <a:gd name="T10" fmla="*/ 103 w 504"/>
                <a:gd name="T11" fmla="*/ 40 h 576"/>
                <a:gd name="T12" fmla="*/ 118 w 504"/>
                <a:gd name="T13" fmla="*/ 57 h 576"/>
                <a:gd name="T14" fmla="*/ 473 w 504"/>
                <a:gd name="T15" fmla="*/ 481 h 576"/>
                <a:gd name="T16" fmla="*/ 485 w 504"/>
                <a:gd name="T17" fmla="*/ 499 h 576"/>
                <a:gd name="T18" fmla="*/ 495 w 504"/>
                <a:gd name="T19" fmla="*/ 515 h 576"/>
                <a:gd name="T20" fmla="*/ 502 w 504"/>
                <a:gd name="T21" fmla="*/ 530 h 576"/>
                <a:gd name="T22" fmla="*/ 504 w 504"/>
                <a:gd name="T23" fmla="*/ 545 h 576"/>
                <a:gd name="T24" fmla="*/ 503 w 504"/>
                <a:gd name="T25" fmla="*/ 557 h 576"/>
                <a:gd name="T26" fmla="*/ 499 w 504"/>
                <a:gd name="T27" fmla="*/ 566 h 576"/>
                <a:gd name="T28" fmla="*/ 490 w 504"/>
                <a:gd name="T29" fmla="*/ 573 h 576"/>
                <a:gd name="T30" fmla="*/ 478 w 504"/>
                <a:gd name="T31" fmla="*/ 576 h 576"/>
                <a:gd name="T32" fmla="*/ 464 w 504"/>
                <a:gd name="T33" fmla="*/ 574 h 576"/>
                <a:gd name="T34" fmla="*/ 448 w 504"/>
                <a:gd name="T35" fmla="*/ 567 h 576"/>
                <a:gd name="T36" fmla="*/ 431 w 504"/>
                <a:gd name="T37" fmla="*/ 558 h 576"/>
                <a:gd name="T38" fmla="*/ 414 w 504"/>
                <a:gd name="T39" fmla="*/ 546 h 576"/>
                <a:gd name="T40" fmla="*/ 397 w 504"/>
                <a:gd name="T41" fmla="*/ 531 h 576"/>
                <a:gd name="T42" fmla="*/ 392 w 504"/>
                <a:gd name="T43" fmla="*/ 525 h 576"/>
                <a:gd name="T44" fmla="*/ 386 w 504"/>
                <a:gd name="T45" fmla="*/ 519 h 576"/>
                <a:gd name="T46" fmla="*/ 31 w 504"/>
                <a:gd name="T47" fmla="*/ 94 h 576"/>
                <a:gd name="T48" fmla="*/ 19 w 504"/>
                <a:gd name="T49" fmla="*/ 77 h 576"/>
                <a:gd name="T50" fmla="*/ 10 w 504"/>
                <a:gd name="T51" fmla="*/ 60 h 576"/>
                <a:gd name="T52" fmla="*/ 3 w 504"/>
                <a:gd name="T53" fmla="*/ 45 h 576"/>
                <a:gd name="T54" fmla="*/ 0 w 504"/>
                <a:gd name="T55" fmla="*/ 30 h 576"/>
                <a:gd name="T56" fmla="*/ 1 w 504"/>
                <a:gd name="T57" fmla="*/ 19 h 576"/>
                <a:gd name="T58" fmla="*/ 6 w 504"/>
                <a:gd name="T59" fmla="*/ 9 h 576"/>
                <a:gd name="T60" fmla="*/ 14 w 504"/>
                <a:gd name="T61" fmla="*/ 2 h 576"/>
                <a:gd name="T62" fmla="*/ 25 w 504"/>
                <a:gd name="T6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04" h="576">
                  <a:moveTo>
                    <a:pt x="25" y="0"/>
                  </a:moveTo>
                  <a:lnTo>
                    <a:pt x="40" y="2"/>
                  </a:lnTo>
                  <a:lnTo>
                    <a:pt x="54" y="8"/>
                  </a:lnTo>
                  <a:lnTo>
                    <a:pt x="71" y="16"/>
                  </a:lnTo>
                  <a:lnTo>
                    <a:pt x="87" y="27"/>
                  </a:lnTo>
                  <a:lnTo>
                    <a:pt x="103" y="40"/>
                  </a:lnTo>
                  <a:lnTo>
                    <a:pt x="118" y="57"/>
                  </a:lnTo>
                  <a:lnTo>
                    <a:pt x="473" y="481"/>
                  </a:lnTo>
                  <a:lnTo>
                    <a:pt x="485" y="499"/>
                  </a:lnTo>
                  <a:lnTo>
                    <a:pt x="495" y="515"/>
                  </a:lnTo>
                  <a:lnTo>
                    <a:pt x="502" y="530"/>
                  </a:lnTo>
                  <a:lnTo>
                    <a:pt x="504" y="545"/>
                  </a:lnTo>
                  <a:lnTo>
                    <a:pt x="503" y="557"/>
                  </a:lnTo>
                  <a:lnTo>
                    <a:pt x="499" y="566"/>
                  </a:lnTo>
                  <a:lnTo>
                    <a:pt x="490" y="573"/>
                  </a:lnTo>
                  <a:lnTo>
                    <a:pt x="478" y="576"/>
                  </a:lnTo>
                  <a:lnTo>
                    <a:pt x="464" y="574"/>
                  </a:lnTo>
                  <a:lnTo>
                    <a:pt x="448" y="567"/>
                  </a:lnTo>
                  <a:lnTo>
                    <a:pt x="431" y="558"/>
                  </a:lnTo>
                  <a:lnTo>
                    <a:pt x="414" y="546"/>
                  </a:lnTo>
                  <a:lnTo>
                    <a:pt x="397" y="531"/>
                  </a:lnTo>
                  <a:lnTo>
                    <a:pt x="392" y="525"/>
                  </a:lnTo>
                  <a:lnTo>
                    <a:pt x="386" y="519"/>
                  </a:lnTo>
                  <a:lnTo>
                    <a:pt x="31" y="94"/>
                  </a:lnTo>
                  <a:lnTo>
                    <a:pt x="19" y="77"/>
                  </a:lnTo>
                  <a:lnTo>
                    <a:pt x="10" y="60"/>
                  </a:lnTo>
                  <a:lnTo>
                    <a:pt x="3" y="45"/>
                  </a:lnTo>
                  <a:lnTo>
                    <a:pt x="0" y="30"/>
                  </a:lnTo>
                  <a:lnTo>
                    <a:pt x="1" y="19"/>
                  </a:lnTo>
                  <a:lnTo>
                    <a:pt x="6" y="9"/>
                  </a:lnTo>
                  <a:lnTo>
                    <a:pt x="14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69" name="Freeform 588">
              <a:extLst>
                <a:ext uri="{FF2B5EF4-FFF2-40B4-BE49-F238E27FC236}">
                  <a16:creationId xmlns:a16="http://schemas.microsoft.com/office/drawing/2014/main" id="{BBEF15BD-C32D-380E-155A-5CA6CF050D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1750" y="5472113"/>
              <a:ext cx="127000" cy="185738"/>
            </a:xfrm>
            <a:custGeom>
              <a:avLst/>
              <a:gdLst>
                <a:gd name="T0" fmla="*/ 32 w 397"/>
                <a:gd name="T1" fmla="*/ 0 h 587"/>
                <a:gd name="T2" fmla="*/ 51 w 397"/>
                <a:gd name="T3" fmla="*/ 5 h 587"/>
                <a:gd name="T4" fmla="*/ 69 w 397"/>
                <a:gd name="T5" fmla="*/ 15 h 587"/>
                <a:gd name="T6" fmla="*/ 88 w 397"/>
                <a:gd name="T7" fmla="*/ 28 h 587"/>
                <a:gd name="T8" fmla="*/ 107 w 397"/>
                <a:gd name="T9" fmla="*/ 44 h 587"/>
                <a:gd name="T10" fmla="*/ 123 w 397"/>
                <a:gd name="T11" fmla="*/ 63 h 587"/>
                <a:gd name="T12" fmla="*/ 137 w 397"/>
                <a:gd name="T13" fmla="*/ 82 h 587"/>
                <a:gd name="T14" fmla="*/ 384 w 397"/>
                <a:gd name="T15" fmla="*/ 519 h 587"/>
                <a:gd name="T16" fmla="*/ 392 w 397"/>
                <a:gd name="T17" fmla="*/ 535 h 587"/>
                <a:gd name="T18" fmla="*/ 396 w 397"/>
                <a:gd name="T19" fmla="*/ 551 h 587"/>
                <a:gd name="T20" fmla="*/ 397 w 397"/>
                <a:gd name="T21" fmla="*/ 564 h 587"/>
                <a:gd name="T22" fmla="*/ 394 w 397"/>
                <a:gd name="T23" fmla="*/ 574 h 587"/>
                <a:gd name="T24" fmla="*/ 388 w 397"/>
                <a:gd name="T25" fmla="*/ 582 h 587"/>
                <a:gd name="T26" fmla="*/ 377 w 397"/>
                <a:gd name="T27" fmla="*/ 586 h 587"/>
                <a:gd name="T28" fmla="*/ 365 w 397"/>
                <a:gd name="T29" fmla="*/ 587 h 587"/>
                <a:gd name="T30" fmla="*/ 346 w 397"/>
                <a:gd name="T31" fmla="*/ 582 h 587"/>
                <a:gd name="T32" fmla="*/ 328 w 397"/>
                <a:gd name="T33" fmla="*/ 572 h 587"/>
                <a:gd name="T34" fmla="*/ 308 w 397"/>
                <a:gd name="T35" fmla="*/ 559 h 587"/>
                <a:gd name="T36" fmla="*/ 291 w 397"/>
                <a:gd name="T37" fmla="*/ 543 h 587"/>
                <a:gd name="T38" fmla="*/ 274 w 397"/>
                <a:gd name="T39" fmla="*/ 524 h 587"/>
                <a:gd name="T40" fmla="*/ 261 w 397"/>
                <a:gd name="T41" fmla="*/ 505 h 587"/>
                <a:gd name="T42" fmla="*/ 14 w 397"/>
                <a:gd name="T43" fmla="*/ 68 h 587"/>
                <a:gd name="T44" fmla="*/ 5 w 397"/>
                <a:gd name="T45" fmla="*/ 52 h 587"/>
                <a:gd name="T46" fmla="*/ 1 w 397"/>
                <a:gd name="T47" fmla="*/ 36 h 587"/>
                <a:gd name="T48" fmla="*/ 0 w 397"/>
                <a:gd name="T49" fmla="*/ 23 h 587"/>
                <a:gd name="T50" fmla="*/ 3 w 397"/>
                <a:gd name="T51" fmla="*/ 13 h 587"/>
                <a:gd name="T52" fmla="*/ 10 w 397"/>
                <a:gd name="T53" fmla="*/ 5 h 587"/>
                <a:gd name="T54" fmla="*/ 20 w 397"/>
                <a:gd name="T55" fmla="*/ 1 h 587"/>
                <a:gd name="T56" fmla="*/ 32 w 397"/>
                <a:gd name="T57" fmla="*/ 0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97" h="587">
                  <a:moveTo>
                    <a:pt x="32" y="0"/>
                  </a:moveTo>
                  <a:lnTo>
                    <a:pt x="51" y="5"/>
                  </a:lnTo>
                  <a:lnTo>
                    <a:pt x="69" y="15"/>
                  </a:lnTo>
                  <a:lnTo>
                    <a:pt x="88" y="28"/>
                  </a:lnTo>
                  <a:lnTo>
                    <a:pt x="107" y="44"/>
                  </a:lnTo>
                  <a:lnTo>
                    <a:pt x="123" y="63"/>
                  </a:lnTo>
                  <a:lnTo>
                    <a:pt x="137" y="82"/>
                  </a:lnTo>
                  <a:lnTo>
                    <a:pt x="384" y="519"/>
                  </a:lnTo>
                  <a:lnTo>
                    <a:pt x="392" y="535"/>
                  </a:lnTo>
                  <a:lnTo>
                    <a:pt x="396" y="551"/>
                  </a:lnTo>
                  <a:lnTo>
                    <a:pt x="397" y="564"/>
                  </a:lnTo>
                  <a:lnTo>
                    <a:pt x="394" y="574"/>
                  </a:lnTo>
                  <a:lnTo>
                    <a:pt x="388" y="582"/>
                  </a:lnTo>
                  <a:lnTo>
                    <a:pt x="377" y="586"/>
                  </a:lnTo>
                  <a:lnTo>
                    <a:pt x="365" y="587"/>
                  </a:lnTo>
                  <a:lnTo>
                    <a:pt x="346" y="582"/>
                  </a:lnTo>
                  <a:lnTo>
                    <a:pt x="328" y="572"/>
                  </a:lnTo>
                  <a:lnTo>
                    <a:pt x="308" y="559"/>
                  </a:lnTo>
                  <a:lnTo>
                    <a:pt x="291" y="543"/>
                  </a:lnTo>
                  <a:lnTo>
                    <a:pt x="274" y="524"/>
                  </a:lnTo>
                  <a:lnTo>
                    <a:pt x="261" y="505"/>
                  </a:lnTo>
                  <a:lnTo>
                    <a:pt x="14" y="68"/>
                  </a:lnTo>
                  <a:lnTo>
                    <a:pt x="5" y="52"/>
                  </a:lnTo>
                  <a:lnTo>
                    <a:pt x="1" y="36"/>
                  </a:lnTo>
                  <a:lnTo>
                    <a:pt x="0" y="23"/>
                  </a:lnTo>
                  <a:lnTo>
                    <a:pt x="3" y="13"/>
                  </a:lnTo>
                  <a:lnTo>
                    <a:pt x="10" y="5"/>
                  </a:lnTo>
                  <a:lnTo>
                    <a:pt x="20" y="1"/>
                  </a:lnTo>
                  <a:lnTo>
                    <a:pt x="3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70" name="Freeform 589">
              <a:extLst>
                <a:ext uri="{FF2B5EF4-FFF2-40B4-BE49-F238E27FC236}">
                  <a16:creationId xmlns:a16="http://schemas.microsoft.com/office/drawing/2014/main" id="{116DEB88-6A10-16CC-B16E-3B09D0BA1F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2088" y="5518151"/>
              <a:ext cx="57150" cy="80963"/>
            </a:xfrm>
            <a:custGeom>
              <a:avLst/>
              <a:gdLst>
                <a:gd name="T0" fmla="*/ 26 w 183"/>
                <a:gd name="T1" fmla="*/ 0 h 254"/>
                <a:gd name="T2" fmla="*/ 41 w 183"/>
                <a:gd name="T3" fmla="*/ 2 h 254"/>
                <a:gd name="T4" fmla="*/ 56 w 183"/>
                <a:gd name="T5" fmla="*/ 8 h 254"/>
                <a:gd name="T6" fmla="*/ 76 w 183"/>
                <a:gd name="T7" fmla="*/ 19 h 254"/>
                <a:gd name="T8" fmla="*/ 95 w 183"/>
                <a:gd name="T9" fmla="*/ 34 h 254"/>
                <a:gd name="T10" fmla="*/ 113 w 183"/>
                <a:gd name="T11" fmla="*/ 51 h 254"/>
                <a:gd name="T12" fmla="*/ 128 w 183"/>
                <a:gd name="T13" fmla="*/ 69 h 254"/>
                <a:gd name="T14" fmla="*/ 140 w 183"/>
                <a:gd name="T15" fmla="*/ 89 h 254"/>
                <a:gd name="T16" fmla="*/ 147 w 183"/>
                <a:gd name="T17" fmla="*/ 108 h 254"/>
                <a:gd name="T18" fmla="*/ 183 w 183"/>
                <a:gd name="T19" fmla="*/ 240 h 254"/>
                <a:gd name="T20" fmla="*/ 165 w 183"/>
                <a:gd name="T21" fmla="*/ 236 h 254"/>
                <a:gd name="T22" fmla="*/ 145 w 183"/>
                <a:gd name="T23" fmla="*/ 235 h 254"/>
                <a:gd name="T24" fmla="*/ 116 w 183"/>
                <a:gd name="T25" fmla="*/ 237 h 254"/>
                <a:gd name="T26" fmla="*/ 88 w 183"/>
                <a:gd name="T27" fmla="*/ 244 h 254"/>
                <a:gd name="T28" fmla="*/ 61 w 183"/>
                <a:gd name="T29" fmla="*/ 254 h 254"/>
                <a:gd name="T30" fmla="*/ 2 w 183"/>
                <a:gd name="T31" fmla="*/ 43 h 254"/>
                <a:gd name="T32" fmla="*/ 0 w 183"/>
                <a:gd name="T33" fmla="*/ 29 h 254"/>
                <a:gd name="T34" fmla="*/ 2 w 183"/>
                <a:gd name="T35" fmla="*/ 17 h 254"/>
                <a:gd name="T36" fmla="*/ 7 w 183"/>
                <a:gd name="T37" fmla="*/ 8 h 254"/>
                <a:gd name="T38" fmla="*/ 15 w 183"/>
                <a:gd name="T39" fmla="*/ 2 h 254"/>
                <a:gd name="T40" fmla="*/ 26 w 183"/>
                <a:gd name="T41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3" h="254">
                  <a:moveTo>
                    <a:pt x="26" y="0"/>
                  </a:moveTo>
                  <a:lnTo>
                    <a:pt x="41" y="2"/>
                  </a:lnTo>
                  <a:lnTo>
                    <a:pt x="56" y="8"/>
                  </a:lnTo>
                  <a:lnTo>
                    <a:pt x="76" y="19"/>
                  </a:lnTo>
                  <a:lnTo>
                    <a:pt x="95" y="34"/>
                  </a:lnTo>
                  <a:lnTo>
                    <a:pt x="113" y="51"/>
                  </a:lnTo>
                  <a:lnTo>
                    <a:pt x="128" y="69"/>
                  </a:lnTo>
                  <a:lnTo>
                    <a:pt x="140" y="89"/>
                  </a:lnTo>
                  <a:lnTo>
                    <a:pt x="147" y="108"/>
                  </a:lnTo>
                  <a:lnTo>
                    <a:pt x="183" y="240"/>
                  </a:lnTo>
                  <a:lnTo>
                    <a:pt x="165" y="236"/>
                  </a:lnTo>
                  <a:lnTo>
                    <a:pt x="145" y="235"/>
                  </a:lnTo>
                  <a:lnTo>
                    <a:pt x="116" y="237"/>
                  </a:lnTo>
                  <a:lnTo>
                    <a:pt x="88" y="244"/>
                  </a:lnTo>
                  <a:lnTo>
                    <a:pt x="61" y="254"/>
                  </a:lnTo>
                  <a:lnTo>
                    <a:pt x="2" y="43"/>
                  </a:lnTo>
                  <a:lnTo>
                    <a:pt x="0" y="29"/>
                  </a:lnTo>
                  <a:lnTo>
                    <a:pt x="2" y="17"/>
                  </a:lnTo>
                  <a:lnTo>
                    <a:pt x="7" y="8"/>
                  </a:lnTo>
                  <a:lnTo>
                    <a:pt x="15" y="2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71" name="Freeform 590">
              <a:extLst>
                <a:ext uri="{FF2B5EF4-FFF2-40B4-BE49-F238E27FC236}">
                  <a16:creationId xmlns:a16="http://schemas.microsoft.com/office/drawing/2014/main" id="{22548963-B0DA-519D-30A7-9E3244B85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4013" y="5621338"/>
              <a:ext cx="60325" cy="144463"/>
            </a:xfrm>
            <a:custGeom>
              <a:avLst/>
              <a:gdLst>
                <a:gd name="T0" fmla="*/ 61 w 189"/>
                <a:gd name="T1" fmla="*/ 0 h 453"/>
                <a:gd name="T2" fmla="*/ 73 w 189"/>
                <a:gd name="T3" fmla="*/ 0 h 453"/>
                <a:gd name="T4" fmla="*/ 89 w 189"/>
                <a:gd name="T5" fmla="*/ 4 h 453"/>
                <a:gd name="T6" fmla="*/ 104 w 189"/>
                <a:gd name="T7" fmla="*/ 11 h 453"/>
                <a:gd name="T8" fmla="*/ 122 w 189"/>
                <a:gd name="T9" fmla="*/ 21 h 453"/>
                <a:gd name="T10" fmla="*/ 138 w 189"/>
                <a:gd name="T11" fmla="*/ 36 h 453"/>
                <a:gd name="T12" fmla="*/ 154 w 189"/>
                <a:gd name="T13" fmla="*/ 51 h 453"/>
                <a:gd name="T14" fmla="*/ 166 w 189"/>
                <a:gd name="T15" fmla="*/ 67 h 453"/>
                <a:gd name="T16" fmla="*/ 177 w 189"/>
                <a:gd name="T17" fmla="*/ 83 h 453"/>
                <a:gd name="T18" fmla="*/ 185 w 189"/>
                <a:gd name="T19" fmla="*/ 99 h 453"/>
                <a:gd name="T20" fmla="*/ 188 w 189"/>
                <a:gd name="T21" fmla="*/ 115 h 453"/>
                <a:gd name="T22" fmla="*/ 189 w 189"/>
                <a:gd name="T23" fmla="*/ 128 h 453"/>
                <a:gd name="T24" fmla="*/ 149 w 189"/>
                <a:gd name="T25" fmla="*/ 429 h 453"/>
                <a:gd name="T26" fmla="*/ 126 w 189"/>
                <a:gd name="T27" fmla="*/ 440 h 453"/>
                <a:gd name="T28" fmla="*/ 104 w 189"/>
                <a:gd name="T29" fmla="*/ 453 h 453"/>
                <a:gd name="T30" fmla="*/ 87 w 189"/>
                <a:gd name="T31" fmla="*/ 446 h 453"/>
                <a:gd name="T32" fmla="*/ 67 w 189"/>
                <a:gd name="T33" fmla="*/ 434 h 453"/>
                <a:gd name="T34" fmla="*/ 42 w 189"/>
                <a:gd name="T35" fmla="*/ 413 h 453"/>
                <a:gd name="T36" fmla="*/ 27 w 189"/>
                <a:gd name="T37" fmla="*/ 395 h 453"/>
                <a:gd name="T38" fmla="*/ 14 w 189"/>
                <a:gd name="T39" fmla="*/ 377 h 453"/>
                <a:gd name="T40" fmla="*/ 5 w 189"/>
                <a:gd name="T41" fmla="*/ 359 h 453"/>
                <a:gd name="T42" fmla="*/ 0 w 189"/>
                <a:gd name="T43" fmla="*/ 343 h 453"/>
                <a:gd name="T44" fmla="*/ 0 w 189"/>
                <a:gd name="T45" fmla="*/ 327 h 453"/>
                <a:gd name="T46" fmla="*/ 40 w 189"/>
                <a:gd name="T47" fmla="*/ 20 h 453"/>
                <a:gd name="T48" fmla="*/ 44 w 189"/>
                <a:gd name="T49" fmla="*/ 10 h 453"/>
                <a:gd name="T50" fmla="*/ 51 w 189"/>
                <a:gd name="T51" fmla="*/ 3 h 453"/>
                <a:gd name="T52" fmla="*/ 61 w 189"/>
                <a:gd name="T53" fmla="*/ 0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89" h="453">
                  <a:moveTo>
                    <a:pt x="61" y="0"/>
                  </a:moveTo>
                  <a:lnTo>
                    <a:pt x="73" y="0"/>
                  </a:lnTo>
                  <a:lnTo>
                    <a:pt x="89" y="4"/>
                  </a:lnTo>
                  <a:lnTo>
                    <a:pt x="104" y="11"/>
                  </a:lnTo>
                  <a:lnTo>
                    <a:pt x="122" y="21"/>
                  </a:lnTo>
                  <a:lnTo>
                    <a:pt x="138" y="36"/>
                  </a:lnTo>
                  <a:lnTo>
                    <a:pt x="154" y="51"/>
                  </a:lnTo>
                  <a:lnTo>
                    <a:pt x="166" y="67"/>
                  </a:lnTo>
                  <a:lnTo>
                    <a:pt x="177" y="83"/>
                  </a:lnTo>
                  <a:lnTo>
                    <a:pt x="185" y="99"/>
                  </a:lnTo>
                  <a:lnTo>
                    <a:pt x="188" y="115"/>
                  </a:lnTo>
                  <a:lnTo>
                    <a:pt x="189" y="128"/>
                  </a:lnTo>
                  <a:lnTo>
                    <a:pt x="149" y="429"/>
                  </a:lnTo>
                  <a:lnTo>
                    <a:pt x="126" y="440"/>
                  </a:lnTo>
                  <a:lnTo>
                    <a:pt x="104" y="453"/>
                  </a:lnTo>
                  <a:lnTo>
                    <a:pt x="87" y="446"/>
                  </a:lnTo>
                  <a:lnTo>
                    <a:pt x="67" y="434"/>
                  </a:lnTo>
                  <a:lnTo>
                    <a:pt x="42" y="413"/>
                  </a:lnTo>
                  <a:lnTo>
                    <a:pt x="27" y="395"/>
                  </a:lnTo>
                  <a:lnTo>
                    <a:pt x="14" y="377"/>
                  </a:lnTo>
                  <a:lnTo>
                    <a:pt x="5" y="359"/>
                  </a:lnTo>
                  <a:lnTo>
                    <a:pt x="0" y="343"/>
                  </a:lnTo>
                  <a:lnTo>
                    <a:pt x="0" y="327"/>
                  </a:lnTo>
                  <a:lnTo>
                    <a:pt x="40" y="20"/>
                  </a:lnTo>
                  <a:lnTo>
                    <a:pt x="44" y="10"/>
                  </a:lnTo>
                  <a:lnTo>
                    <a:pt x="51" y="3"/>
                  </a:lnTo>
                  <a:lnTo>
                    <a:pt x="6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51772E14-FD6F-60C5-BBC5-916E353A6D6C}"/>
              </a:ext>
            </a:extLst>
          </p:cNvPr>
          <p:cNvGrpSpPr/>
          <p:nvPr/>
        </p:nvGrpSpPr>
        <p:grpSpPr>
          <a:xfrm>
            <a:off x="4831287" y="2760484"/>
            <a:ext cx="772829" cy="551191"/>
            <a:chOff x="7286625" y="4713288"/>
            <a:chExt cx="1057275" cy="754062"/>
          </a:xfrm>
          <a:solidFill>
            <a:schemeClr val="bg1"/>
          </a:solidFill>
        </p:grpSpPr>
        <p:sp>
          <p:nvSpPr>
            <p:cNvPr id="95" name="Freeform 239">
              <a:extLst>
                <a:ext uri="{FF2B5EF4-FFF2-40B4-BE49-F238E27FC236}">
                  <a16:creationId xmlns:a16="http://schemas.microsoft.com/office/drawing/2014/main" id="{CAC30B21-7B4E-9C7A-864A-D4BD07E8A6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40600" y="4713288"/>
              <a:ext cx="947738" cy="581025"/>
            </a:xfrm>
            <a:custGeom>
              <a:avLst/>
              <a:gdLst>
                <a:gd name="T0" fmla="*/ 128 w 2986"/>
                <a:gd name="T1" fmla="*/ 128 h 1832"/>
                <a:gd name="T2" fmla="*/ 128 w 2986"/>
                <a:gd name="T3" fmla="*/ 1704 h 1832"/>
                <a:gd name="T4" fmla="*/ 2859 w 2986"/>
                <a:gd name="T5" fmla="*/ 1704 h 1832"/>
                <a:gd name="T6" fmla="*/ 2859 w 2986"/>
                <a:gd name="T7" fmla="*/ 128 h 1832"/>
                <a:gd name="T8" fmla="*/ 128 w 2986"/>
                <a:gd name="T9" fmla="*/ 128 h 1832"/>
                <a:gd name="T10" fmla="*/ 128 w 2986"/>
                <a:gd name="T11" fmla="*/ 0 h 1832"/>
                <a:gd name="T12" fmla="*/ 2859 w 2986"/>
                <a:gd name="T13" fmla="*/ 0 h 1832"/>
                <a:gd name="T14" fmla="*/ 2885 w 2986"/>
                <a:gd name="T15" fmla="*/ 3 h 1832"/>
                <a:gd name="T16" fmla="*/ 2909 w 2986"/>
                <a:gd name="T17" fmla="*/ 10 h 1832"/>
                <a:gd name="T18" fmla="*/ 2930 w 2986"/>
                <a:gd name="T19" fmla="*/ 22 h 1832"/>
                <a:gd name="T20" fmla="*/ 2950 w 2986"/>
                <a:gd name="T21" fmla="*/ 38 h 1832"/>
                <a:gd name="T22" fmla="*/ 2965 w 2986"/>
                <a:gd name="T23" fmla="*/ 57 h 1832"/>
                <a:gd name="T24" fmla="*/ 2977 w 2986"/>
                <a:gd name="T25" fmla="*/ 78 h 1832"/>
                <a:gd name="T26" fmla="*/ 2984 w 2986"/>
                <a:gd name="T27" fmla="*/ 102 h 1832"/>
                <a:gd name="T28" fmla="*/ 2986 w 2986"/>
                <a:gd name="T29" fmla="*/ 128 h 1832"/>
                <a:gd name="T30" fmla="*/ 2986 w 2986"/>
                <a:gd name="T31" fmla="*/ 1704 h 1832"/>
                <a:gd name="T32" fmla="*/ 2984 w 2986"/>
                <a:gd name="T33" fmla="*/ 1730 h 1832"/>
                <a:gd name="T34" fmla="*/ 2977 w 2986"/>
                <a:gd name="T35" fmla="*/ 1754 h 1832"/>
                <a:gd name="T36" fmla="*/ 2965 w 2986"/>
                <a:gd name="T37" fmla="*/ 1776 h 1832"/>
                <a:gd name="T38" fmla="*/ 2950 w 2986"/>
                <a:gd name="T39" fmla="*/ 1794 h 1832"/>
                <a:gd name="T40" fmla="*/ 2930 w 2986"/>
                <a:gd name="T41" fmla="*/ 1811 h 1832"/>
                <a:gd name="T42" fmla="*/ 2909 w 2986"/>
                <a:gd name="T43" fmla="*/ 1822 h 1832"/>
                <a:gd name="T44" fmla="*/ 2885 w 2986"/>
                <a:gd name="T45" fmla="*/ 1830 h 1832"/>
                <a:gd name="T46" fmla="*/ 2859 w 2986"/>
                <a:gd name="T47" fmla="*/ 1832 h 1832"/>
                <a:gd name="T48" fmla="*/ 128 w 2986"/>
                <a:gd name="T49" fmla="*/ 1832 h 1832"/>
                <a:gd name="T50" fmla="*/ 103 w 2986"/>
                <a:gd name="T51" fmla="*/ 1830 h 1832"/>
                <a:gd name="T52" fmla="*/ 78 w 2986"/>
                <a:gd name="T53" fmla="*/ 1822 h 1832"/>
                <a:gd name="T54" fmla="*/ 57 w 2986"/>
                <a:gd name="T55" fmla="*/ 1811 h 1832"/>
                <a:gd name="T56" fmla="*/ 38 w 2986"/>
                <a:gd name="T57" fmla="*/ 1794 h 1832"/>
                <a:gd name="T58" fmla="*/ 22 w 2986"/>
                <a:gd name="T59" fmla="*/ 1776 h 1832"/>
                <a:gd name="T60" fmla="*/ 10 w 2986"/>
                <a:gd name="T61" fmla="*/ 1754 h 1832"/>
                <a:gd name="T62" fmla="*/ 3 w 2986"/>
                <a:gd name="T63" fmla="*/ 1730 h 1832"/>
                <a:gd name="T64" fmla="*/ 0 w 2986"/>
                <a:gd name="T65" fmla="*/ 1704 h 1832"/>
                <a:gd name="T66" fmla="*/ 0 w 2986"/>
                <a:gd name="T67" fmla="*/ 128 h 1832"/>
                <a:gd name="T68" fmla="*/ 3 w 2986"/>
                <a:gd name="T69" fmla="*/ 102 h 1832"/>
                <a:gd name="T70" fmla="*/ 10 w 2986"/>
                <a:gd name="T71" fmla="*/ 78 h 1832"/>
                <a:gd name="T72" fmla="*/ 22 w 2986"/>
                <a:gd name="T73" fmla="*/ 57 h 1832"/>
                <a:gd name="T74" fmla="*/ 38 w 2986"/>
                <a:gd name="T75" fmla="*/ 38 h 1832"/>
                <a:gd name="T76" fmla="*/ 57 w 2986"/>
                <a:gd name="T77" fmla="*/ 22 h 1832"/>
                <a:gd name="T78" fmla="*/ 78 w 2986"/>
                <a:gd name="T79" fmla="*/ 10 h 1832"/>
                <a:gd name="T80" fmla="*/ 103 w 2986"/>
                <a:gd name="T81" fmla="*/ 3 h 1832"/>
                <a:gd name="T82" fmla="*/ 128 w 2986"/>
                <a:gd name="T83" fmla="*/ 0 h 1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986" h="1832">
                  <a:moveTo>
                    <a:pt x="128" y="128"/>
                  </a:moveTo>
                  <a:lnTo>
                    <a:pt x="128" y="1704"/>
                  </a:lnTo>
                  <a:lnTo>
                    <a:pt x="2859" y="1704"/>
                  </a:lnTo>
                  <a:lnTo>
                    <a:pt x="2859" y="128"/>
                  </a:lnTo>
                  <a:lnTo>
                    <a:pt x="128" y="128"/>
                  </a:lnTo>
                  <a:close/>
                  <a:moveTo>
                    <a:pt x="128" y="0"/>
                  </a:moveTo>
                  <a:lnTo>
                    <a:pt x="2859" y="0"/>
                  </a:lnTo>
                  <a:lnTo>
                    <a:pt x="2885" y="3"/>
                  </a:lnTo>
                  <a:lnTo>
                    <a:pt x="2909" y="10"/>
                  </a:lnTo>
                  <a:lnTo>
                    <a:pt x="2930" y="22"/>
                  </a:lnTo>
                  <a:lnTo>
                    <a:pt x="2950" y="38"/>
                  </a:lnTo>
                  <a:lnTo>
                    <a:pt x="2965" y="57"/>
                  </a:lnTo>
                  <a:lnTo>
                    <a:pt x="2977" y="78"/>
                  </a:lnTo>
                  <a:lnTo>
                    <a:pt x="2984" y="102"/>
                  </a:lnTo>
                  <a:lnTo>
                    <a:pt x="2986" y="128"/>
                  </a:lnTo>
                  <a:lnTo>
                    <a:pt x="2986" y="1704"/>
                  </a:lnTo>
                  <a:lnTo>
                    <a:pt x="2984" y="1730"/>
                  </a:lnTo>
                  <a:lnTo>
                    <a:pt x="2977" y="1754"/>
                  </a:lnTo>
                  <a:lnTo>
                    <a:pt x="2965" y="1776"/>
                  </a:lnTo>
                  <a:lnTo>
                    <a:pt x="2950" y="1794"/>
                  </a:lnTo>
                  <a:lnTo>
                    <a:pt x="2930" y="1811"/>
                  </a:lnTo>
                  <a:lnTo>
                    <a:pt x="2909" y="1822"/>
                  </a:lnTo>
                  <a:lnTo>
                    <a:pt x="2885" y="1830"/>
                  </a:lnTo>
                  <a:lnTo>
                    <a:pt x="2859" y="1832"/>
                  </a:lnTo>
                  <a:lnTo>
                    <a:pt x="128" y="1832"/>
                  </a:lnTo>
                  <a:lnTo>
                    <a:pt x="103" y="1830"/>
                  </a:lnTo>
                  <a:lnTo>
                    <a:pt x="78" y="1822"/>
                  </a:lnTo>
                  <a:lnTo>
                    <a:pt x="57" y="1811"/>
                  </a:lnTo>
                  <a:lnTo>
                    <a:pt x="38" y="1794"/>
                  </a:lnTo>
                  <a:lnTo>
                    <a:pt x="22" y="1776"/>
                  </a:lnTo>
                  <a:lnTo>
                    <a:pt x="10" y="1754"/>
                  </a:lnTo>
                  <a:lnTo>
                    <a:pt x="3" y="1730"/>
                  </a:lnTo>
                  <a:lnTo>
                    <a:pt x="0" y="1704"/>
                  </a:lnTo>
                  <a:lnTo>
                    <a:pt x="0" y="128"/>
                  </a:lnTo>
                  <a:lnTo>
                    <a:pt x="3" y="102"/>
                  </a:lnTo>
                  <a:lnTo>
                    <a:pt x="10" y="78"/>
                  </a:lnTo>
                  <a:lnTo>
                    <a:pt x="22" y="57"/>
                  </a:lnTo>
                  <a:lnTo>
                    <a:pt x="38" y="38"/>
                  </a:lnTo>
                  <a:lnTo>
                    <a:pt x="57" y="22"/>
                  </a:lnTo>
                  <a:lnTo>
                    <a:pt x="78" y="10"/>
                  </a:lnTo>
                  <a:lnTo>
                    <a:pt x="103" y="3"/>
                  </a:lnTo>
                  <a:lnTo>
                    <a:pt x="1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96" name="Freeform 240">
              <a:extLst>
                <a:ext uri="{FF2B5EF4-FFF2-40B4-BE49-F238E27FC236}">
                  <a16:creationId xmlns:a16="http://schemas.microsoft.com/office/drawing/2014/main" id="{D94F1E52-6659-0410-E2EF-3EB3C7405F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86625" y="5416550"/>
              <a:ext cx="1057275" cy="50800"/>
            </a:xfrm>
            <a:custGeom>
              <a:avLst/>
              <a:gdLst>
                <a:gd name="T0" fmla="*/ 1426 w 3328"/>
                <a:gd name="T1" fmla="*/ 64 h 161"/>
                <a:gd name="T2" fmla="*/ 1416 w 3328"/>
                <a:gd name="T3" fmla="*/ 80 h 161"/>
                <a:gd name="T4" fmla="*/ 1426 w 3328"/>
                <a:gd name="T5" fmla="*/ 98 h 161"/>
                <a:gd name="T6" fmla="*/ 1893 w 3328"/>
                <a:gd name="T7" fmla="*/ 100 h 161"/>
                <a:gd name="T8" fmla="*/ 1910 w 3328"/>
                <a:gd name="T9" fmla="*/ 90 h 161"/>
                <a:gd name="T10" fmla="*/ 1910 w 3328"/>
                <a:gd name="T11" fmla="*/ 71 h 161"/>
                <a:gd name="T12" fmla="*/ 1893 w 3328"/>
                <a:gd name="T13" fmla="*/ 61 h 161"/>
                <a:gd name="T14" fmla="*/ 34 w 3328"/>
                <a:gd name="T15" fmla="*/ 0 h 161"/>
                <a:gd name="T16" fmla="*/ 46 w 3328"/>
                <a:gd name="T17" fmla="*/ 2 h 161"/>
                <a:gd name="T18" fmla="*/ 3291 w 3328"/>
                <a:gd name="T19" fmla="*/ 2 h 161"/>
                <a:gd name="T20" fmla="*/ 3309 w 3328"/>
                <a:gd name="T21" fmla="*/ 2 h 161"/>
                <a:gd name="T22" fmla="*/ 3325 w 3328"/>
                <a:gd name="T23" fmla="*/ 17 h 161"/>
                <a:gd name="T24" fmla="*/ 3328 w 3328"/>
                <a:gd name="T25" fmla="*/ 41 h 161"/>
                <a:gd name="T26" fmla="*/ 3317 w 3328"/>
                <a:gd name="T27" fmla="*/ 61 h 161"/>
                <a:gd name="T28" fmla="*/ 3286 w 3328"/>
                <a:gd name="T29" fmla="*/ 78 h 161"/>
                <a:gd name="T30" fmla="*/ 3228 w 3328"/>
                <a:gd name="T31" fmla="*/ 93 h 161"/>
                <a:gd name="T32" fmla="*/ 3146 w 3328"/>
                <a:gd name="T33" fmla="*/ 108 h 161"/>
                <a:gd name="T34" fmla="*/ 3045 w 3328"/>
                <a:gd name="T35" fmla="*/ 119 h 161"/>
                <a:gd name="T36" fmla="*/ 2928 w 3328"/>
                <a:gd name="T37" fmla="*/ 128 h 161"/>
                <a:gd name="T38" fmla="*/ 2799 w 3328"/>
                <a:gd name="T39" fmla="*/ 136 h 161"/>
                <a:gd name="T40" fmla="*/ 2661 w 3328"/>
                <a:gd name="T41" fmla="*/ 143 h 161"/>
                <a:gd name="T42" fmla="*/ 2516 w 3328"/>
                <a:gd name="T43" fmla="*/ 148 h 161"/>
                <a:gd name="T44" fmla="*/ 2370 w 3328"/>
                <a:gd name="T45" fmla="*/ 153 h 161"/>
                <a:gd name="T46" fmla="*/ 2226 w 3328"/>
                <a:gd name="T47" fmla="*/ 156 h 161"/>
                <a:gd name="T48" fmla="*/ 2085 w 3328"/>
                <a:gd name="T49" fmla="*/ 158 h 161"/>
                <a:gd name="T50" fmla="*/ 1955 w 3328"/>
                <a:gd name="T51" fmla="*/ 159 h 161"/>
                <a:gd name="T52" fmla="*/ 1835 w 3328"/>
                <a:gd name="T53" fmla="*/ 160 h 161"/>
                <a:gd name="T54" fmla="*/ 1732 w 3328"/>
                <a:gd name="T55" fmla="*/ 161 h 161"/>
                <a:gd name="T56" fmla="*/ 1646 w 3328"/>
                <a:gd name="T57" fmla="*/ 161 h 161"/>
                <a:gd name="T58" fmla="*/ 1377 w 3328"/>
                <a:gd name="T59" fmla="*/ 160 h 161"/>
                <a:gd name="T60" fmla="*/ 1118 w 3328"/>
                <a:gd name="T61" fmla="*/ 156 h 161"/>
                <a:gd name="T62" fmla="*/ 877 w 3328"/>
                <a:gd name="T63" fmla="*/ 151 h 161"/>
                <a:gd name="T64" fmla="*/ 657 w 3328"/>
                <a:gd name="T65" fmla="*/ 143 h 161"/>
                <a:gd name="T66" fmla="*/ 484 w 3328"/>
                <a:gd name="T67" fmla="*/ 135 h 161"/>
                <a:gd name="T68" fmla="*/ 357 w 3328"/>
                <a:gd name="T69" fmla="*/ 127 h 161"/>
                <a:gd name="T70" fmla="*/ 256 w 3328"/>
                <a:gd name="T71" fmla="*/ 119 h 161"/>
                <a:gd name="T72" fmla="*/ 177 w 3328"/>
                <a:gd name="T73" fmla="*/ 110 h 161"/>
                <a:gd name="T74" fmla="*/ 117 w 3328"/>
                <a:gd name="T75" fmla="*/ 101 h 161"/>
                <a:gd name="T76" fmla="*/ 74 w 3328"/>
                <a:gd name="T77" fmla="*/ 92 h 161"/>
                <a:gd name="T78" fmla="*/ 45 w 3328"/>
                <a:gd name="T79" fmla="*/ 83 h 161"/>
                <a:gd name="T80" fmla="*/ 26 w 3328"/>
                <a:gd name="T81" fmla="*/ 75 h 161"/>
                <a:gd name="T82" fmla="*/ 15 w 3328"/>
                <a:gd name="T83" fmla="*/ 68 h 161"/>
                <a:gd name="T84" fmla="*/ 9 w 3328"/>
                <a:gd name="T85" fmla="*/ 61 h 161"/>
                <a:gd name="T86" fmla="*/ 1 w 3328"/>
                <a:gd name="T87" fmla="*/ 45 h 161"/>
                <a:gd name="T88" fmla="*/ 4 w 3328"/>
                <a:gd name="T89" fmla="*/ 18 h 161"/>
                <a:gd name="T90" fmla="*/ 21 w 3328"/>
                <a:gd name="T91" fmla="*/ 2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328" h="161">
                  <a:moveTo>
                    <a:pt x="1436" y="61"/>
                  </a:moveTo>
                  <a:lnTo>
                    <a:pt x="1426" y="64"/>
                  </a:lnTo>
                  <a:lnTo>
                    <a:pt x="1419" y="71"/>
                  </a:lnTo>
                  <a:lnTo>
                    <a:pt x="1416" y="80"/>
                  </a:lnTo>
                  <a:lnTo>
                    <a:pt x="1419" y="90"/>
                  </a:lnTo>
                  <a:lnTo>
                    <a:pt x="1426" y="98"/>
                  </a:lnTo>
                  <a:lnTo>
                    <a:pt x="1436" y="100"/>
                  </a:lnTo>
                  <a:lnTo>
                    <a:pt x="1893" y="100"/>
                  </a:lnTo>
                  <a:lnTo>
                    <a:pt x="1903" y="98"/>
                  </a:lnTo>
                  <a:lnTo>
                    <a:pt x="1910" y="90"/>
                  </a:lnTo>
                  <a:lnTo>
                    <a:pt x="1912" y="80"/>
                  </a:lnTo>
                  <a:lnTo>
                    <a:pt x="1910" y="71"/>
                  </a:lnTo>
                  <a:lnTo>
                    <a:pt x="1903" y="64"/>
                  </a:lnTo>
                  <a:lnTo>
                    <a:pt x="1893" y="61"/>
                  </a:lnTo>
                  <a:lnTo>
                    <a:pt x="1436" y="61"/>
                  </a:lnTo>
                  <a:close/>
                  <a:moveTo>
                    <a:pt x="34" y="0"/>
                  </a:moveTo>
                  <a:lnTo>
                    <a:pt x="39" y="1"/>
                  </a:lnTo>
                  <a:lnTo>
                    <a:pt x="46" y="2"/>
                  </a:lnTo>
                  <a:lnTo>
                    <a:pt x="3285" y="2"/>
                  </a:lnTo>
                  <a:lnTo>
                    <a:pt x="3291" y="2"/>
                  </a:lnTo>
                  <a:lnTo>
                    <a:pt x="3297" y="0"/>
                  </a:lnTo>
                  <a:lnTo>
                    <a:pt x="3309" y="2"/>
                  </a:lnTo>
                  <a:lnTo>
                    <a:pt x="3318" y="8"/>
                  </a:lnTo>
                  <a:lnTo>
                    <a:pt x="3325" y="17"/>
                  </a:lnTo>
                  <a:lnTo>
                    <a:pt x="3328" y="30"/>
                  </a:lnTo>
                  <a:lnTo>
                    <a:pt x="3328" y="41"/>
                  </a:lnTo>
                  <a:lnTo>
                    <a:pt x="3324" y="51"/>
                  </a:lnTo>
                  <a:lnTo>
                    <a:pt x="3317" y="61"/>
                  </a:lnTo>
                  <a:lnTo>
                    <a:pt x="3305" y="70"/>
                  </a:lnTo>
                  <a:lnTo>
                    <a:pt x="3286" y="78"/>
                  </a:lnTo>
                  <a:lnTo>
                    <a:pt x="3260" y="86"/>
                  </a:lnTo>
                  <a:lnTo>
                    <a:pt x="3228" y="93"/>
                  </a:lnTo>
                  <a:lnTo>
                    <a:pt x="3190" y="101"/>
                  </a:lnTo>
                  <a:lnTo>
                    <a:pt x="3146" y="108"/>
                  </a:lnTo>
                  <a:lnTo>
                    <a:pt x="3098" y="113"/>
                  </a:lnTo>
                  <a:lnTo>
                    <a:pt x="3045" y="119"/>
                  </a:lnTo>
                  <a:lnTo>
                    <a:pt x="2988" y="124"/>
                  </a:lnTo>
                  <a:lnTo>
                    <a:pt x="2928" y="128"/>
                  </a:lnTo>
                  <a:lnTo>
                    <a:pt x="2865" y="133"/>
                  </a:lnTo>
                  <a:lnTo>
                    <a:pt x="2799" y="136"/>
                  </a:lnTo>
                  <a:lnTo>
                    <a:pt x="2731" y="140"/>
                  </a:lnTo>
                  <a:lnTo>
                    <a:pt x="2661" y="143"/>
                  </a:lnTo>
                  <a:lnTo>
                    <a:pt x="2589" y="146"/>
                  </a:lnTo>
                  <a:lnTo>
                    <a:pt x="2516" y="148"/>
                  </a:lnTo>
                  <a:lnTo>
                    <a:pt x="2444" y="151"/>
                  </a:lnTo>
                  <a:lnTo>
                    <a:pt x="2370" y="153"/>
                  </a:lnTo>
                  <a:lnTo>
                    <a:pt x="2297" y="154"/>
                  </a:lnTo>
                  <a:lnTo>
                    <a:pt x="2226" y="156"/>
                  </a:lnTo>
                  <a:lnTo>
                    <a:pt x="2154" y="157"/>
                  </a:lnTo>
                  <a:lnTo>
                    <a:pt x="2085" y="158"/>
                  </a:lnTo>
                  <a:lnTo>
                    <a:pt x="2019" y="159"/>
                  </a:lnTo>
                  <a:lnTo>
                    <a:pt x="1955" y="159"/>
                  </a:lnTo>
                  <a:lnTo>
                    <a:pt x="1893" y="160"/>
                  </a:lnTo>
                  <a:lnTo>
                    <a:pt x="1835" y="160"/>
                  </a:lnTo>
                  <a:lnTo>
                    <a:pt x="1781" y="161"/>
                  </a:lnTo>
                  <a:lnTo>
                    <a:pt x="1732" y="161"/>
                  </a:lnTo>
                  <a:lnTo>
                    <a:pt x="1686" y="161"/>
                  </a:lnTo>
                  <a:lnTo>
                    <a:pt x="1646" y="161"/>
                  </a:lnTo>
                  <a:lnTo>
                    <a:pt x="1510" y="161"/>
                  </a:lnTo>
                  <a:lnTo>
                    <a:pt x="1377" y="160"/>
                  </a:lnTo>
                  <a:lnTo>
                    <a:pt x="1245" y="158"/>
                  </a:lnTo>
                  <a:lnTo>
                    <a:pt x="1118" y="156"/>
                  </a:lnTo>
                  <a:lnTo>
                    <a:pt x="995" y="154"/>
                  </a:lnTo>
                  <a:lnTo>
                    <a:pt x="877" y="151"/>
                  </a:lnTo>
                  <a:lnTo>
                    <a:pt x="764" y="147"/>
                  </a:lnTo>
                  <a:lnTo>
                    <a:pt x="657" y="143"/>
                  </a:lnTo>
                  <a:lnTo>
                    <a:pt x="557" y="139"/>
                  </a:lnTo>
                  <a:lnTo>
                    <a:pt x="484" y="135"/>
                  </a:lnTo>
                  <a:lnTo>
                    <a:pt x="416" y="131"/>
                  </a:lnTo>
                  <a:lnTo>
                    <a:pt x="357" y="127"/>
                  </a:lnTo>
                  <a:lnTo>
                    <a:pt x="303" y="123"/>
                  </a:lnTo>
                  <a:lnTo>
                    <a:pt x="256" y="119"/>
                  </a:lnTo>
                  <a:lnTo>
                    <a:pt x="214" y="114"/>
                  </a:lnTo>
                  <a:lnTo>
                    <a:pt x="177" y="110"/>
                  </a:lnTo>
                  <a:lnTo>
                    <a:pt x="145" y="106"/>
                  </a:lnTo>
                  <a:lnTo>
                    <a:pt x="117" y="101"/>
                  </a:lnTo>
                  <a:lnTo>
                    <a:pt x="94" y="97"/>
                  </a:lnTo>
                  <a:lnTo>
                    <a:pt x="74" y="92"/>
                  </a:lnTo>
                  <a:lnTo>
                    <a:pt x="58" y="87"/>
                  </a:lnTo>
                  <a:lnTo>
                    <a:pt x="45" y="83"/>
                  </a:lnTo>
                  <a:lnTo>
                    <a:pt x="35" y="79"/>
                  </a:lnTo>
                  <a:lnTo>
                    <a:pt x="26" y="75"/>
                  </a:lnTo>
                  <a:lnTo>
                    <a:pt x="19" y="71"/>
                  </a:lnTo>
                  <a:lnTo>
                    <a:pt x="15" y="68"/>
                  </a:lnTo>
                  <a:lnTo>
                    <a:pt x="11" y="64"/>
                  </a:lnTo>
                  <a:lnTo>
                    <a:pt x="9" y="61"/>
                  </a:lnTo>
                  <a:lnTo>
                    <a:pt x="6" y="57"/>
                  </a:lnTo>
                  <a:lnTo>
                    <a:pt x="1" y="45"/>
                  </a:lnTo>
                  <a:lnTo>
                    <a:pt x="0" y="32"/>
                  </a:lnTo>
                  <a:lnTo>
                    <a:pt x="4" y="18"/>
                  </a:lnTo>
                  <a:lnTo>
                    <a:pt x="11" y="8"/>
                  </a:lnTo>
                  <a:lnTo>
                    <a:pt x="21" y="2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97" name="Freeform 241">
              <a:extLst>
                <a:ext uri="{FF2B5EF4-FFF2-40B4-BE49-F238E27FC236}">
                  <a16:creationId xmlns:a16="http://schemas.microsoft.com/office/drawing/2014/main" id="{E60A3B42-F5FC-9035-5411-8EFBA74823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91388" y="5300663"/>
              <a:ext cx="1047750" cy="104775"/>
            </a:xfrm>
            <a:custGeom>
              <a:avLst/>
              <a:gdLst>
                <a:gd name="T0" fmla="*/ 257 w 3303"/>
                <a:gd name="T1" fmla="*/ 64 h 332"/>
                <a:gd name="T2" fmla="*/ 97 w 3303"/>
                <a:gd name="T3" fmla="*/ 271 h 332"/>
                <a:gd name="T4" fmla="*/ 3208 w 3303"/>
                <a:gd name="T5" fmla="*/ 271 h 332"/>
                <a:gd name="T6" fmla="*/ 3055 w 3303"/>
                <a:gd name="T7" fmla="*/ 64 h 332"/>
                <a:gd name="T8" fmla="*/ 257 w 3303"/>
                <a:gd name="T9" fmla="*/ 64 h 332"/>
                <a:gd name="T10" fmla="*/ 242 w 3303"/>
                <a:gd name="T11" fmla="*/ 0 h 332"/>
                <a:gd name="T12" fmla="*/ 3071 w 3303"/>
                <a:gd name="T13" fmla="*/ 0 h 332"/>
                <a:gd name="T14" fmla="*/ 3080 w 3303"/>
                <a:gd name="T15" fmla="*/ 1 h 332"/>
                <a:gd name="T16" fmla="*/ 3089 w 3303"/>
                <a:gd name="T17" fmla="*/ 6 h 332"/>
                <a:gd name="T18" fmla="*/ 3097 w 3303"/>
                <a:gd name="T19" fmla="*/ 13 h 332"/>
                <a:gd name="T20" fmla="*/ 3293 w 3303"/>
                <a:gd name="T21" fmla="*/ 280 h 332"/>
                <a:gd name="T22" fmla="*/ 3300 w 3303"/>
                <a:gd name="T23" fmla="*/ 290 h 332"/>
                <a:gd name="T24" fmla="*/ 3303 w 3303"/>
                <a:gd name="T25" fmla="*/ 302 h 332"/>
                <a:gd name="T26" fmla="*/ 3301 w 3303"/>
                <a:gd name="T27" fmla="*/ 316 h 332"/>
                <a:gd name="T28" fmla="*/ 3294 w 3303"/>
                <a:gd name="T29" fmla="*/ 325 h 332"/>
                <a:gd name="T30" fmla="*/ 3284 w 3303"/>
                <a:gd name="T31" fmla="*/ 332 h 332"/>
                <a:gd name="T32" fmla="*/ 21 w 3303"/>
                <a:gd name="T33" fmla="*/ 332 h 332"/>
                <a:gd name="T34" fmla="*/ 10 w 3303"/>
                <a:gd name="T35" fmla="*/ 326 h 332"/>
                <a:gd name="T36" fmla="*/ 3 w 3303"/>
                <a:gd name="T37" fmla="*/ 317 h 332"/>
                <a:gd name="T38" fmla="*/ 0 w 3303"/>
                <a:gd name="T39" fmla="*/ 305 h 332"/>
                <a:gd name="T40" fmla="*/ 1 w 3303"/>
                <a:gd name="T41" fmla="*/ 294 h 332"/>
                <a:gd name="T42" fmla="*/ 7 w 3303"/>
                <a:gd name="T43" fmla="*/ 283 h 332"/>
                <a:gd name="T44" fmla="*/ 216 w 3303"/>
                <a:gd name="T45" fmla="*/ 12 h 332"/>
                <a:gd name="T46" fmla="*/ 223 w 3303"/>
                <a:gd name="T47" fmla="*/ 5 h 332"/>
                <a:gd name="T48" fmla="*/ 231 w 3303"/>
                <a:gd name="T49" fmla="*/ 1 h 332"/>
                <a:gd name="T50" fmla="*/ 242 w 3303"/>
                <a:gd name="T51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303" h="332">
                  <a:moveTo>
                    <a:pt x="257" y="64"/>
                  </a:moveTo>
                  <a:lnTo>
                    <a:pt x="97" y="271"/>
                  </a:lnTo>
                  <a:lnTo>
                    <a:pt x="3208" y="271"/>
                  </a:lnTo>
                  <a:lnTo>
                    <a:pt x="3055" y="64"/>
                  </a:lnTo>
                  <a:lnTo>
                    <a:pt x="257" y="64"/>
                  </a:lnTo>
                  <a:close/>
                  <a:moveTo>
                    <a:pt x="242" y="0"/>
                  </a:moveTo>
                  <a:lnTo>
                    <a:pt x="3071" y="0"/>
                  </a:lnTo>
                  <a:lnTo>
                    <a:pt x="3080" y="1"/>
                  </a:lnTo>
                  <a:lnTo>
                    <a:pt x="3089" y="6"/>
                  </a:lnTo>
                  <a:lnTo>
                    <a:pt x="3097" y="13"/>
                  </a:lnTo>
                  <a:lnTo>
                    <a:pt x="3293" y="280"/>
                  </a:lnTo>
                  <a:lnTo>
                    <a:pt x="3300" y="290"/>
                  </a:lnTo>
                  <a:lnTo>
                    <a:pt x="3303" y="302"/>
                  </a:lnTo>
                  <a:lnTo>
                    <a:pt x="3301" y="316"/>
                  </a:lnTo>
                  <a:lnTo>
                    <a:pt x="3294" y="325"/>
                  </a:lnTo>
                  <a:lnTo>
                    <a:pt x="3284" y="332"/>
                  </a:lnTo>
                  <a:lnTo>
                    <a:pt x="21" y="332"/>
                  </a:lnTo>
                  <a:lnTo>
                    <a:pt x="10" y="326"/>
                  </a:lnTo>
                  <a:lnTo>
                    <a:pt x="3" y="317"/>
                  </a:lnTo>
                  <a:lnTo>
                    <a:pt x="0" y="305"/>
                  </a:lnTo>
                  <a:lnTo>
                    <a:pt x="1" y="294"/>
                  </a:lnTo>
                  <a:lnTo>
                    <a:pt x="7" y="283"/>
                  </a:lnTo>
                  <a:lnTo>
                    <a:pt x="216" y="12"/>
                  </a:lnTo>
                  <a:lnTo>
                    <a:pt x="223" y="5"/>
                  </a:lnTo>
                  <a:lnTo>
                    <a:pt x="231" y="1"/>
                  </a:lnTo>
                  <a:lnTo>
                    <a:pt x="24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98" name="Freeform 242">
              <a:extLst>
                <a:ext uri="{FF2B5EF4-FFF2-40B4-BE49-F238E27FC236}">
                  <a16:creationId xmlns:a16="http://schemas.microsoft.com/office/drawing/2014/main" id="{0F0C79FE-6E9F-C092-AEFE-151E52F9BC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8250" y="4805363"/>
              <a:ext cx="425450" cy="387350"/>
            </a:xfrm>
            <a:custGeom>
              <a:avLst/>
              <a:gdLst>
                <a:gd name="T0" fmla="*/ 609 w 1337"/>
                <a:gd name="T1" fmla="*/ 929 h 1221"/>
                <a:gd name="T2" fmla="*/ 713 w 1337"/>
                <a:gd name="T3" fmla="*/ 972 h 1221"/>
                <a:gd name="T4" fmla="*/ 731 w 1337"/>
                <a:gd name="T5" fmla="*/ 763 h 1221"/>
                <a:gd name="T6" fmla="*/ 668 w 1337"/>
                <a:gd name="T7" fmla="*/ 626 h 1221"/>
                <a:gd name="T8" fmla="*/ 670 w 1337"/>
                <a:gd name="T9" fmla="*/ 737 h 1221"/>
                <a:gd name="T10" fmla="*/ 668 w 1337"/>
                <a:gd name="T11" fmla="*/ 626 h 1221"/>
                <a:gd name="T12" fmla="*/ 951 w 1337"/>
                <a:gd name="T13" fmla="*/ 647 h 1221"/>
                <a:gd name="T14" fmla="*/ 763 w 1337"/>
                <a:gd name="T15" fmla="*/ 757 h 1221"/>
                <a:gd name="T16" fmla="*/ 749 w 1337"/>
                <a:gd name="T17" fmla="*/ 965 h 1221"/>
                <a:gd name="T18" fmla="*/ 751 w 1337"/>
                <a:gd name="T19" fmla="*/ 1128 h 1221"/>
                <a:gd name="T20" fmla="*/ 951 w 1337"/>
                <a:gd name="T21" fmla="*/ 1190 h 1221"/>
                <a:gd name="T22" fmla="*/ 1167 w 1337"/>
                <a:gd name="T23" fmla="*/ 1116 h 1221"/>
                <a:gd name="T24" fmla="*/ 1292 w 1337"/>
                <a:gd name="T25" fmla="*/ 931 h 1221"/>
                <a:gd name="T26" fmla="*/ 1281 w 1337"/>
                <a:gd name="T27" fmla="*/ 710 h 1221"/>
                <a:gd name="T28" fmla="*/ 1154 w 1337"/>
                <a:gd name="T29" fmla="*/ 549 h 1221"/>
                <a:gd name="T30" fmla="*/ 260 w 1337"/>
                <a:gd name="T31" fmla="*/ 508 h 1221"/>
                <a:gd name="T32" fmla="*/ 96 w 1337"/>
                <a:gd name="T33" fmla="*/ 636 h 1221"/>
                <a:gd name="T34" fmla="*/ 32 w 1337"/>
                <a:gd name="T35" fmla="*/ 838 h 1221"/>
                <a:gd name="T36" fmla="*/ 106 w 1337"/>
                <a:gd name="T37" fmla="*/ 1053 h 1221"/>
                <a:gd name="T38" fmla="*/ 291 w 1337"/>
                <a:gd name="T39" fmla="*/ 1178 h 1221"/>
                <a:gd name="T40" fmla="*/ 512 w 1337"/>
                <a:gd name="T41" fmla="*/ 1167 h 1221"/>
                <a:gd name="T42" fmla="*/ 623 w 1337"/>
                <a:gd name="T43" fmla="*/ 1040 h 1221"/>
                <a:gd name="T44" fmla="*/ 565 w 1337"/>
                <a:gd name="T45" fmla="*/ 838 h 1221"/>
                <a:gd name="T46" fmla="*/ 454 w 1337"/>
                <a:gd name="T47" fmla="*/ 702 h 1221"/>
                <a:gd name="T48" fmla="*/ 316 w 1337"/>
                <a:gd name="T49" fmla="*/ 537 h 1221"/>
                <a:gd name="T50" fmla="*/ 825 w 1337"/>
                <a:gd name="T51" fmla="*/ 508 h 1221"/>
                <a:gd name="T52" fmla="*/ 710 w 1337"/>
                <a:gd name="T53" fmla="*/ 630 h 1221"/>
                <a:gd name="T54" fmla="*/ 840 w 1337"/>
                <a:gd name="T55" fmla="*/ 693 h 1221"/>
                <a:gd name="T56" fmla="*/ 991 w 1337"/>
                <a:gd name="T57" fmla="*/ 533 h 1221"/>
                <a:gd name="T58" fmla="*/ 358 w 1337"/>
                <a:gd name="T59" fmla="*/ 486 h 1221"/>
                <a:gd name="T60" fmla="*/ 427 w 1337"/>
                <a:gd name="T61" fmla="*/ 639 h 1221"/>
                <a:gd name="T62" fmla="*/ 599 w 1337"/>
                <a:gd name="T63" fmla="*/ 681 h 1221"/>
                <a:gd name="T64" fmla="*/ 550 w 1337"/>
                <a:gd name="T65" fmla="*/ 526 h 1221"/>
                <a:gd name="T66" fmla="*/ 670 w 1337"/>
                <a:gd name="T67" fmla="*/ 32 h 1221"/>
                <a:gd name="T68" fmla="*/ 454 w 1337"/>
                <a:gd name="T69" fmla="*/ 106 h 1221"/>
                <a:gd name="T70" fmla="*/ 329 w 1337"/>
                <a:gd name="T71" fmla="*/ 290 h 1221"/>
                <a:gd name="T72" fmla="*/ 354 w 1337"/>
                <a:gd name="T73" fmla="*/ 455 h 1221"/>
                <a:gd name="T74" fmla="*/ 562 w 1337"/>
                <a:gd name="T75" fmla="*/ 496 h 1221"/>
                <a:gd name="T76" fmla="*/ 735 w 1337"/>
                <a:gd name="T77" fmla="*/ 520 h 1221"/>
                <a:gd name="T78" fmla="*/ 951 w 1337"/>
                <a:gd name="T79" fmla="*/ 454 h 1221"/>
                <a:gd name="T80" fmla="*/ 1020 w 1337"/>
                <a:gd name="T81" fmla="*/ 337 h 1221"/>
                <a:gd name="T82" fmla="*/ 919 w 1337"/>
                <a:gd name="T83" fmla="*/ 135 h 1221"/>
                <a:gd name="T84" fmla="*/ 718 w 1337"/>
                <a:gd name="T85" fmla="*/ 35 h 1221"/>
                <a:gd name="T86" fmla="*/ 809 w 1337"/>
                <a:gd name="T87" fmla="*/ 26 h 1221"/>
                <a:gd name="T88" fmla="*/ 987 w 1337"/>
                <a:gd name="T89" fmla="*/ 165 h 1221"/>
                <a:gd name="T90" fmla="*/ 1056 w 1337"/>
                <a:gd name="T91" fmla="*/ 385 h 1221"/>
                <a:gd name="T92" fmla="*/ 1172 w 1337"/>
                <a:gd name="T93" fmla="*/ 523 h 1221"/>
                <a:gd name="T94" fmla="*/ 1310 w 1337"/>
                <a:gd name="T95" fmla="*/ 699 h 1221"/>
                <a:gd name="T96" fmla="*/ 1325 w 1337"/>
                <a:gd name="T97" fmla="*/ 932 h 1221"/>
                <a:gd name="T98" fmla="*/ 1207 w 1337"/>
                <a:gd name="T99" fmla="*/ 1125 h 1221"/>
                <a:gd name="T100" fmla="*/ 999 w 1337"/>
                <a:gd name="T101" fmla="*/ 1218 h 1221"/>
                <a:gd name="T102" fmla="*/ 774 w 1337"/>
                <a:gd name="T103" fmla="*/ 1179 h 1221"/>
                <a:gd name="T104" fmla="*/ 601 w 1337"/>
                <a:gd name="T105" fmla="*/ 1155 h 1221"/>
                <a:gd name="T106" fmla="*/ 386 w 1337"/>
                <a:gd name="T107" fmla="*/ 1221 h 1221"/>
                <a:gd name="T108" fmla="*/ 165 w 1337"/>
                <a:gd name="T109" fmla="*/ 1152 h 1221"/>
                <a:gd name="T110" fmla="*/ 25 w 1337"/>
                <a:gd name="T111" fmla="*/ 976 h 1221"/>
                <a:gd name="T112" fmla="*/ 12 w 1337"/>
                <a:gd name="T113" fmla="*/ 743 h 1221"/>
                <a:gd name="T114" fmla="*/ 130 w 1337"/>
                <a:gd name="T115" fmla="*/ 550 h 1221"/>
                <a:gd name="T116" fmla="*/ 286 w 1337"/>
                <a:gd name="T117" fmla="*/ 425 h 1221"/>
                <a:gd name="T118" fmla="*/ 329 w 1337"/>
                <a:gd name="T119" fmla="*/ 204 h 1221"/>
                <a:gd name="T120" fmla="*/ 489 w 1337"/>
                <a:gd name="T121" fmla="*/ 45 h 1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37" h="1221">
                  <a:moveTo>
                    <a:pt x="605" y="763"/>
                  </a:moveTo>
                  <a:lnTo>
                    <a:pt x="599" y="799"/>
                  </a:lnTo>
                  <a:lnTo>
                    <a:pt x="597" y="838"/>
                  </a:lnTo>
                  <a:lnTo>
                    <a:pt x="600" y="885"/>
                  </a:lnTo>
                  <a:lnTo>
                    <a:pt x="609" y="929"/>
                  </a:lnTo>
                  <a:lnTo>
                    <a:pt x="624" y="972"/>
                  </a:lnTo>
                  <a:lnTo>
                    <a:pt x="643" y="1011"/>
                  </a:lnTo>
                  <a:lnTo>
                    <a:pt x="668" y="1049"/>
                  </a:lnTo>
                  <a:lnTo>
                    <a:pt x="692" y="1011"/>
                  </a:lnTo>
                  <a:lnTo>
                    <a:pt x="713" y="972"/>
                  </a:lnTo>
                  <a:lnTo>
                    <a:pt x="727" y="929"/>
                  </a:lnTo>
                  <a:lnTo>
                    <a:pt x="736" y="885"/>
                  </a:lnTo>
                  <a:lnTo>
                    <a:pt x="739" y="838"/>
                  </a:lnTo>
                  <a:lnTo>
                    <a:pt x="737" y="799"/>
                  </a:lnTo>
                  <a:lnTo>
                    <a:pt x="731" y="763"/>
                  </a:lnTo>
                  <a:lnTo>
                    <a:pt x="700" y="767"/>
                  </a:lnTo>
                  <a:lnTo>
                    <a:pt x="670" y="769"/>
                  </a:lnTo>
                  <a:lnTo>
                    <a:pt x="637" y="767"/>
                  </a:lnTo>
                  <a:lnTo>
                    <a:pt x="605" y="763"/>
                  </a:lnTo>
                  <a:close/>
                  <a:moveTo>
                    <a:pt x="668" y="626"/>
                  </a:moveTo>
                  <a:lnTo>
                    <a:pt x="647" y="659"/>
                  </a:lnTo>
                  <a:lnTo>
                    <a:pt x="628" y="694"/>
                  </a:lnTo>
                  <a:lnTo>
                    <a:pt x="613" y="731"/>
                  </a:lnTo>
                  <a:lnTo>
                    <a:pt x="641" y="736"/>
                  </a:lnTo>
                  <a:lnTo>
                    <a:pt x="670" y="737"/>
                  </a:lnTo>
                  <a:lnTo>
                    <a:pt x="696" y="736"/>
                  </a:lnTo>
                  <a:lnTo>
                    <a:pt x="723" y="733"/>
                  </a:lnTo>
                  <a:lnTo>
                    <a:pt x="709" y="695"/>
                  </a:lnTo>
                  <a:lnTo>
                    <a:pt x="690" y="659"/>
                  </a:lnTo>
                  <a:lnTo>
                    <a:pt x="668" y="626"/>
                  </a:lnTo>
                  <a:close/>
                  <a:moveTo>
                    <a:pt x="1039" y="496"/>
                  </a:moveTo>
                  <a:lnTo>
                    <a:pt x="1023" y="538"/>
                  </a:lnTo>
                  <a:lnTo>
                    <a:pt x="1003" y="577"/>
                  </a:lnTo>
                  <a:lnTo>
                    <a:pt x="978" y="614"/>
                  </a:lnTo>
                  <a:lnTo>
                    <a:pt x="951" y="647"/>
                  </a:lnTo>
                  <a:lnTo>
                    <a:pt x="918" y="677"/>
                  </a:lnTo>
                  <a:lnTo>
                    <a:pt x="884" y="703"/>
                  </a:lnTo>
                  <a:lnTo>
                    <a:pt x="846" y="725"/>
                  </a:lnTo>
                  <a:lnTo>
                    <a:pt x="805" y="744"/>
                  </a:lnTo>
                  <a:lnTo>
                    <a:pt x="763" y="757"/>
                  </a:lnTo>
                  <a:lnTo>
                    <a:pt x="769" y="796"/>
                  </a:lnTo>
                  <a:lnTo>
                    <a:pt x="772" y="838"/>
                  </a:lnTo>
                  <a:lnTo>
                    <a:pt x="769" y="882"/>
                  </a:lnTo>
                  <a:lnTo>
                    <a:pt x="762" y="924"/>
                  </a:lnTo>
                  <a:lnTo>
                    <a:pt x="749" y="965"/>
                  </a:lnTo>
                  <a:lnTo>
                    <a:pt x="733" y="1003"/>
                  </a:lnTo>
                  <a:lnTo>
                    <a:pt x="713" y="1040"/>
                  </a:lnTo>
                  <a:lnTo>
                    <a:pt x="689" y="1073"/>
                  </a:lnTo>
                  <a:lnTo>
                    <a:pt x="719" y="1103"/>
                  </a:lnTo>
                  <a:lnTo>
                    <a:pt x="751" y="1128"/>
                  </a:lnTo>
                  <a:lnTo>
                    <a:pt x="787" y="1149"/>
                  </a:lnTo>
                  <a:lnTo>
                    <a:pt x="825" y="1167"/>
                  </a:lnTo>
                  <a:lnTo>
                    <a:pt x="864" y="1180"/>
                  </a:lnTo>
                  <a:lnTo>
                    <a:pt x="907" y="1187"/>
                  </a:lnTo>
                  <a:lnTo>
                    <a:pt x="951" y="1190"/>
                  </a:lnTo>
                  <a:lnTo>
                    <a:pt x="999" y="1187"/>
                  </a:lnTo>
                  <a:lnTo>
                    <a:pt x="1045" y="1178"/>
                  </a:lnTo>
                  <a:lnTo>
                    <a:pt x="1088" y="1163"/>
                  </a:lnTo>
                  <a:lnTo>
                    <a:pt x="1129" y="1141"/>
                  </a:lnTo>
                  <a:lnTo>
                    <a:pt x="1167" y="1116"/>
                  </a:lnTo>
                  <a:lnTo>
                    <a:pt x="1200" y="1086"/>
                  </a:lnTo>
                  <a:lnTo>
                    <a:pt x="1231" y="1053"/>
                  </a:lnTo>
                  <a:lnTo>
                    <a:pt x="1256" y="1015"/>
                  </a:lnTo>
                  <a:lnTo>
                    <a:pt x="1277" y="975"/>
                  </a:lnTo>
                  <a:lnTo>
                    <a:pt x="1292" y="931"/>
                  </a:lnTo>
                  <a:lnTo>
                    <a:pt x="1301" y="886"/>
                  </a:lnTo>
                  <a:lnTo>
                    <a:pt x="1304" y="838"/>
                  </a:lnTo>
                  <a:lnTo>
                    <a:pt x="1301" y="793"/>
                  </a:lnTo>
                  <a:lnTo>
                    <a:pt x="1294" y="751"/>
                  </a:lnTo>
                  <a:lnTo>
                    <a:pt x="1281" y="710"/>
                  </a:lnTo>
                  <a:lnTo>
                    <a:pt x="1264" y="673"/>
                  </a:lnTo>
                  <a:lnTo>
                    <a:pt x="1241" y="637"/>
                  </a:lnTo>
                  <a:lnTo>
                    <a:pt x="1216" y="605"/>
                  </a:lnTo>
                  <a:lnTo>
                    <a:pt x="1186" y="575"/>
                  </a:lnTo>
                  <a:lnTo>
                    <a:pt x="1154" y="549"/>
                  </a:lnTo>
                  <a:lnTo>
                    <a:pt x="1118" y="528"/>
                  </a:lnTo>
                  <a:lnTo>
                    <a:pt x="1079" y="509"/>
                  </a:lnTo>
                  <a:lnTo>
                    <a:pt x="1039" y="496"/>
                  </a:lnTo>
                  <a:close/>
                  <a:moveTo>
                    <a:pt x="300" y="496"/>
                  </a:moveTo>
                  <a:lnTo>
                    <a:pt x="260" y="508"/>
                  </a:lnTo>
                  <a:lnTo>
                    <a:pt x="221" y="526"/>
                  </a:lnTo>
                  <a:lnTo>
                    <a:pt x="185" y="548"/>
                  </a:lnTo>
                  <a:lnTo>
                    <a:pt x="152" y="573"/>
                  </a:lnTo>
                  <a:lnTo>
                    <a:pt x="122" y="603"/>
                  </a:lnTo>
                  <a:lnTo>
                    <a:pt x="96" y="636"/>
                  </a:lnTo>
                  <a:lnTo>
                    <a:pt x="73" y="672"/>
                  </a:lnTo>
                  <a:lnTo>
                    <a:pt x="56" y="710"/>
                  </a:lnTo>
                  <a:lnTo>
                    <a:pt x="43" y="751"/>
                  </a:lnTo>
                  <a:lnTo>
                    <a:pt x="35" y="793"/>
                  </a:lnTo>
                  <a:lnTo>
                    <a:pt x="32" y="838"/>
                  </a:lnTo>
                  <a:lnTo>
                    <a:pt x="35" y="886"/>
                  </a:lnTo>
                  <a:lnTo>
                    <a:pt x="45" y="931"/>
                  </a:lnTo>
                  <a:lnTo>
                    <a:pt x="60" y="975"/>
                  </a:lnTo>
                  <a:lnTo>
                    <a:pt x="80" y="1015"/>
                  </a:lnTo>
                  <a:lnTo>
                    <a:pt x="106" y="1053"/>
                  </a:lnTo>
                  <a:lnTo>
                    <a:pt x="135" y="1086"/>
                  </a:lnTo>
                  <a:lnTo>
                    <a:pt x="170" y="1116"/>
                  </a:lnTo>
                  <a:lnTo>
                    <a:pt x="207" y="1141"/>
                  </a:lnTo>
                  <a:lnTo>
                    <a:pt x="248" y="1163"/>
                  </a:lnTo>
                  <a:lnTo>
                    <a:pt x="291" y="1178"/>
                  </a:lnTo>
                  <a:lnTo>
                    <a:pt x="338" y="1187"/>
                  </a:lnTo>
                  <a:lnTo>
                    <a:pt x="386" y="1190"/>
                  </a:lnTo>
                  <a:lnTo>
                    <a:pt x="430" y="1187"/>
                  </a:lnTo>
                  <a:lnTo>
                    <a:pt x="471" y="1180"/>
                  </a:lnTo>
                  <a:lnTo>
                    <a:pt x="512" y="1167"/>
                  </a:lnTo>
                  <a:lnTo>
                    <a:pt x="550" y="1149"/>
                  </a:lnTo>
                  <a:lnTo>
                    <a:pt x="585" y="1128"/>
                  </a:lnTo>
                  <a:lnTo>
                    <a:pt x="618" y="1103"/>
                  </a:lnTo>
                  <a:lnTo>
                    <a:pt x="648" y="1073"/>
                  </a:lnTo>
                  <a:lnTo>
                    <a:pt x="623" y="1040"/>
                  </a:lnTo>
                  <a:lnTo>
                    <a:pt x="603" y="1003"/>
                  </a:lnTo>
                  <a:lnTo>
                    <a:pt x="586" y="965"/>
                  </a:lnTo>
                  <a:lnTo>
                    <a:pt x="575" y="924"/>
                  </a:lnTo>
                  <a:lnTo>
                    <a:pt x="567" y="882"/>
                  </a:lnTo>
                  <a:lnTo>
                    <a:pt x="565" y="838"/>
                  </a:lnTo>
                  <a:lnTo>
                    <a:pt x="567" y="796"/>
                  </a:lnTo>
                  <a:lnTo>
                    <a:pt x="574" y="756"/>
                  </a:lnTo>
                  <a:lnTo>
                    <a:pt x="531" y="743"/>
                  </a:lnTo>
                  <a:lnTo>
                    <a:pt x="492" y="724"/>
                  </a:lnTo>
                  <a:lnTo>
                    <a:pt x="454" y="702"/>
                  </a:lnTo>
                  <a:lnTo>
                    <a:pt x="419" y="676"/>
                  </a:lnTo>
                  <a:lnTo>
                    <a:pt x="388" y="645"/>
                  </a:lnTo>
                  <a:lnTo>
                    <a:pt x="359" y="613"/>
                  </a:lnTo>
                  <a:lnTo>
                    <a:pt x="336" y="576"/>
                  </a:lnTo>
                  <a:lnTo>
                    <a:pt x="316" y="537"/>
                  </a:lnTo>
                  <a:lnTo>
                    <a:pt x="300" y="496"/>
                  </a:lnTo>
                  <a:close/>
                  <a:moveTo>
                    <a:pt x="951" y="485"/>
                  </a:moveTo>
                  <a:lnTo>
                    <a:pt x="907" y="488"/>
                  </a:lnTo>
                  <a:lnTo>
                    <a:pt x="864" y="496"/>
                  </a:lnTo>
                  <a:lnTo>
                    <a:pt x="825" y="508"/>
                  </a:lnTo>
                  <a:lnTo>
                    <a:pt x="787" y="526"/>
                  </a:lnTo>
                  <a:lnTo>
                    <a:pt x="751" y="547"/>
                  </a:lnTo>
                  <a:lnTo>
                    <a:pt x="719" y="572"/>
                  </a:lnTo>
                  <a:lnTo>
                    <a:pt x="689" y="602"/>
                  </a:lnTo>
                  <a:lnTo>
                    <a:pt x="710" y="630"/>
                  </a:lnTo>
                  <a:lnTo>
                    <a:pt x="728" y="660"/>
                  </a:lnTo>
                  <a:lnTo>
                    <a:pt x="742" y="692"/>
                  </a:lnTo>
                  <a:lnTo>
                    <a:pt x="754" y="725"/>
                  </a:lnTo>
                  <a:lnTo>
                    <a:pt x="798" y="712"/>
                  </a:lnTo>
                  <a:lnTo>
                    <a:pt x="840" y="693"/>
                  </a:lnTo>
                  <a:lnTo>
                    <a:pt x="878" y="669"/>
                  </a:lnTo>
                  <a:lnTo>
                    <a:pt x="912" y="640"/>
                  </a:lnTo>
                  <a:lnTo>
                    <a:pt x="943" y="608"/>
                  </a:lnTo>
                  <a:lnTo>
                    <a:pt x="969" y="572"/>
                  </a:lnTo>
                  <a:lnTo>
                    <a:pt x="991" y="533"/>
                  </a:lnTo>
                  <a:lnTo>
                    <a:pt x="1007" y="490"/>
                  </a:lnTo>
                  <a:lnTo>
                    <a:pt x="979" y="486"/>
                  </a:lnTo>
                  <a:lnTo>
                    <a:pt x="951" y="485"/>
                  </a:lnTo>
                  <a:close/>
                  <a:moveTo>
                    <a:pt x="386" y="485"/>
                  </a:moveTo>
                  <a:lnTo>
                    <a:pt x="358" y="486"/>
                  </a:lnTo>
                  <a:lnTo>
                    <a:pt x="332" y="489"/>
                  </a:lnTo>
                  <a:lnTo>
                    <a:pt x="348" y="532"/>
                  </a:lnTo>
                  <a:lnTo>
                    <a:pt x="370" y="571"/>
                  </a:lnTo>
                  <a:lnTo>
                    <a:pt x="396" y="607"/>
                  </a:lnTo>
                  <a:lnTo>
                    <a:pt x="427" y="639"/>
                  </a:lnTo>
                  <a:lnTo>
                    <a:pt x="460" y="668"/>
                  </a:lnTo>
                  <a:lnTo>
                    <a:pt x="498" y="692"/>
                  </a:lnTo>
                  <a:lnTo>
                    <a:pt x="539" y="711"/>
                  </a:lnTo>
                  <a:lnTo>
                    <a:pt x="582" y="725"/>
                  </a:lnTo>
                  <a:lnTo>
                    <a:pt x="599" y="681"/>
                  </a:lnTo>
                  <a:lnTo>
                    <a:pt x="621" y="639"/>
                  </a:lnTo>
                  <a:lnTo>
                    <a:pt x="648" y="601"/>
                  </a:lnTo>
                  <a:lnTo>
                    <a:pt x="618" y="572"/>
                  </a:lnTo>
                  <a:lnTo>
                    <a:pt x="585" y="547"/>
                  </a:lnTo>
                  <a:lnTo>
                    <a:pt x="550" y="526"/>
                  </a:lnTo>
                  <a:lnTo>
                    <a:pt x="512" y="508"/>
                  </a:lnTo>
                  <a:lnTo>
                    <a:pt x="471" y="496"/>
                  </a:lnTo>
                  <a:lnTo>
                    <a:pt x="430" y="488"/>
                  </a:lnTo>
                  <a:lnTo>
                    <a:pt x="386" y="485"/>
                  </a:lnTo>
                  <a:close/>
                  <a:moveTo>
                    <a:pt x="670" y="32"/>
                  </a:moveTo>
                  <a:lnTo>
                    <a:pt x="622" y="35"/>
                  </a:lnTo>
                  <a:lnTo>
                    <a:pt x="576" y="45"/>
                  </a:lnTo>
                  <a:lnTo>
                    <a:pt x="532" y="60"/>
                  </a:lnTo>
                  <a:lnTo>
                    <a:pt x="492" y="80"/>
                  </a:lnTo>
                  <a:lnTo>
                    <a:pt x="454" y="106"/>
                  </a:lnTo>
                  <a:lnTo>
                    <a:pt x="419" y="135"/>
                  </a:lnTo>
                  <a:lnTo>
                    <a:pt x="390" y="169"/>
                  </a:lnTo>
                  <a:lnTo>
                    <a:pt x="364" y="206"/>
                  </a:lnTo>
                  <a:lnTo>
                    <a:pt x="344" y="248"/>
                  </a:lnTo>
                  <a:lnTo>
                    <a:pt x="329" y="290"/>
                  </a:lnTo>
                  <a:lnTo>
                    <a:pt x="320" y="337"/>
                  </a:lnTo>
                  <a:lnTo>
                    <a:pt x="316" y="385"/>
                  </a:lnTo>
                  <a:lnTo>
                    <a:pt x="319" y="422"/>
                  </a:lnTo>
                  <a:lnTo>
                    <a:pt x="324" y="459"/>
                  </a:lnTo>
                  <a:lnTo>
                    <a:pt x="354" y="455"/>
                  </a:lnTo>
                  <a:lnTo>
                    <a:pt x="386" y="454"/>
                  </a:lnTo>
                  <a:lnTo>
                    <a:pt x="433" y="456"/>
                  </a:lnTo>
                  <a:lnTo>
                    <a:pt x="479" y="465"/>
                  </a:lnTo>
                  <a:lnTo>
                    <a:pt x="521" y="478"/>
                  </a:lnTo>
                  <a:lnTo>
                    <a:pt x="562" y="496"/>
                  </a:lnTo>
                  <a:lnTo>
                    <a:pt x="601" y="520"/>
                  </a:lnTo>
                  <a:lnTo>
                    <a:pt x="636" y="546"/>
                  </a:lnTo>
                  <a:lnTo>
                    <a:pt x="668" y="576"/>
                  </a:lnTo>
                  <a:lnTo>
                    <a:pt x="700" y="546"/>
                  </a:lnTo>
                  <a:lnTo>
                    <a:pt x="735" y="520"/>
                  </a:lnTo>
                  <a:lnTo>
                    <a:pt x="774" y="496"/>
                  </a:lnTo>
                  <a:lnTo>
                    <a:pt x="815" y="478"/>
                  </a:lnTo>
                  <a:lnTo>
                    <a:pt x="858" y="465"/>
                  </a:lnTo>
                  <a:lnTo>
                    <a:pt x="903" y="456"/>
                  </a:lnTo>
                  <a:lnTo>
                    <a:pt x="951" y="454"/>
                  </a:lnTo>
                  <a:lnTo>
                    <a:pt x="984" y="455"/>
                  </a:lnTo>
                  <a:lnTo>
                    <a:pt x="1015" y="459"/>
                  </a:lnTo>
                  <a:lnTo>
                    <a:pt x="1021" y="422"/>
                  </a:lnTo>
                  <a:lnTo>
                    <a:pt x="1023" y="385"/>
                  </a:lnTo>
                  <a:lnTo>
                    <a:pt x="1020" y="337"/>
                  </a:lnTo>
                  <a:lnTo>
                    <a:pt x="1011" y="290"/>
                  </a:lnTo>
                  <a:lnTo>
                    <a:pt x="996" y="248"/>
                  </a:lnTo>
                  <a:lnTo>
                    <a:pt x="975" y="206"/>
                  </a:lnTo>
                  <a:lnTo>
                    <a:pt x="950" y="169"/>
                  </a:lnTo>
                  <a:lnTo>
                    <a:pt x="919" y="135"/>
                  </a:lnTo>
                  <a:lnTo>
                    <a:pt x="886" y="106"/>
                  </a:lnTo>
                  <a:lnTo>
                    <a:pt x="848" y="80"/>
                  </a:lnTo>
                  <a:lnTo>
                    <a:pt x="807" y="60"/>
                  </a:lnTo>
                  <a:lnTo>
                    <a:pt x="764" y="45"/>
                  </a:lnTo>
                  <a:lnTo>
                    <a:pt x="718" y="35"/>
                  </a:lnTo>
                  <a:lnTo>
                    <a:pt x="670" y="32"/>
                  </a:lnTo>
                  <a:close/>
                  <a:moveTo>
                    <a:pt x="670" y="0"/>
                  </a:moveTo>
                  <a:lnTo>
                    <a:pt x="718" y="3"/>
                  </a:lnTo>
                  <a:lnTo>
                    <a:pt x="765" y="11"/>
                  </a:lnTo>
                  <a:lnTo>
                    <a:pt x="809" y="26"/>
                  </a:lnTo>
                  <a:lnTo>
                    <a:pt x="851" y="45"/>
                  </a:lnTo>
                  <a:lnTo>
                    <a:pt x="890" y="69"/>
                  </a:lnTo>
                  <a:lnTo>
                    <a:pt x="926" y="97"/>
                  </a:lnTo>
                  <a:lnTo>
                    <a:pt x="958" y="129"/>
                  </a:lnTo>
                  <a:lnTo>
                    <a:pt x="987" y="165"/>
                  </a:lnTo>
                  <a:lnTo>
                    <a:pt x="1010" y="204"/>
                  </a:lnTo>
                  <a:lnTo>
                    <a:pt x="1029" y="246"/>
                  </a:lnTo>
                  <a:lnTo>
                    <a:pt x="1044" y="289"/>
                  </a:lnTo>
                  <a:lnTo>
                    <a:pt x="1053" y="336"/>
                  </a:lnTo>
                  <a:lnTo>
                    <a:pt x="1056" y="385"/>
                  </a:lnTo>
                  <a:lnTo>
                    <a:pt x="1053" y="425"/>
                  </a:lnTo>
                  <a:lnTo>
                    <a:pt x="1047" y="466"/>
                  </a:lnTo>
                  <a:lnTo>
                    <a:pt x="1090" y="480"/>
                  </a:lnTo>
                  <a:lnTo>
                    <a:pt x="1132" y="499"/>
                  </a:lnTo>
                  <a:lnTo>
                    <a:pt x="1172" y="523"/>
                  </a:lnTo>
                  <a:lnTo>
                    <a:pt x="1208" y="551"/>
                  </a:lnTo>
                  <a:lnTo>
                    <a:pt x="1239" y="583"/>
                  </a:lnTo>
                  <a:lnTo>
                    <a:pt x="1268" y="619"/>
                  </a:lnTo>
                  <a:lnTo>
                    <a:pt x="1291" y="657"/>
                  </a:lnTo>
                  <a:lnTo>
                    <a:pt x="1310" y="699"/>
                  </a:lnTo>
                  <a:lnTo>
                    <a:pt x="1325" y="744"/>
                  </a:lnTo>
                  <a:lnTo>
                    <a:pt x="1334" y="789"/>
                  </a:lnTo>
                  <a:lnTo>
                    <a:pt x="1337" y="838"/>
                  </a:lnTo>
                  <a:lnTo>
                    <a:pt x="1334" y="886"/>
                  </a:lnTo>
                  <a:lnTo>
                    <a:pt x="1325" y="932"/>
                  </a:lnTo>
                  <a:lnTo>
                    <a:pt x="1310" y="976"/>
                  </a:lnTo>
                  <a:lnTo>
                    <a:pt x="1291" y="1017"/>
                  </a:lnTo>
                  <a:lnTo>
                    <a:pt x="1268" y="1057"/>
                  </a:lnTo>
                  <a:lnTo>
                    <a:pt x="1239" y="1093"/>
                  </a:lnTo>
                  <a:lnTo>
                    <a:pt x="1207" y="1125"/>
                  </a:lnTo>
                  <a:lnTo>
                    <a:pt x="1171" y="1152"/>
                  </a:lnTo>
                  <a:lnTo>
                    <a:pt x="1132" y="1177"/>
                  </a:lnTo>
                  <a:lnTo>
                    <a:pt x="1090" y="1196"/>
                  </a:lnTo>
                  <a:lnTo>
                    <a:pt x="1046" y="1210"/>
                  </a:lnTo>
                  <a:lnTo>
                    <a:pt x="999" y="1218"/>
                  </a:lnTo>
                  <a:lnTo>
                    <a:pt x="951" y="1221"/>
                  </a:lnTo>
                  <a:lnTo>
                    <a:pt x="903" y="1218"/>
                  </a:lnTo>
                  <a:lnTo>
                    <a:pt x="858" y="1210"/>
                  </a:lnTo>
                  <a:lnTo>
                    <a:pt x="815" y="1197"/>
                  </a:lnTo>
                  <a:lnTo>
                    <a:pt x="774" y="1179"/>
                  </a:lnTo>
                  <a:lnTo>
                    <a:pt x="735" y="1155"/>
                  </a:lnTo>
                  <a:lnTo>
                    <a:pt x="700" y="1129"/>
                  </a:lnTo>
                  <a:lnTo>
                    <a:pt x="668" y="1099"/>
                  </a:lnTo>
                  <a:lnTo>
                    <a:pt x="636" y="1129"/>
                  </a:lnTo>
                  <a:lnTo>
                    <a:pt x="601" y="1155"/>
                  </a:lnTo>
                  <a:lnTo>
                    <a:pt x="562" y="1179"/>
                  </a:lnTo>
                  <a:lnTo>
                    <a:pt x="521" y="1197"/>
                  </a:lnTo>
                  <a:lnTo>
                    <a:pt x="479" y="1210"/>
                  </a:lnTo>
                  <a:lnTo>
                    <a:pt x="433" y="1218"/>
                  </a:lnTo>
                  <a:lnTo>
                    <a:pt x="386" y="1221"/>
                  </a:lnTo>
                  <a:lnTo>
                    <a:pt x="337" y="1218"/>
                  </a:lnTo>
                  <a:lnTo>
                    <a:pt x="291" y="1210"/>
                  </a:lnTo>
                  <a:lnTo>
                    <a:pt x="246" y="1196"/>
                  </a:lnTo>
                  <a:lnTo>
                    <a:pt x="205" y="1177"/>
                  </a:lnTo>
                  <a:lnTo>
                    <a:pt x="165" y="1152"/>
                  </a:lnTo>
                  <a:lnTo>
                    <a:pt x="129" y="1125"/>
                  </a:lnTo>
                  <a:lnTo>
                    <a:pt x="98" y="1093"/>
                  </a:lnTo>
                  <a:lnTo>
                    <a:pt x="69" y="1057"/>
                  </a:lnTo>
                  <a:lnTo>
                    <a:pt x="45" y="1017"/>
                  </a:lnTo>
                  <a:lnTo>
                    <a:pt x="25" y="976"/>
                  </a:lnTo>
                  <a:lnTo>
                    <a:pt x="12" y="932"/>
                  </a:lnTo>
                  <a:lnTo>
                    <a:pt x="3" y="886"/>
                  </a:lnTo>
                  <a:lnTo>
                    <a:pt x="0" y="838"/>
                  </a:lnTo>
                  <a:lnTo>
                    <a:pt x="3" y="789"/>
                  </a:lnTo>
                  <a:lnTo>
                    <a:pt x="12" y="743"/>
                  </a:lnTo>
                  <a:lnTo>
                    <a:pt x="26" y="698"/>
                  </a:lnTo>
                  <a:lnTo>
                    <a:pt x="46" y="656"/>
                  </a:lnTo>
                  <a:lnTo>
                    <a:pt x="69" y="618"/>
                  </a:lnTo>
                  <a:lnTo>
                    <a:pt x="98" y="581"/>
                  </a:lnTo>
                  <a:lnTo>
                    <a:pt x="130" y="550"/>
                  </a:lnTo>
                  <a:lnTo>
                    <a:pt x="167" y="522"/>
                  </a:lnTo>
                  <a:lnTo>
                    <a:pt x="206" y="498"/>
                  </a:lnTo>
                  <a:lnTo>
                    <a:pt x="248" y="479"/>
                  </a:lnTo>
                  <a:lnTo>
                    <a:pt x="293" y="465"/>
                  </a:lnTo>
                  <a:lnTo>
                    <a:pt x="286" y="425"/>
                  </a:lnTo>
                  <a:lnTo>
                    <a:pt x="284" y="385"/>
                  </a:lnTo>
                  <a:lnTo>
                    <a:pt x="287" y="336"/>
                  </a:lnTo>
                  <a:lnTo>
                    <a:pt x="296" y="289"/>
                  </a:lnTo>
                  <a:lnTo>
                    <a:pt x="310" y="246"/>
                  </a:lnTo>
                  <a:lnTo>
                    <a:pt x="329" y="204"/>
                  </a:lnTo>
                  <a:lnTo>
                    <a:pt x="353" y="165"/>
                  </a:lnTo>
                  <a:lnTo>
                    <a:pt x="382" y="129"/>
                  </a:lnTo>
                  <a:lnTo>
                    <a:pt x="413" y="97"/>
                  </a:lnTo>
                  <a:lnTo>
                    <a:pt x="450" y="69"/>
                  </a:lnTo>
                  <a:lnTo>
                    <a:pt x="489" y="45"/>
                  </a:lnTo>
                  <a:lnTo>
                    <a:pt x="530" y="26"/>
                  </a:lnTo>
                  <a:lnTo>
                    <a:pt x="575" y="11"/>
                  </a:lnTo>
                  <a:lnTo>
                    <a:pt x="621" y="3"/>
                  </a:lnTo>
                  <a:lnTo>
                    <a:pt x="6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99" name="Freeform 243">
              <a:extLst>
                <a:ext uri="{FF2B5EF4-FFF2-40B4-BE49-F238E27FC236}">
                  <a16:creationId xmlns:a16="http://schemas.microsoft.com/office/drawing/2014/main" id="{A60DFBF1-FAB1-B35A-0F8F-EC9C4287C5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0775" y="4943475"/>
              <a:ext cx="136525" cy="46038"/>
            </a:xfrm>
            <a:custGeom>
              <a:avLst/>
              <a:gdLst>
                <a:gd name="T0" fmla="*/ 0 w 428"/>
                <a:gd name="T1" fmla="*/ 0 h 142"/>
                <a:gd name="T2" fmla="*/ 287 w 428"/>
                <a:gd name="T3" fmla="*/ 0 h 142"/>
                <a:gd name="T4" fmla="*/ 428 w 428"/>
                <a:gd name="T5" fmla="*/ 142 h 142"/>
                <a:gd name="T6" fmla="*/ 0 w 428"/>
                <a:gd name="T7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8" h="142">
                  <a:moveTo>
                    <a:pt x="0" y="0"/>
                  </a:moveTo>
                  <a:lnTo>
                    <a:pt x="287" y="0"/>
                  </a:lnTo>
                  <a:lnTo>
                    <a:pt x="428" y="14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E441A417-47A6-9E69-427A-658CCF50E0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07275" y="4870450"/>
              <a:ext cx="141288" cy="952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35CE587C-DE5F-DBDC-CBFA-6F8B70A0FD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07275" y="4889500"/>
              <a:ext cx="14288" cy="952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E623F8F9-08D3-3935-41A9-68BDC1B128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7913" y="4889500"/>
              <a:ext cx="14288" cy="952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A9B262CA-B6D8-D4FC-53CF-B4F9F87549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138" y="4889500"/>
              <a:ext cx="14288" cy="952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CA1DFD7D-743A-4428-86F0-97A9FB1F3F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0775" y="4889500"/>
              <a:ext cx="14288" cy="952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C8A0A42F-3230-B26E-04E2-DE775E1FF4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07275" y="4908550"/>
              <a:ext cx="17463" cy="952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0C5416F7-7885-0C35-CD73-FB531D0715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34263" y="4908550"/>
              <a:ext cx="17463" cy="952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4B667810-AC1C-DAC1-9B7A-1C833AF214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62838" y="4908550"/>
              <a:ext cx="17463" cy="952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F1AEEC83-DD9C-E245-6C30-FE9B76F76C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89825" y="4908550"/>
              <a:ext cx="17463" cy="952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12" name="Freeform 253">
              <a:extLst>
                <a:ext uri="{FF2B5EF4-FFF2-40B4-BE49-F238E27FC236}">
                  <a16:creationId xmlns:a16="http://schemas.microsoft.com/office/drawing/2014/main" id="{65542639-E110-5CA4-3CAC-EEC28A797D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40675" y="4875213"/>
              <a:ext cx="184150" cy="73025"/>
            </a:xfrm>
            <a:custGeom>
              <a:avLst/>
              <a:gdLst>
                <a:gd name="T0" fmla="*/ 503 w 578"/>
                <a:gd name="T1" fmla="*/ 32 h 229"/>
                <a:gd name="T2" fmla="*/ 489 w 578"/>
                <a:gd name="T3" fmla="*/ 35 h 229"/>
                <a:gd name="T4" fmla="*/ 476 w 578"/>
                <a:gd name="T5" fmla="*/ 41 h 229"/>
                <a:gd name="T6" fmla="*/ 467 w 578"/>
                <a:gd name="T7" fmla="*/ 50 h 229"/>
                <a:gd name="T8" fmla="*/ 461 w 578"/>
                <a:gd name="T9" fmla="*/ 62 h 229"/>
                <a:gd name="T10" fmla="*/ 458 w 578"/>
                <a:gd name="T11" fmla="*/ 76 h 229"/>
                <a:gd name="T12" fmla="*/ 461 w 578"/>
                <a:gd name="T13" fmla="*/ 90 h 229"/>
                <a:gd name="T14" fmla="*/ 467 w 578"/>
                <a:gd name="T15" fmla="*/ 102 h 229"/>
                <a:gd name="T16" fmla="*/ 476 w 578"/>
                <a:gd name="T17" fmla="*/ 112 h 229"/>
                <a:gd name="T18" fmla="*/ 489 w 578"/>
                <a:gd name="T19" fmla="*/ 118 h 229"/>
                <a:gd name="T20" fmla="*/ 503 w 578"/>
                <a:gd name="T21" fmla="*/ 120 h 229"/>
                <a:gd name="T22" fmla="*/ 516 w 578"/>
                <a:gd name="T23" fmla="*/ 118 h 229"/>
                <a:gd name="T24" fmla="*/ 528 w 578"/>
                <a:gd name="T25" fmla="*/ 112 h 229"/>
                <a:gd name="T26" fmla="*/ 538 w 578"/>
                <a:gd name="T27" fmla="*/ 102 h 229"/>
                <a:gd name="T28" fmla="*/ 545 w 578"/>
                <a:gd name="T29" fmla="*/ 90 h 229"/>
                <a:gd name="T30" fmla="*/ 547 w 578"/>
                <a:gd name="T31" fmla="*/ 76 h 229"/>
                <a:gd name="T32" fmla="*/ 545 w 578"/>
                <a:gd name="T33" fmla="*/ 62 h 229"/>
                <a:gd name="T34" fmla="*/ 538 w 578"/>
                <a:gd name="T35" fmla="*/ 50 h 229"/>
                <a:gd name="T36" fmla="*/ 528 w 578"/>
                <a:gd name="T37" fmla="*/ 41 h 229"/>
                <a:gd name="T38" fmla="*/ 516 w 578"/>
                <a:gd name="T39" fmla="*/ 35 h 229"/>
                <a:gd name="T40" fmla="*/ 503 w 578"/>
                <a:gd name="T41" fmla="*/ 32 h 229"/>
                <a:gd name="T42" fmla="*/ 503 w 578"/>
                <a:gd name="T43" fmla="*/ 0 h 229"/>
                <a:gd name="T44" fmla="*/ 523 w 578"/>
                <a:gd name="T45" fmla="*/ 3 h 229"/>
                <a:gd name="T46" fmla="*/ 540 w 578"/>
                <a:gd name="T47" fmla="*/ 10 h 229"/>
                <a:gd name="T48" fmla="*/ 556 w 578"/>
                <a:gd name="T49" fmla="*/ 23 h 229"/>
                <a:gd name="T50" fmla="*/ 568 w 578"/>
                <a:gd name="T51" fmla="*/ 38 h 229"/>
                <a:gd name="T52" fmla="*/ 576 w 578"/>
                <a:gd name="T53" fmla="*/ 56 h 229"/>
                <a:gd name="T54" fmla="*/ 578 w 578"/>
                <a:gd name="T55" fmla="*/ 76 h 229"/>
                <a:gd name="T56" fmla="*/ 576 w 578"/>
                <a:gd name="T57" fmla="*/ 97 h 229"/>
                <a:gd name="T58" fmla="*/ 568 w 578"/>
                <a:gd name="T59" fmla="*/ 114 h 229"/>
                <a:gd name="T60" fmla="*/ 556 w 578"/>
                <a:gd name="T61" fmla="*/ 129 h 229"/>
                <a:gd name="T62" fmla="*/ 540 w 578"/>
                <a:gd name="T63" fmla="*/ 141 h 229"/>
                <a:gd name="T64" fmla="*/ 523 w 578"/>
                <a:gd name="T65" fmla="*/ 149 h 229"/>
                <a:gd name="T66" fmla="*/ 503 w 578"/>
                <a:gd name="T67" fmla="*/ 151 h 229"/>
                <a:gd name="T68" fmla="*/ 481 w 578"/>
                <a:gd name="T69" fmla="*/ 148 h 229"/>
                <a:gd name="T70" fmla="*/ 463 w 578"/>
                <a:gd name="T71" fmla="*/ 140 h 229"/>
                <a:gd name="T72" fmla="*/ 447 w 578"/>
                <a:gd name="T73" fmla="*/ 128 h 229"/>
                <a:gd name="T74" fmla="*/ 436 w 578"/>
                <a:gd name="T75" fmla="*/ 112 h 229"/>
                <a:gd name="T76" fmla="*/ 428 w 578"/>
                <a:gd name="T77" fmla="*/ 92 h 229"/>
                <a:gd name="T78" fmla="*/ 160 w 578"/>
                <a:gd name="T79" fmla="*/ 92 h 229"/>
                <a:gd name="T80" fmla="*/ 22 w 578"/>
                <a:gd name="T81" fmla="*/ 229 h 229"/>
                <a:gd name="T82" fmla="*/ 0 w 578"/>
                <a:gd name="T83" fmla="*/ 206 h 229"/>
                <a:gd name="T84" fmla="*/ 146 w 578"/>
                <a:gd name="T85" fmla="*/ 60 h 229"/>
                <a:gd name="T86" fmla="*/ 428 w 578"/>
                <a:gd name="T87" fmla="*/ 60 h 229"/>
                <a:gd name="T88" fmla="*/ 436 w 578"/>
                <a:gd name="T89" fmla="*/ 41 h 229"/>
                <a:gd name="T90" fmla="*/ 447 w 578"/>
                <a:gd name="T91" fmla="*/ 25 h 229"/>
                <a:gd name="T92" fmla="*/ 463 w 578"/>
                <a:gd name="T93" fmla="*/ 11 h 229"/>
                <a:gd name="T94" fmla="*/ 481 w 578"/>
                <a:gd name="T95" fmla="*/ 3 h 229"/>
                <a:gd name="T96" fmla="*/ 503 w 578"/>
                <a:gd name="T97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78" h="229">
                  <a:moveTo>
                    <a:pt x="503" y="32"/>
                  </a:moveTo>
                  <a:lnTo>
                    <a:pt x="489" y="35"/>
                  </a:lnTo>
                  <a:lnTo>
                    <a:pt x="476" y="41"/>
                  </a:lnTo>
                  <a:lnTo>
                    <a:pt x="467" y="50"/>
                  </a:lnTo>
                  <a:lnTo>
                    <a:pt x="461" y="62"/>
                  </a:lnTo>
                  <a:lnTo>
                    <a:pt x="458" y="76"/>
                  </a:lnTo>
                  <a:lnTo>
                    <a:pt x="461" y="90"/>
                  </a:lnTo>
                  <a:lnTo>
                    <a:pt x="467" y="102"/>
                  </a:lnTo>
                  <a:lnTo>
                    <a:pt x="476" y="112"/>
                  </a:lnTo>
                  <a:lnTo>
                    <a:pt x="489" y="118"/>
                  </a:lnTo>
                  <a:lnTo>
                    <a:pt x="503" y="120"/>
                  </a:lnTo>
                  <a:lnTo>
                    <a:pt x="516" y="118"/>
                  </a:lnTo>
                  <a:lnTo>
                    <a:pt x="528" y="112"/>
                  </a:lnTo>
                  <a:lnTo>
                    <a:pt x="538" y="102"/>
                  </a:lnTo>
                  <a:lnTo>
                    <a:pt x="545" y="90"/>
                  </a:lnTo>
                  <a:lnTo>
                    <a:pt x="547" y="76"/>
                  </a:lnTo>
                  <a:lnTo>
                    <a:pt x="545" y="62"/>
                  </a:lnTo>
                  <a:lnTo>
                    <a:pt x="538" y="50"/>
                  </a:lnTo>
                  <a:lnTo>
                    <a:pt x="528" y="41"/>
                  </a:lnTo>
                  <a:lnTo>
                    <a:pt x="516" y="35"/>
                  </a:lnTo>
                  <a:lnTo>
                    <a:pt x="503" y="32"/>
                  </a:lnTo>
                  <a:close/>
                  <a:moveTo>
                    <a:pt x="503" y="0"/>
                  </a:moveTo>
                  <a:lnTo>
                    <a:pt x="523" y="3"/>
                  </a:lnTo>
                  <a:lnTo>
                    <a:pt x="540" y="10"/>
                  </a:lnTo>
                  <a:lnTo>
                    <a:pt x="556" y="23"/>
                  </a:lnTo>
                  <a:lnTo>
                    <a:pt x="568" y="38"/>
                  </a:lnTo>
                  <a:lnTo>
                    <a:pt x="576" y="56"/>
                  </a:lnTo>
                  <a:lnTo>
                    <a:pt x="578" y="76"/>
                  </a:lnTo>
                  <a:lnTo>
                    <a:pt x="576" y="97"/>
                  </a:lnTo>
                  <a:lnTo>
                    <a:pt x="568" y="114"/>
                  </a:lnTo>
                  <a:lnTo>
                    <a:pt x="556" y="129"/>
                  </a:lnTo>
                  <a:lnTo>
                    <a:pt x="540" y="141"/>
                  </a:lnTo>
                  <a:lnTo>
                    <a:pt x="523" y="149"/>
                  </a:lnTo>
                  <a:lnTo>
                    <a:pt x="503" y="151"/>
                  </a:lnTo>
                  <a:lnTo>
                    <a:pt x="481" y="148"/>
                  </a:lnTo>
                  <a:lnTo>
                    <a:pt x="463" y="140"/>
                  </a:lnTo>
                  <a:lnTo>
                    <a:pt x="447" y="128"/>
                  </a:lnTo>
                  <a:lnTo>
                    <a:pt x="436" y="112"/>
                  </a:lnTo>
                  <a:lnTo>
                    <a:pt x="428" y="92"/>
                  </a:lnTo>
                  <a:lnTo>
                    <a:pt x="160" y="92"/>
                  </a:lnTo>
                  <a:lnTo>
                    <a:pt x="22" y="229"/>
                  </a:lnTo>
                  <a:lnTo>
                    <a:pt x="0" y="206"/>
                  </a:lnTo>
                  <a:lnTo>
                    <a:pt x="146" y="60"/>
                  </a:lnTo>
                  <a:lnTo>
                    <a:pt x="428" y="60"/>
                  </a:lnTo>
                  <a:lnTo>
                    <a:pt x="436" y="41"/>
                  </a:lnTo>
                  <a:lnTo>
                    <a:pt x="447" y="25"/>
                  </a:lnTo>
                  <a:lnTo>
                    <a:pt x="463" y="11"/>
                  </a:lnTo>
                  <a:lnTo>
                    <a:pt x="481" y="3"/>
                  </a:lnTo>
                  <a:lnTo>
                    <a:pt x="50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13" name="Freeform 254">
              <a:extLst>
                <a:ext uri="{FF2B5EF4-FFF2-40B4-BE49-F238E27FC236}">
                  <a16:creationId xmlns:a16="http://schemas.microsoft.com/office/drawing/2014/main" id="{EA349C93-1D5E-0873-B352-E15E1405E5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32750" y="4989513"/>
              <a:ext cx="155575" cy="60325"/>
            </a:xfrm>
            <a:custGeom>
              <a:avLst/>
              <a:gdLst>
                <a:gd name="T0" fmla="*/ 425 w 489"/>
                <a:gd name="T1" fmla="*/ 27 h 193"/>
                <a:gd name="T2" fmla="*/ 409 w 489"/>
                <a:gd name="T3" fmla="*/ 30 h 193"/>
                <a:gd name="T4" fmla="*/ 398 w 489"/>
                <a:gd name="T5" fmla="*/ 38 h 193"/>
                <a:gd name="T6" fmla="*/ 390 w 489"/>
                <a:gd name="T7" fmla="*/ 49 h 193"/>
                <a:gd name="T8" fmla="*/ 387 w 489"/>
                <a:gd name="T9" fmla="*/ 64 h 193"/>
                <a:gd name="T10" fmla="*/ 390 w 489"/>
                <a:gd name="T11" fmla="*/ 78 h 193"/>
                <a:gd name="T12" fmla="*/ 398 w 489"/>
                <a:gd name="T13" fmla="*/ 90 h 193"/>
                <a:gd name="T14" fmla="*/ 409 w 489"/>
                <a:gd name="T15" fmla="*/ 98 h 193"/>
                <a:gd name="T16" fmla="*/ 425 w 489"/>
                <a:gd name="T17" fmla="*/ 101 h 193"/>
                <a:gd name="T18" fmla="*/ 439 w 489"/>
                <a:gd name="T19" fmla="*/ 98 h 193"/>
                <a:gd name="T20" fmla="*/ 450 w 489"/>
                <a:gd name="T21" fmla="*/ 90 h 193"/>
                <a:gd name="T22" fmla="*/ 458 w 489"/>
                <a:gd name="T23" fmla="*/ 78 h 193"/>
                <a:gd name="T24" fmla="*/ 461 w 489"/>
                <a:gd name="T25" fmla="*/ 64 h 193"/>
                <a:gd name="T26" fmla="*/ 458 w 489"/>
                <a:gd name="T27" fmla="*/ 49 h 193"/>
                <a:gd name="T28" fmla="*/ 450 w 489"/>
                <a:gd name="T29" fmla="*/ 38 h 193"/>
                <a:gd name="T30" fmla="*/ 439 w 489"/>
                <a:gd name="T31" fmla="*/ 30 h 193"/>
                <a:gd name="T32" fmla="*/ 425 w 489"/>
                <a:gd name="T33" fmla="*/ 27 h 193"/>
                <a:gd name="T34" fmla="*/ 425 w 489"/>
                <a:gd name="T35" fmla="*/ 0 h 193"/>
                <a:gd name="T36" fmla="*/ 441 w 489"/>
                <a:gd name="T37" fmla="*/ 2 h 193"/>
                <a:gd name="T38" fmla="*/ 456 w 489"/>
                <a:gd name="T39" fmla="*/ 8 h 193"/>
                <a:gd name="T40" fmla="*/ 469 w 489"/>
                <a:gd name="T41" fmla="*/ 19 h 193"/>
                <a:gd name="T42" fmla="*/ 480 w 489"/>
                <a:gd name="T43" fmla="*/ 32 h 193"/>
                <a:gd name="T44" fmla="*/ 486 w 489"/>
                <a:gd name="T45" fmla="*/ 47 h 193"/>
                <a:gd name="T46" fmla="*/ 489 w 489"/>
                <a:gd name="T47" fmla="*/ 64 h 193"/>
                <a:gd name="T48" fmla="*/ 486 w 489"/>
                <a:gd name="T49" fmla="*/ 80 h 193"/>
                <a:gd name="T50" fmla="*/ 480 w 489"/>
                <a:gd name="T51" fmla="*/ 96 h 193"/>
                <a:gd name="T52" fmla="*/ 469 w 489"/>
                <a:gd name="T53" fmla="*/ 109 h 193"/>
                <a:gd name="T54" fmla="*/ 456 w 489"/>
                <a:gd name="T55" fmla="*/ 119 h 193"/>
                <a:gd name="T56" fmla="*/ 441 w 489"/>
                <a:gd name="T57" fmla="*/ 125 h 193"/>
                <a:gd name="T58" fmla="*/ 424 w 489"/>
                <a:gd name="T59" fmla="*/ 128 h 193"/>
                <a:gd name="T60" fmla="*/ 406 w 489"/>
                <a:gd name="T61" fmla="*/ 125 h 193"/>
                <a:gd name="T62" fmla="*/ 391 w 489"/>
                <a:gd name="T63" fmla="*/ 118 h 193"/>
                <a:gd name="T64" fmla="*/ 378 w 489"/>
                <a:gd name="T65" fmla="*/ 108 h 193"/>
                <a:gd name="T66" fmla="*/ 368 w 489"/>
                <a:gd name="T67" fmla="*/ 94 h 193"/>
                <a:gd name="T68" fmla="*/ 361 w 489"/>
                <a:gd name="T69" fmla="*/ 77 h 193"/>
                <a:gd name="T70" fmla="*/ 135 w 489"/>
                <a:gd name="T71" fmla="*/ 77 h 193"/>
                <a:gd name="T72" fmla="*/ 19 w 489"/>
                <a:gd name="T73" fmla="*/ 193 h 193"/>
                <a:gd name="T74" fmla="*/ 0 w 489"/>
                <a:gd name="T75" fmla="*/ 174 h 193"/>
                <a:gd name="T76" fmla="*/ 124 w 489"/>
                <a:gd name="T77" fmla="*/ 50 h 193"/>
                <a:gd name="T78" fmla="*/ 361 w 489"/>
                <a:gd name="T79" fmla="*/ 50 h 193"/>
                <a:gd name="T80" fmla="*/ 368 w 489"/>
                <a:gd name="T81" fmla="*/ 34 h 193"/>
                <a:gd name="T82" fmla="*/ 378 w 489"/>
                <a:gd name="T83" fmla="*/ 21 h 193"/>
                <a:gd name="T84" fmla="*/ 391 w 489"/>
                <a:gd name="T85" fmla="*/ 9 h 193"/>
                <a:gd name="T86" fmla="*/ 406 w 489"/>
                <a:gd name="T87" fmla="*/ 2 h 193"/>
                <a:gd name="T88" fmla="*/ 425 w 489"/>
                <a:gd name="T89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89" h="193">
                  <a:moveTo>
                    <a:pt x="425" y="27"/>
                  </a:moveTo>
                  <a:lnTo>
                    <a:pt x="409" y="30"/>
                  </a:lnTo>
                  <a:lnTo>
                    <a:pt x="398" y="38"/>
                  </a:lnTo>
                  <a:lnTo>
                    <a:pt x="390" y="49"/>
                  </a:lnTo>
                  <a:lnTo>
                    <a:pt x="387" y="64"/>
                  </a:lnTo>
                  <a:lnTo>
                    <a:pt x="390" y="78"/>
                  </a:lnTo>
                  <a:lnTo>
                    <a:pt x="398" y="90"/>
                  </a:lnTo>
                  <a:lnTo>
                    <a:pt x="409" y="98"/>
                  </a:lnTo>
                  <a:lnTo>
                    <a:pt x="425" y="101"/>
                  </a:lnTo>
                  <a:lnTo>
                    <a:pt x="439" y="98"/>
                  </a:lnTo>
                  <a:lnTo>
                    <a:pt x="450" y="90"/>
                  </a:lnTo>
                  <a:lnTo>
                    <a:pt x="458" y="78"/>
                  </a:lnTo>
                  <a:lnTo>
                    <a:pt x="461" y="64"/>
                  </a:lnTo>
                  <a:lnTo>
                    <a:pt x="458" y="49"/>
                  </a:lnTo>
                  <a:lnTo>
                    <a:pt x="450" y="38"/>
                  </a:lnTo>
                  <a:lnTo>
                    <a:pt x="439" y="30"/>
                  </a:lnTo>
                  <a:lnTo>
                    <a:pt x="425" y="27"/>
                  </a:lnTo>
                  <a:close/>
                  <a:moveTo>
                    <a:pt x="425" y="0"/>
                  </a:moveTo>
                  <a:lnTo>
                    <a:pt x="441" y="2"/>
                  </a:lnTo>
                  <a:lnTo>
                    <a:pt x="456" y="8"/>
                  </a:lnTo>
                  <a:lnTo>
                    <a:pt x="469" y="19"/>
                  </a:lnTo>
                  <a:lnTo>
                    <a:pt x="480" y="32"/>
                  </a:lnTo>
                  <a:lnTo>
                    <a:pt x="486" y="47"/>
                  </a:lnTo>
                  <a:lnTo>
                    <a:pt x="489" y="64"/>
                  </a:lnTo>
                  <a:lnTo>
                    <a:pt x="486" y="80"/>
                  </a:lnTo>
                  <a:lnTo>
                    <a:pt x="480" y="96"/>
                  </a:lnTo>
                  <a:lnTo>
                    <a:pt x="469" y="109"/>
                  </a:lnTo>
                  <a:lnTo>
                    <a:pt x="456" y="119"/>
                  </a:lnTo>
                  <a:lnTo>
                    <a:pt x="441" y="125"/>
                  </a:lnTo>
                  <a:lnTo>
                    <a:pt x="424" y="128"/>
                  </a:lnTo>
                  <a:lnTo>
                    <a:pt x="406" y="125"/>
                  </a:lnTo>
                  <a:lnTo>
                    <a:pt x="391" y="118"/>
                  </a:lnTo>
                  <a:lnTo>
                    <a:pt x="378" y="108"/>
                  </a:lnTo>
                  <a:lnTo>
                    <a:pt x="368" y="94"/>
                  </a:lnTo>
                  <a:lnTo>
                    <a:pt x="361" y="77"/>
                  </a:lnTo>
                  <a:lnTo>
                    <a:pt x="135" y="77"/>
                  </a:lnTo>
                  <a:lnTo>
                    <a:pt x="19" y="193"/>
                  </a:lnTo>
                  <a:lnTo>
                    <a:pt x="0" y="174"/>
                  </a:lnTo>
                  <a:lnTo>
                    <a:pt x="124" y="50"/>
                  </a:lnTo>
                  <a:lnTo>
                    <a:pt x="361" y="50"/>
                  </a:lnTo>
                  <a:lnTo>
                    <a:pt x="368" y="34"/>
                  </a:lnTo>
                  <a:lnTo>
                    <a:pt x="378" y="21"/>
                  </a:lnTo>
                  <a:lnTo>
                    <a:pt x="391" y="9"/>
                  </a:lnTo>
                  <a:lnTo>
                    <a:pt x="406" y="2"/>
                  </a:lnTo>
                  <a:lnTo>
                    <a:pt x="4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CCEBA7C4-2AB3-ED81-84AF-0D752A4F1F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5138" y="5168900"/>
              <a:ext cx="15875" cy="6350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607BDA20-B614-7187-B71B-ACB48FE674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20063" y="5148263"/>
              <a:ext cx="15875" cy="8413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E0AD17BD-0DBD-4AA9-56E3-CCF136F24C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54988" y="5122863"/>
              <a:ext cx="15875" cy="10953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057A7F35-8E37-3DE9-3E0E-81563DFE56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88325" y="5094288"/>
              <a:ext cx="17463" cy="13811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2FB7B83D-A08F-D4BB-AEAB-408706EF74C4}"/>
              </a:ext>
            </a:extLst>
          </p:cNvPr>
          <p:cNvGrpSpPr/>
          <p:nvPr/>
        </p:nvGrpSpPr>
        <p:grpSpPr>
          <a:xfrm>
            <a:off x="6606725" y="2785532"/>
            <a:ext cx="765274" cy="545803"/>
            <a:chOff x="7458075" y="4549776"/>
            <a:chExt cx="1057275" cy="754062"/>
          </a:xfrm>
          <a:solidFill>
            <a:schemeClr val="bg1"/>
          </a:solidFill>
        </p:grpSpPr>
        <p:sp>
          <p:nvSpPr>
            <p:cNvPr id="119" name="Freeform 206">
              <a:extLst>
                <a:ext uri="{FF2B5EF4-FFF2-40B4-BE49-F238E27FC236}">
                  <a16:creationId xmlns:a16="http://schemas.microsoft.com/office/drawing/2014/main" id="{C4444E91-3EC3-9B12-0CFC-82C86FB9AD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12050" y="4549776"/>
              <a:ext cx="947738" cy="581025"/>
            </a:xfrm>
            <a:custGeom>
              <a:avLst/>
              <a:gdLst>
                <a:gd name="T0" fmla="*/ 128 w 2986"/>
                <a:gd name="T1" fmla="*/ 128 h 1832"/>
                <a:gd name="T2" fmla="*/ 128 w 2986"/>
                <a:gd name="T3" fmla="*/ 1704 h 1832"/>
                <a:gd name="T4" fmla="*/ 2859 w 2986"/>
                <a:gd name="T5" fmla="*/ 1704 h 1832"/>
                <a:gd name="T6" fmla="*/ 2859 w 2986"/>
                <a:gd name="T7" fmla="*/ 128 h 1832"/>
                <a:gd name="T8" fmla="*/ 128 w 2986"/>
                <a:gd name="T9" fmla="*/ 128 h 1832"/>
                <a:gd name="T10" fmla="*/ 128 w 2986"/>
                <a:gd name="T11" fmla="*/ 0 h 1832"/>
                <a:gd name="T12" fmla="*/ 2859 w 2986"/>
                <a:gd name="T13" fmla="*/ 0 h 1832"/>
                <a:gd name="T14" fmla="*/ 2885 w 2986"/>
                <a:gd name="T15" fmla="*/ 3 h 1832"/>
                <a:gd name="T16" fmla="*/ 2909 w 2986"/>
                <a:gd name="T17" fmla="*/ 10 h 1832"/>
                <a:gd name="T18" fmla="*/ 2930 w 2986"/>
                <a:gd name="T19" fmla="*/ 22 h 1832"/>
                <a:gd name="T20" fmla="*/ 2950 w 2986"/>
                <a:gd name="T21" fmla="*/ 38 h 1832"/>
                <a:gd name="T22" fmla="*/ 2965 w 2986"/>
                <a:gd name="T23" fmla="*/ 57 h 1832"/>
                <a:gd name="T24" fmla="*/ 2977 w 2986"/>
                <a:gd name="T25" fmla="*/ 78 h 1832"/>
                <a:gd name="T26" fmla="*/ 2984 w 2986"/>
                <a:gd name="T27" fmla="*/ 102 h 1832"/>
                <a:gd name="T28" fmla="*/ 2986 w 2986"/>
                <a:gd name="T29" fmla="*/ 128 h 1832"/>
                <a:gd name="T30" fmla="*/ 2986 w 2986"/>
                <a:gd name="T31" fmla="*/ 1704 h 1832"/>
                <a:gd name="T32" fmla="*/ 2984 w 2986"/>
                <a:gd name="T33" fmla="*/ 1730 h 1832"/>
                <a:gd name="T34" fmla="*/ 2977 w 2986"/>
                <a:gd name="T35" fmla="*/ 1754 h 1832"/>
                <a:gd name="T36" fmla="*/ 2965 w 2986"/>
                <a:gd name="T37" fmla="*/ 1776 h 1832"/>
                <a:gd name="T38" fmla="*/ 2950 w 2986"/>
                <a:gd name="T39" fmla="*/ 1794 h 1832"/>
                <a:gd name="T40" fmla="*/ 2930 w 2986"/>
                <a:gd name="T41" fmla="*/ 1811 h 1832"/>
                <a:gd name="T42" fmla="*/ 2909 w 2986"/>
                <a:gd name="T43" fmla="*/ 1822 h 1832"/>
                <a:gd name="T44" fmla="*/ 2885 w 2986"/>
                <a:gd name="T45" fmla="*/ 1830 h 1832"/>
                <a:gd name="T46" fmla="*/ 2859 w 2986"/>
                <a:gd name="T47" fmla="*/ 1832 h 1832"/>
                <a:gd name="T48" fmla="*/ 128 w 2986"/>
                <a:gd name="T49" fmla="*/ 1832 h 1832"/>
                <a:gd name="T50" fmla="*/ 103 w 2986"/>
                <a:gd name="T51" fmla="*/ 1830 h 1832"/>
                <a:gd name="T52" fmla="*/ 78 w 2986"/>
                <a:gd name="T53" fmla="*/ 1822 h 1832"/>
                <a:gd name="T54" fmla="*/ 57 w 2986"/>
                <a:gd name="T55" fmla="*/ 1811 h 1832"/>
                <a:gd name="T56" fmla="*/ 38 w 2986"/>
                <a:gd name="T57" fmla="*/ 1794 h 1832"/>
                <a:gd name="T58" fmla="*/ 22 w 2986"/>
                <a:gd name="T59" fmla="*/ 1776 h 1832"/>
                <a:gd name="T60" fmla="*/ 10 w 2986"/>
                <a:gd name="T61" fmla="*/ 1754 h 1832"/>
                <a:gd name="T62" fmla="*/ 3 w 2986"/>
                <a:gd name="T63" fmla="*/ 1730 h 1832"/>
                <a:gd name="T64" fmla="*/ 0 w 2986"/>
                <a:gd name="T65" fmla="*/ 1704 h 1832"/>
                <a:gd name="T66" fmla="*/ 0 w 2986"/>
                <a:gd name="T67" fmla="*/ 128 h 1832"/>
                <a:gd name="T68" fmla="*/ 3 w 2986"/>
                <a:gd name="T69" fmla="*/ 102 h 1832"/>
                <a:gd name="T70" fmla="*/ 10 w 2986"/>
                <a:gd name="T71" fmla="*/ 78 h 1832"/>
                <a:gd name="T72" fmla="*/ 22 w 2986"/>
                <a:gd name="T73" fmla="*/ 57 h 1832"/>
                <a:gd name="T74" fmla="*/ 38 w 2986"/>
                <a:gd name="T75" fmla="*/ 38 h 1832"/>
                <a:gd name="T76" fmla="*/ 57 w 2986"/>
                <a:gd name="T77" fmla="*/ 22 h 1832"/>
                <a:gd name="T78" fmla="*/ 78 w 2986"/>
                <a:gd name="T79" fmla="*/ 10 h 1832"/>
                <a:gd name="T80" fmla="*/ 103 w 2986"/>
                <a:gd name="T81" fmla="*/ 3 h 1832"/>
                <a:gd name="T82" fmla="*/ 128 w 2986"/>
                <a:gd name="T83" fmla="*/ 0 h 1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986" h="1832">
                  <a:moveTo>
                    <a:pt x="128" y="128"/>
                  </a:moveTo>
                  <a:lnTo>
                    <a:pt x="128" y="1704"/>
                  </a:lnTo>
                  <a:lnTo>
                    <a:pt x="2859" y="1704"/>
                  </a:lnTo>
                  <a:lnTo>
                    <a:pt x="2859" y="128"/>
                  </a:lnTo>
                  <a:lnTo>
                    <a:pt x="128" y="128"/>
                  </a:lnTo>
                  <a:close/>
                  <a:moveTo>
                    <a:pt x="128" y="0"/>
                  </a:moveTo>
                  <a:lnTo>
                    <a:pt x="2859" y="0"/>
                  </a:lnTo>
                  <a:lnTo>
                    <a:pt x="2885" y="3"/>
                  </a:lnTo>
                  <a:lnTo>
                    <a:pt x="2909" y="10"/>
                  </a:lnTo>
                  <a:lnTo>
                    <a:pt x="2930" y="22"/>
                  </a:lnTo>
                  <a:lnTo>
                    <a:pt x="2950" y="38"/>
                  </a:lnTo>
                  <a:lnTo>
                    <a:pt x="2965" y="57"/>
                  </a:lnTo>
                  <a:lnTo>
                    <a:pt x="2977" y="78"/>
                  </a:lnTo>
                  <a:lnTo>
                    <a:pt x="2984" y="102"/>
                  </a:lnTo>
                  <a:lnTo>
                    <a:pt x="2986" y="128"/>
                  </a:lnTo>
                  <a:lnTo>
                    <a:pt x="2986" y="1704"/>
                  </a:lnTo>
                  <a:lnTo>
                    <a:pt x="2984" y="1730"/>
                  </a:lnTo>
                  <a:lnTo>
                    <a:pt x="2977" y="1754"/>
                  </a:lnTo>
                  <a:lnTo>
                    <a:pt x="2965" y="1776"/>
                  </a:lnTo>
                  <a:lnTo>
                    <a:pt x="2950" y="1794"/>
                  </a:lnTo>
                  <a:lnTo>
                    <a:pt x="2930" y="1811"/>
                  </a:lnTo>
                  <a:lnTo>
                    <a:pt x="2909" y="1822"/>
                  </a:lnTo>
                  <a:lnTo>
                    <a:pt x="2885" y="1830"/>
                  </a:lnTo>
                  <a:lnTo>
                    <a:pt x="2859" y="1832"/>
                  </a:lnTo>
                  <a:lnTo>
                    <a:pt x="128" y="1832"/>
                  </a:lnTo>
                  <a:lnTo>
                    <a:pt x="103" y="1830"/>
                  </a:lnTo>
                  <a:lnTo>
                    <a:pt x="78" y="1822"/>
                  </a:lnTo>
                  <a:lnTo>
                    <a:pt x="57" y="1811"/>
                  </a:lnTo>
                  <a:lnTo>
                    <a:pt x="38" y="1794"/>
                  </a:lnTo>
                  <a:lnTo>
                    <a:pt x="22" y="1776"/>
                  </a:lnTo>
                  <a:lnTo>
                    <a:pt x="10" y="1754"/>
                  </a:lnTo>
                  <a:lnTo>
                    <a:pt x="3" y="1730"/>
                  </a:lnTo>
                  <a:lnTo>
                    <a:pt x="0" y="1704"/>
                  </a:lnTo>
                  <a:lnTo>
                    <a:pt x="0" y="128"/>
                  </a:lnTo>
                  <a:lnTo>
                    <a:pt x="3" y="102"/>
                  </a:lnTo>
                  <a:lnTo>
                    <a:pt x="10" y="78"/>
                  </a:lnTo>
                  <a:lnTo>
                    <a:pt x="22" y="57"/>
                  </a:lnTo>
                  <a:lnTo>
                    <a:pt x="38" y="38"/>
                  </a:lnTo>
                  <a:lnTo>
                    <a:pt x="57" y="22"/>
                  </a:lnTo>
                  <a:lnTo>
                    <a:pt x="78" y="10"/>
                  </a:lnTo>
                  <a:lnTo>
                    <a:pt x="103" y="3"/>
                  </a:lnTo>
                  <a:lnTo>
                    <a:pt x="1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20" name="Freeform 207">
              <a:extLst>
                <a:ext uri="{FF2B5EF4-FFF2-40B4-BE49-F238E27FC236}">
                  <a16:creationId xmlns:a16="http://schemas.microsoft.com/office/drawing/2014/main" id="{D8FEED8A-1C4E-C937-3303-E7589835E2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58075" y="5253038"/>
              <a:ext cx="1057275" cy="50800"/>
            </a:xfrm>
            <a:custGeom>
              <a:avLst/>
              <a:gdLst>
                <a:gd name="T0" fmla="*/ 1426 w 3328"/>
                <a:gd name="T1" fmla="*/ 64 h 161"/>
                <a:gd name="T2" fmla="*/ 1416 w 3328"/>
                <a:gd name="T3" fmla="*/ 80 h 161"/>
                <a:gd name="T4" fmla="*/ 1426 w 3328"/>
                <a:gd name="T5" fmla="*/ 98 h 161"/>
                <a:gd name="T6" fmla="*/ 1893 w 3328"/>
                <a:gd name="T7" fmla="*/ 100 h 161"/>
                <a:gd name="T8" fmla="*/ 1910 w 3328"/>
                <a:gd name="T9" fmla="*/ 90 h 161"/>
                <a:gd name="T10" fmla="*/ 1910 w 3328"/>
                <a:gd name="T11" fmla="*/ 71 h 161"/>
                <a:gd name="T12" fmla="*/ 1893 w 3328"/>
                <a:gd name="T13" fmla="*/ 61 h 161"/>
                <a:gd name="T14" fmla="*/ 34 w 3328"/>
                <a:gd name="T15" fmla="*/ 0 h 161"/>
                <a:gd name="T16" fmla="*/ 46 w 3328"/>
                <a:gd name="T17" fmla="*/ 2 h 161"/>
                <a:gd name="T18" fmla="*/ 3291 w 3328"/>
                <a:gd name="T19" fmla="*/ 2 h 161"/>
                <a:gd name="T20" fmla="*/ 3309 w 3328"/>
                <a:gd name="T21" fmla="*/ 2 h 161"/>
                <a:gd name="T22" fmla="*/ 3325 w 3328"/>
                <a:gd name="T23" fmla="*/ 17 h 161"/>
                <a:gd name="T24" fmla="*/ 3328 w 3328"/>
                <a:gd name="T25" fmla="*/ 41 h 161"/>
                <a:gd name="T26" fmla="*/ 3317 w 3328"/>
                <a:gd name="T27" fmla="*/ 61 h 161"/>
                <a:gd name="T28" fmla="*/ 3286 w 3328"/>
                <a:gd name="T29" fmla="*/ 78 h 161"/>
                <a:gd name="T30" fmla="*/ 3228 w 3328"/>
                <a:gd name="T31" fmla="*/ 93 h 161"/>
                <a:gd name="T32" fmla="*/ 3146 w 3328"/>
                <a:gd name="T33" fmla="*/ 108 h 161"/>
                <a:gd name="T34" fmla="*/ 3045 w 3328"/>
                <a:gd name="T35" fmla="*/ 119 h 161"/>
                <a:gd name="T36" fmla="*/ 2928 w 3328"/>
                <a:gd name="T37" fmla="*/ 128 h 161"/>
                <a:gd name="T38" fmla="*/ 2799 w 3328"/>
                <a:gd name="T39" fmla="*/ 136 h 161"/>
                <a:gd name="T40" fmla="*/ 2661 w 3328"/>
                <a:gd name="T41" fmla="*/ 143 h 161"/>
                <a:gd name="T42" fmla="*/ 2516 w 3328"/>
                <a:gd name="T43" fmla="*/ 148 h 161"/>
                <a:gd name="T44" fmla="*/ 2370 w 3328"/>
                <a:gd name="T45" fmla="*/ 153 h 161"/>
                <a:gd name="T46" fmla="*/ 2226 w 3328"/>
                <a:gd name="T47" fmla="*/ 156 h 161"/>
                <a:gd name="T48" fmla="*/ 2085 w 3328"/>
                <a:gd name="T49" fmla="*/ 158 h 161"/>
                <a:gd name="T50" fmla="*/ 1955 w 3328"/>
                <a:gd name="T51" fmla="*/ 159 h 161"/>
                <a:gd name="T52" fmla="*/ 1835 w 3328"/>
                <a:gd name="T53" fmla="*/ 160 h 161"/>
                <a:gd name="T54" fmla="*/ 1732 w 3328"/>
                <a:gd name="T55" fmla="*/ 161 h 161"/>
                <a:gd name="T56" fmla="*/ 1646 w 3328"/>
                <a:gd name="T57" fmla="*/ 161 h 161"/>
                <a:gd name="T58" fmla="*/ 1377 w 3328"/>
                <a:gd name="T59" fmla="*/ 160 h 161"/>
                <a:gd name="T60" fmla="*/ 1118 w 3328"/>
                <a:gd name="T61" fmla="*/ 156 h 161"/>
                <a:gd name="T62" fmla="*/ 877 w 3328"/>
                <a:gd name="T63" fmla="*/ 151 h 161"/>
                <a:gd name="T64" fmla="*/ 657 w 3328"/>
                <a:gd name="T65" fmla="*/ 143 h 161"/>
                <a:gd name="T66" fmla="*/ 484 w 3328"/>
                <a:gd name="T67" fmla="*/ 135 h 161"/>
                <a:gd name="T68" fmla="*/ 357 w 3328"/>
                <a:gd name="T69" fmla="*/ 127 h 161"/>
                <a:gd name="T70" fmla="*/ 256 w 3328"/>
                <a:gd name="T71" fmla="*/ 119 h 161"/>
                <a:gd name="T72" fmla="*/ 177 w 3328"/>
                <a:gd name="T73" fmla="*/ 110 h 161"/>
                <a:gd name="T74" fmla="*/ 117 w 3328"/>
                <a:gd name="T75" fmla="*/ 101 h 161"/>
                <a:gd name="T76" fmla="*/ 74 w 3328"/>
                <a:gd name="T77" fmla="*/ 92 h 161"/>
                <a:gd name="T78" fmla="*/ 45 w 3328"/>
                <a:gd name="T79" fmla="*/ 83 h 161"/>
                <a:gd name="T80" fmla="*/ 26 w 3328"/>
                <a:gd name="T81" fmla="*/ 75 h 161"/>
                <a:gd name="T82" fmla="*/ 15 w 3328"/>
                <a:gd name="T83" fmla="*/ 68 h 161"/>
                <a:gd name="T84" fmla="*/ 9 w 3328"/>
                <a:gd name="T85" fmla="*/ 61 h 161"/>
                <a:gd name="T86" fmla="*/ 1 w 3328"/>
                <a:gd name="T87" fmla="*/ 45 h 161"/>
                <a:gd name="T88" fmla="*/ 4 w 3328"/>
                <a:gd name="T89" fmla="*/ 18 h 161"/>
                <a:gd name="T90" fmla="*/ 21 w 3328"/>
                <a:gd name="T91" fmla="*/ 2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328" h="161">
                  <a:moveTo>
                    <a:pt x="1436" y="61"/>
                  </a:moveTo>
                  <a:lnTo>
                    <a:pt x="1426" y="64"/>
                  </a:lnTo>
                  <a:lnTo>
                    <a:pt x="1419" y="71"/>
                  </a:lnTo>
                  <a:lnTo>
                    <a:pt x="1416" y="80"/>
                  </a:lnTo>
                  <a:lnTo>
                    <a:pt x="1419" y="90"/>
                  </a:lnTo>
                  <a:lnTo>
                    <a:pt x="1426" y="98"/>
                  </a:lnTo>
                  <a:lnTo>
                    <a:pt x="1436" y="100"/>
                  </a:lnTo>
                  <a:lnTo>
                    <a:pt x="1893" y="100"/>
                  </a:lnTo>
                  <a:lnTo>
                    <a:pt x="1903" y="98"/>
                  </a:lnTo>
                  <a:lnTo>
                    <a:pt x="1910" y="90"/>
                  </a:lnTo>
                  <a:lnTo>
                    <a:pt x="1912" y="80"/>
                  </a:lnTo>
                  <a:lnTo>
                    <a:pt x="1910" y="71"/>
                  </a:lnTo>
                  <a:lnTo>
                    <a:pt x="1903" y="64"/>
                  </a:lnTo>
                  <a:lnTo>
                    <a:pt x="1893" y="61"/>
                  </a:lnTo>
                  <a:lnTo>
                    <a:pt x="1436" y="61"/>
                  </a:lnTo>
                  <a:close/>
                  <a:moveTo>
                    <a:pt x="34" y="0"/>
                  </a:moveTo>
                  <a:lnTo>
                    <a:pt x="39" y="1"/>
                  </a:lnTo>
                  <a:lnTo>
                    <a:pt x="46" y="2"/>
                  </a:lnTo>
                  <a:lnTo>
                    <a:pt x="3285" y="2"/>
                  </a:lnTo>
                  <a:lnTo>
                    <a:pt x="3291" y="2"/>
                  </a:lnTo>
                  <a:lnTo>
                    <a:pt x="3297" y="0"/>
                  </a:lnTo>
                  <a:lnTo>
                    <a:pt x="3309" y="2"/>
                  </a:lnTo>
                  <a:lnTo>
                    <a:pt x="3318" y="8"/>
                  </a:lnTo>
                  <a:lnTo>
                    <a:pt x="3325" y="17"/>
                  </a:lnTo>
                  <a:lnTo>
                    <a:pt x="3328" y="30"/>
                  </a:lnTo>
                  <a:lnTo>
                    <a:pt x="3328" y="41"/>
                  </a:lnTo>
                  <a:lnTo>
                    <a:pt x="3324" y="51"/>
                  </a:lnTo>
                  <a:lnTo>
                    <a:pt x="3317" y="61"/>
                  </a:lnTo>
                  <a:lnTo>
                    <a:pt x="3305" y="70"/>
                  </a:lnTo>
                  <a:lnTo>
                    <a:pt x="3286" y="78"/>
                  </a:lnTo>
                  <a:lnTo>
                    <a:pt x="3260" y="86"/>
                  </a:lnTo>
                  <a:lnTo>
                    <a:pt x="3228" y="93"/>
                  </a:lnTo>
                  <a:lnTo>
                    <a:pt x="3190" y="101"/>
                  </a:lnTo>
                  <a:lnTo>
                    <a:pt x="3146" y="108"/>
                  </a:lnTo>
                  <a:lnTo>
                    <a:pt x="3098" y="113"/>
                  </a:lnTo>
                  <a:lnTo>
                    <a:pt x="3045" y="119"/>
                  </a:lnTo>
                  <a:lnTo>
                    <a:pt x="2988" y="124"/>
                  </a:lnTo>
                  <a:lnTo>
                    <a:pt x="2928" y="128"/>
                  </a:lnTo>
                  <a:lnTo>
                    <a:pt x="2865" y="133"/>
                  </a:lnTo>
                  <a:lnTo>
                    <a:pt x="2799" y="136"/>
                  </a:lnTo>
                  <a:lnTo>
                    <a:pt x="2731" y="140"/>
                  </a:lnTo>
                  <a:lnTo>
                    <a:pt x="2661" y="143"/>
                  </a:lnTo>
                  <a:lnTo>
                    <a:pt x="2589" y="146"/>
                  </a:lnTo>
                  <a:lnTo>
                    <a:pt x="2516" y="148"/>
                  </a:lnTo>
                  <a:lnTo>
                    <a:pt x="2444" y="151"/>
                  </a:lnTo>
                  <a:lnTo>
                    <a:pt x="2370" y="153"/>
                  </a:lnTo>
                  <a:lnTo>
                    <a:pt x="2297" y="154"/>
                  </a:lnTo>
                  <a:lnTo>
                    <a:pt x="2226" y="156"/>
                  </a:lnTo>
                  <a:lnTo>
                    <a:pt x="2154" y="157"/>
                  </a:lnTo>
                  <a:lnTo>
                    <a:pt x="2085" y="158"/>
                  </a:lnTo>
                  <a:lnTo>
                    <a:pt x="2019" y="159"/>
                  </a:lnTo>
                  <a:lnTo>
                    <a:pt x="1955" y="159"/>
                  </a:lnTo>
                  <a:lnTo>
                    <a:pt x="1893" y="160"/>
                  </a:lnTo>
                  <a:lnTo>
                    <a:pt x="1835" y="160"/>
                  </a:lnTo>
                  <a:lnTo>
                    <a:pt x="1781" y="161"/>
                  </a:lnTo>
                  <a:lnTo>
                    <a:pt x="1732" y="161"/>
                  </a:lnTo>
                  <a:lnTo>
                    <a:pt x="1686" y="161"/>
                  </a:lnTo>
                  <a:lnTo>
                    <a:pt x="1646" y="161"/>
                  </a:lnTo>
                  <a:lnTo>
                    <a:pt x="1510" y="161"/>
                  </a:lnTo>
                  <a:lnTo>
                    <a:pt x="1377" y="160"/>
                  </a:lnTo>
                  <a:lnTo>
                    <a:pt x="1245" y="158"/>
                  </a:lnTo>
                  <a:lnTo>
                    <a:pt x="1118" y="156"/>
                  </a:lnTo>
                  <a:lnTo>
                    <a:pt x="995" y="154"/>
                  </a:lnTo>
                  <a:lnTo>
                    <a:pt x="877" y="151"/>
                  </a:lnTo>
                  <a:lnTo>
                    <a:pt x="764" y="147"/>
                  </a:lnTo>
                  <a:lnTo>
                    <a:pt x="657" y="143"/>
                  </a:lnTo>
                  <a:lnTo>
                    <a:pt x="557" y="139"/>
                  </a:lnTo>
                  <a:lnTo>
                    <a:pt x="484" y="135"/>
                  </a:lnTo>
                  <a:lnTo>
                    <a:pt x="416" y="131"/>
                  </a:lnTo>
                  <a:lnTo>
                    <a:pt x="357" y="127"/>
                  </a:lnTo>
                  <a:lnTo>
                    <a:pt x="303" y="123"/>
                  </a:lnTo>
                  <a:lnTo>
                    <a:pt x="256" y="119"/>
                  </a:lnTo>
                  <a:lnTo>
                    <a:pt x="214" y="114"/>
                  </a:lnTo>
                  <a:lnTo>
                    <a:pt x="177" y="110"/>
                  </a:lnTo>
                  <a:lnTo>
                    <a:pt x="145" y="106"/>
                  </a:lnTo>
                  <a:lnTo>
                    <a:pt x="117" y="101"/>
                  </a:lnTo>
                  <a:lnTo>
                    <a:pt x="94" y="97"/>
                  </a:lnTo>
                  <a:lnTo>
                    <a:pt x="74" y="92"/>
                  </a:lnTo>
                  <a:lnTo>
                    <a:pt x="58" y="87"/>
                  </a:lnTo>
                  <a:lnTo>
                    <a:pt x="45" y="83"/>
                  </a:lnTo>
                  <a:lnTo>
                    <a:pt x="35" y="79"/>
                  </a:lnTo>
                  <a:lnTo>
                    <a:pt x="26" y="75"/>
                  </a:lnTo>
                  <a:lnTo>
                    <a:pt x="19" y="71"/>
                  </a:lnTo>
                  <a:lnTo>
                    <a:pt x="15" y="68"/>
                  </a:lnTo>
                  <a:lnTo>
                    <a:pt x="11" y="64"/>
                  </a:lnTo>
                  <a:lnTo>
                    <a:pt x="9" y="61"/>
                  </a:lnTo>
                  <a:lnTo>
                    <a:pt x="6" y="57"/>
                  </a:lnTo>
                  <a:lnTo>
                    <a:pt x="1" y="45"/>
                  </a:lnTo>
                  <a:lnTo>
                    <a:pt x="0" y="32"/>
                  </a:lnTo>
                  <a:lnTo>
                    <a:pt x="4" y="18"/>
                  </a:lnTo>
                  <a:lnTo>
                    <a:pt x="11" y="8"/>
                  </a:lnTo>
                  <a:lnTo>
                    <a:pt x="21" y="2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21" name="Freeform 208">
              <a:extLst>
                <a:ext uri="{FF2B5EF4-FFF2-40B4-BE49-F238E27FC236}">
                  <a16:creationId xmlns:a16="http://schemas.microsoft.com/office/drawing/2014/main" id="{0704A9AE-6FC4-9CAE-CC53-9E3B6CCDFF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62838" y="5137151"/>
              <a:ext cx="1047750" cy="104775"/>
            </a:xfrm>
            <a:custGeom>
              <a:avLst/>
              <a:gdLst>
                <a:gd name="T0" fmla="*/ 257 w 3303"/>
                <a:gd name="T1" fmla="*/ 64 h 332"/>
                <a:gd name="T2" fmla="*/ 97 w 3303"/>
                <a:gd name="T3" fmla="*/ 271 h 332"/>
                <a:gd name="T4" fmla="*/ 3208 w 3303"/>
                <a:gd name="T5" fmla="*/ 271 h 332"/>
                <a:gd name="T6" fmla="*/ 3055 w 3303"/>
                <a:gd name="T7" fmla="*/ 64 h 332"/>
                <a:gd name="T8" fmla="*/ 257 w 3303"/>
                <a:gd name="T9" fmla="*/ 64 h 332"/>
                <a:gd name="T10" fmla="*/ 242 w 3303"/>
                <a:gd name="T11" fmla="*/ 0 h 332"/>
                <a:gd name="T12" fmla="*/ 3071 w 3303"/>
                <a:gd name="T13" fmla="*/ 0 h 332"/>
                <a:gd name="T14" fmla="*/ 3080 w 3303"/>
                <a:gd name="T15" fmla="*/ 1 h 332"/>
                <a:gd name="T16" fmla="*/ 3089 w 3303"/>
                <a:gd name="T17" fmla="*/ 6 h 332"/>
                <a:gd name="T18" fmla="*/ 3097 w 3303"/>
                <a:gd name="T19" fmla="*/ 13 h 332"/>
                <a:gd name="T20" fmla="*/ 3293 w 3303"/>
                <a:gd name="T21" fmla="*/ 280 h 332"/>
                <a:gd name="T22" fmla="*/ 3300 w 3303"/>
                <a:gd name="T23" fmla="*/ 290 h 332"/>
                <a:gd name="T24" fmla="*/ 3303 w 3303"/>
                <a:gd name="T25" fmla="*/ 302 h 332"/>
                <a:gd name="T26" fmla="*/ 3301 w 3303"/>
                <a:gd name="T27" fmla="*/ 316 h 332"/>
                <a:gd name="T28" fmla="*/ 3294 w 3303"/>
                <a:gd name="T29" fmla="*/ 325 h 332"/>
                <a:gd name="T30" fmla="*/ 3284 w 3303"/>
                <a:gd name="T31" fmla="*/ 332 h 332"/>
                <a:gd name="T32" fmla="*/ 21 w 3303"/>
                <a:gd name="T33" fmla="*/ 332 h 332"/>
                <a:gd name="T34" fmla="*/ 10 w 3303"/>
                <a:gd name="T35" fmla="*/ 326 h 332"/>
                <a:gd name="T36" fmla="*/ 3 w 3303"/>
                <a:gd name="T37" fmla="*/ 317 h 332"/>
                <a:gd name="T38" fmla="*/ 0 w 3303"/>
                <a:gd name="T39" fmla="*/ 305 h 332"/>
                <a:gd name="T40" fmla="*/ 1 w 3303"/>
                <a:gd name="T41" fmla="*/ 294 h 332"/>
                <a:gd name="T42" fmla="*/ 7 w 3303"/>
                <a:gd name="T43" fmla="*/ 283 h 332"/>
                <a:gd name="T44" fmla="*/ 216 w 3303"/>
                <a:gd name="T45" fmla="*/ 12 h 332"/>
                <a:gd name="T46" fmla="*/ 223 w 3303"/>
                <a:gd name="T47" fmla="*/ 5 h 332"/>
                <a:gd name="T48" fmla="*/ 231 w 3303"/>
                <a:gd name="T49" fmla="*/ 1 h 332"/>
                <a:gd name="T50" fmla="*/ 242 w 3303"/>
                <a:gd name="T51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303" h="332">
                  <a:moveTo>
                    <a:pt x="257" y="64"/>
                  </a:moveTo>
                  <a:lnTo>
                    <a:pt x="97" y="271"/>
                  </a:lnTo>
                  <a:lnTo>
                    <a:pt x="3208" y="271"/>
                  </a:lnTo>
                  <a:lnTo>
                    <a:pt x="3055" y="64"/>
                  </a:lnTo>
                  <a:lnTo>
                    <a:pt x="257" y="64"/>
                  </a:lnTo>
                  <a:close/>
                  <a:moveTo>
                    <a:pt x="242" y="0"/>
                  </a:moveTo>
                  <a:lnTo>
                    <a:pt x="3071" y="0"/>
                  </a:lnTo>
                  <a:lnTo>
                    <a:pt x="3080" y="1"/>
                  </a:lnTo>
                  <a:lnTo>
                    <a:pt x="3089" y="6"/>
                  </a:lnTo>
                  <a:lnTo>
                    <a:pt x="3097" y="13"/>
                  </a:lnTo>
                  <a:lnTo>
                    <a:pt x="3293" y="280"/>
                  </a:lnTo>
                  <a:lnTo>
                    <a:pt x="3300" y="290"/>
                  </a:lnTo>
                  <a:lnTo>
                    <a:pt x="3303" y="302"/>
                  </a:lnTo>
                  <a:lnTo>
                    <a:pt x="3301" y="316"/>
                  </a:lnTo>
                  <a:lnTo>
                    <a:pt x="3294" y="325"/>
                  </a:lnTo>
                  <a:lnTo>
                    <a:pt x="3284" y="332"/>
                  </a:lnTo>
                  <a:lnTo>
                    <a:pt x="21" y="332"/>
                  </a:lnTo>
                  <a:lnTo>
                    <a:pt x="10" y="326"/>
                  </a:lnTo>
                  <a:lnTo>
                    <a:pt x="3" y="317"/>
                  </a:lnTo>
                  <a:lnTo>
                    <a:pt x="0" y="305"/>
                  </a:lnTo>
                  <a:lnTo>
                    <a:pt x="1" y="294"/>
                  </a:lnTo>
                  <a:lnTo>
                    <a:pt x="7" y="283"/>
                  </a:lnTo>
                  <a:lnTo>
                    <a:pt x="216" y="12"/>
                  </a:lnTo>
                  <a:lnTo>
                    <a:pt x="223" y="5"/>
                  </a:lnTo>
                  <a:lnTo>
                    <a:pt x="231" y="1"/>
                  </a:lnTo>
                  <a:lnTo>
                    <a:pt x="24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22" name="Freeform 209">
              <a:extLst>
                <a:ext uri="{FF2B5EF4-FFF2-40B4-BE49-F238E27FC236}">
                  <a16:creationId xmlns:a16="http://schemas.microsoft.com/office/drawing/2014/main" id="{E86D2313-F1CC-A8C6-6717-BD202E1E89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18438" y="4699001"/>
              <a:ext cx="327025" cy="328613"/>
            </a:xfrm>
            <a:custGeom>
              <a:avLst/>
              <a:gdLst>
                <a:gd name="T0" fmla="*/ 836 w 1032"/>
                <a:gd name="T1" fmla="*/ 658 h 1033"/>
                <a:gd name="T2" fmla="*/ 769 w 1032"/>
                <a:gd name="T3" fmla="*/ 756 h 1033"/>
                <a:gd name="T4" fmla="*/ 939 w 1032"/>
                <a:gd name="T5" fmla="*/ 787 h 1033"/>
                <a:gd name="T6" fmla="*/ 1000 w 1032"/>
                <a:gd name="T7" fmla="*/ 654 h 1033"/>
                <a:gd name="T8" fmla="*/ 520 w 1032"/>
                <a:gd name="T9" fmla="*/ 0 h 1033"/>
                <a:gd name="T10" fmla="*/ 652 w 1032"/>
                <a:gd name="T11" fmla="*/ 17 h 1033"/>
                <a:gd name="T12" fmla="*/ 698 w 1032"/>
                <a:gd name="T13" fmla="*/ 31 h 1033"/>
                <a:gd name="T14" fmla="*/ 700 w 1032"/>
                <a:gd name="T15" fmla="*/ 34 h 1033"/>
                <a:gd name="T16" fmla="*/ 701 w 1032"/>
                <a:gd name="T17" fmla="*/ 38 h 1033"/>
                <a:gd name="T18" fmla="*/ 643 w 1032"/>
                <a:gd name="T19" fmla="*/ 203 h 1033"/>
                <a:gd name="T20" fmla="*/ 640 w 1032"/>
                <a:gd name="T21" fmla="*/ 207 h 1033"/>
                <a:gd name="T22" fmla="*/ 635 w 1032"/>
                <a:gd name="T23" fmla="*/ 209 h 1033"/>
                <a:gd name="T24" fmla="*/ 632 w 1032"/>
                <a:gd name="T25" fmla="*/ 209 h 1033"/>
                <a:gd name="T26" fmla="*/ 557 w 1032"/>
                <a:gd name="T27" fmla="*/ 191 h 1033"/>
                <a:gd name="T28" fmla="*/ 432 w 1032"/>
                <a:gd name="T29" fmla="*/ 202 h 1033"/>
                <a:gd name="T30" fmla="*/ 319 w 1032"/>
                <a:gd name="T31" fmla="*/ 257 h 1033"/>
                <a:gd name="T32" fmla="*/ 236 w 1032"/>
                <a:gd name="T33" fmla="*/ 352 h 1033"/>
                <a:gd name="T34" fmla="*/ 195 w 1032"/>
                <a:gd name="T35" fmla="*/ 472 h 1033"/>
                <a:gd name="T36" fmla="*/ 203 w 1032"/>
                <a:gd name="T37" fmla="*/ 603 h 1033"/>
                <a:gd name="T38" fmla="*/ 260 w 1032"/>
                <a:gd name="T39" fmla="*/ 716 h 1033"/>
                <a:gd name="T40" fmla="*/ 354 w 1032"/>
                <a:gd name="T41" fmla="*/ 799 h 1033"/>
                <a:gd name="T42" fmla="*/ 475 w 1032"/>
                <a:gd name="T43" fmla="*/ 841 h 1033"/>
                <a:gd name="T44" fmla="*/ 604 w 1032"/>
                <a:gd name="T45" fmla="*/ 832 h 1033"/>
                <a:gd name="T46" fmla="*/ 717 w 1032"/>
                <a:gd name="T47" fmla="*/ 778 h 1033"/>
                <a:gd name="T48" fmla="*/ 801 w 1032"/>
                <a:gd name="T49" fmla="*/ 685 h 1033"/>
                <a:gd name="T50" fmla="*/ 843 w 1032"/>
                <a:gd name="T51" fmla="*/ 571 h 1033"/>
                <a:gd name="T52" fmla="*/ 844 w 1032"/>
                <a:gd name="T53" fmla="*/ 567 h 1033"/>
                <a:gd name="T54" fmla="*/ 847 w 1032"/>
                <a:gd name="T55" fmla="*/ 565 h 1033"/>
                <a:gd name="T56" fmla="*/ 852 w 1032"/>
                <a:gd name="T57" fmla="*/ 563 h 1033"/>
                <a:gd name="T58" fmla="*/ 1024 w 1032"/>
                <a:gd name="T59" fmla="*/ 589 h 1033"/>
                <a:gd name="T60" fmla="*/ 1028 w 1032"/>
                <a:gd name="T61" fmla="*/ 590 h 1033"/>
                <a:gd name="T62" fmla="*/ 1030 w 1032"/>
                <a:gd name="T63" fmla="*/ 592 h 1033"/>
                <a:gd name="T64" fmla="*/ 1031 w 1032"/>
                <a:gd name="T65" fmla="*/ 595 h 1033"/>
                <a:gd name="T66" fmla="*/ 1032 w 1032"/>
                <a:gd name="T67" fmla="*/ 598 h 1033"/>
                <a:gd name="T68" fmla="*/ 1020 w 1032"/>
                <a:gd name="T69" fmla="*/ 653 h 1033"/>
                <a:gd name="T70" fmla="*/ 953 w 1032"/>
                <a:gd name="T71" fmla="*/ 800 h 1033"/>
                <a:gd name="T72" fmla="*/ 846 w 1032"/>
                <a:gd name="T73" fmla="*/ 918 h 1033"/>
                <a:gd name="T74" fmla="*/ 717 w 1032"/>
                <a:gd name="T75" fmla="*/ 995 h 1033"/>
                <a:gd name="T76" fmla="*/ 570 w 1032"/>
                <a:gd name="T77" fmla="*/ 1031 h 1033"/>
                <a:gd name="T78" fmla="*/ 409 w 1032"/>
                <a:gd name="T79" fmla="*/ 1021 h 1033"/>
                <a:gd name="T80" fmla="*/ 258 w 1032"/>
                <a:gd name="T81" fmla="*/ 962 h 1033"/>
                <a:gd name="T82" fmla="*/ 135 w 1032"/>
                <a:gd name="T83" fmla="*/ 863 h 1033"/>
                <a:gd name="T84" fmla="*/ 47 w 1032"/>
                <a:gd name="T85" fmla="*/ 730 h 1033"/>
                <a:gd name="T86" fmla="*/ 3 w 1032"/>
                <a:gd name="T87" fmla="*/ 573 h 1033"/>
                <a:gd name="T88" fmla="*/ 12 w 1032"/>
                <a:gd name="T89" fmla="*/ 405 h 1033"/>
                <a:gd name="T90" fmla="*/ 72 w 1032"/>
                <a:gd name="T91" fmla="*/ 255 h 1033"/>
                <a:gd name="T92" fmla="*/ 172 w 1032"/>
                <a:gd name="T93" fmla="*/ 133 h 1033"/>
                <a:gd name="T94" fmla="*/ 306 w 1032"/>
                <a:gd name="T95" fmla="*/ 45 h 1033"/>
                <a:gd name="T96" fmla="*/ 462 w 1032"/>
                <a:gd name="T97" fmla="*/ 3 h 1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32" h="1033">
                  <a:moveTo>
                    <a:pt x="860" y="582"/>
                  </a:moveTo>
                  <a:lnTo>
                    <a:pt x="849" y="620"/>
                  </a:lnTo>
                  <a:lnTo>
                    <a:pt x="836" y="658"/>
                  </a:lnTo>
                  <a:lnTo>
                    <a:pt x="818" y="692"/>
                  </a:lnTo>
                  <a:lnTo>
                    <a:pt x="795" y="726"/>
                  </a:lnTo>
                  <a:lnTo>
                    <a:pt x="769" y="756"/>
                  </a:lnTo>
                  <a:lnTo>
                    <a:pt x="878" y="864"/>
                  </a:lnTo>
                  <a:lnTo>
                    <a:pt x="910" y="827"/>
                  </a:lnTo>
                  <a:lnTo>
                    <a:pt x="939" y="787"/>
                  </a:lnTo>
                  <a:lnTo>
                    <a:pt x="964" y="745"/>
                  </a:lnTo>
                  <a:lnTo>
                    <a:pt x="985" y="701"/>
                  </a:lnTo>
                  <a:lnTo>
                    <a:pt x="1000" y="654"/>
                  </a:lnTo>
                  <a:lnTo>
                    <a:pt x="1011" y="605"/>
                  </a:lnTo>
                  <a:lnTo>
                    <a:pt x="860" y="582"/>
                  </a:lnTo>
                  <a:close/>
                  <a:moveTo>
                    <a:pt x="520" y="0"/>
                  </a:moveTo>
                  <a:lnTo>
                    <a:pt x="564" y="2"/>
                  </a:lnTo>
                  <a:lnTo>
                    <a:pt x="608" y="7"/>
                  </a:lnTo>
                  <a:lnTo>
                    <a:pt x="652" y="17"/>
                  </a:lnTo>
                  <a:lnTo>
                    <a:pt x="694" y="29"/>
                  </a:lnTo>
                  <a:lnTo>
                    <a:pt x="696" y="30"/>
                  </a:lnTo>
                  <a:lnTo>
                    <a:pt x="698" y="31"/>
                  </a:lnTo>
                  <a:lnTo>
                    <a:pt x="698" y="32"/>
                  </a:lnTo>
                  <a:lnTo>
                    <a:pt x="699" y="33"/>
                  </a:lnTo>
                  <a:lnTo>
                    <a:pt x="700" y="34"/>
                  </a:lnTo>
                  <a:lnTo>
                    <a:pt x="700" y="36"/>
                  </a:lnTo>
                  <a:lnTo>
                    <a:pt x="700" y="37"/>
                  </a:lnTo>
                  <a:lnTo>
                    <a:pt x="701" y="38"/>
                  </a:lnTo>
                  <a:lnTo>
                    <a:pt x="700" y="39"/>
                  </a:lnTo>
                  <a:lnTo>
                    <a:pt x="700" y="41"/>
                  </a:lnTo>
                  <a:lnTo>
                    <a:pt x="643" y="203"/>
                  </a:lnTo>
                  <a:lnTo>
                    <a:pt x="643" y="204"/>
                  </a:lnTo>
                  <a:lnTo>
                    <a:pt x="641" y="206"/>
                  </a:lnTo>
                  <a:lnTo>
                    <a:pt x="640" y="207"/>
                  </a:lnTo>
                  <a:lnTo>
                    <a:pt x="638" y="208"/>
                  </a:lnTo>
                  <a:lnTo>
                    <a:pt x="637" y="209"/>
                  </a:lnTo>
                  <a:lnTo>
                    <a:pt x="635" y="209"/>
                  </a:lnTo>
                  <a:lnTo>
                    <a:pt x="634" y="209"/>
                  </a:lnTo>
                  <a:lnTo>
                    <a:pt x="634" y="210"/>
                  </a:lnTo>
                  <a:lnTo>
                    <a:pt x="632" y="209"/>
                  </a:lnTo>
                  <a:lnTo>
                    <a:pt x="630" y="209"/>
                  </a:lnTo>
                  <a:lnTo>
                    <a:pt x="594" y="198"/>
                  </a:lnTo>
                  <a:lnTo>
                    <a:pt x="557" y="191"/>
                  </a:lnTo>
                  <a:lnTo>
                    <a:pt x="520" y="189"/>
                  </a:lnTo>
                  <a:lnTo>
                    <a:pt x="475" y="192"/>
                  </a:lnTo>
                  <a:lnTo>
                    <a:pt x="432" y="202"/>
                  </a:lnTo>
                  <a:lnTo>
                    <a:pt x="392" y="215"/>
                  </a:lnTo>
                  <a:lnTo>
                    <a:pt x="354" y="234"/>
                  </a:lnTo>
                  <a:lnTo>
                    <a:pt x="319" y="257"/>
                  </a:lnTo>
                  <a:lnTo>
                    <a:pt x="287" y="286"/>
                  </a:lnTo>
                  <a:lnTo>
                    <a:pt x="260" y="317"/>
                  </a:lnTo>
                  <a:lnTo>
                    <a:pt x="236" y="352"/>
                  </a:lnTo>
                  <a:lnTo>
                    <a:pt x="217" y="389"/>
                  </a:lnTo>
                  <a:lnTo>
                    <a:pt x="203" y="430"/>
                  </a:lnTo>
                  <a:lnTo>
                    <a:pt x="195" y="472"/>
                  </a:lnTo>
                  <a:lnTo>
                    <a:pt x="192" y="516"/>
                  </a:lnTo>
                  <a:lnTo>
                    <a:pt x="195" y="561"/>
                  </a:lnTo>
                  <a:lnTo>
                    <a:pt x="203" y="603"/>
                  </a:lnTo>
                  <a:lnTo>
                    <a:pt x="217" y="644"/>
                  </a:lnTo>
                  <a:lnTo>
                    <a:pt x="236" y="681"/>
                  </a:lnTo>
                  <a:lnTo>
                    <a:pt x="260" y="716"/>
                  </a:lnTo>
                  <a:lnTo>
                    <a:pt x="287" y="747"/>
                  </a:lnTo>
                  <a:lnTo>
                    <a:pt x="319" y="776"/>
                  </a:lnTo>
                  <a:lnTo>
                    <a:pt x="354" y="799"/>
                  </a:lnTo>
                  <a:lnTo>
                    <a:pt x="392" y="817"/>
                  </a:lnTo>
                  <a:lnTo>
                    <a:pt x="432" y="831"/>
                  </a:lnTo>
                  <a:lnTo>
                    <a:pt x="475" y="841"/>
                  </a:lnTo>
                  <a:lnTo>
                    <a:pt x="520" y="844"/>
                  </a:lnTo>
                  <a:lnTo>
                    <a:pt x="562" y="841"/>
                  </a:lnTo>
                  <a:lnTo>
                    <a:pt x="604" y="832"/>
                  </a:lnTo>
                  <a:lnTo>
                    <a:pt x="644" y="819"/>
                  </a:lnTo>
                  <a:lnTo>
                    <a:pt x="681" y="801"/>
                  </a:lnTo>
                  <a:lnTo>
                    <a:pt x="717" y="778"/>
                  </a:lnTo>
                  <a:lnTo>
                    <a:pt x="750" y="749"/>
                  </a:lnTo>
                  <a:lnTo>
                    <a:pt x="777" y="719"/>
                  </a:lnTo>
                  <a:lnTo>
                    <a:pt x="801" y="685"/>
                  </a:lnTo>
                  <a:lnTo>
                    <a:pt x="820" y="649"/>
                  </a:lnTo>
                  <a:lnTo>
                    <a:pt x="834" y="610"/>
                  </a:lnTo>
                  <a:lnTo>
                    <a:pt x="843" y="571"/>
                  </a:lnTo>
                  <a:lnTo>
                    <a:pt x="843" y="570"/>
                  </a:lnTo>
                  <a:lnTo>
                    <a:pt x="843" y="569"/>
                  </a:lnTo>
                  <a:lnTo>
                    <a:pt x="844" y="567"/>
                  </a:lnTo>
                  <a:lnTo>
                    <a:pt x="845" y="566"/>
                  </a:lnTo>
                  <a:lnTo>
                    <a:pt x="846" y="565"/>
                  </a:lnTo>
                  <a:lnTo>
                    <a:pt x="847" y="565"/>
                  </a:lnTo>
                  <a:lnTo>
                    <a:pt x="848" y="564"/>
                  </a:lnTo>
                  <a:lnTo>
                    <a:pt x="850" y="563"/>
                  </a:lnTo>
                  <a:lnTo>
                    <a:pt x="852" y="563"/>
                  </a:lnTo>
                  <a:lnTo>
                    <a:pt x="852" y="563"/>
                  </a:lnTo>
                  <a:lnTo>
                    <a:pt x="853" y="563"/>
                  </a:lnTo>
                  <a:lnTo>
                    <a:pt x="1024" y="589"/>
                  </a:lnTo>
                  <a:lnTo>
                    <a:pt x="1025" y="589"/>
                  </a:lnTo>
                  <a:lnTo>
                    <a:pt x="1026" y="589"/>
                  </a:lnTo>
                  <a:lnTo>
                    <a:pt x="1028" y="590"/>
                  </a:lnTo>
                  <a:lnTo>
                    <a:pt x="1029" y="591"/>
                  </a:lnTo>
                  <a:lnTo>
                    <a:pt x="1030" y="592"/>
                  </a:lnTo>
                  <a:lnTo>
                    <a:pt x="1030" y="592"/>
                  </a:lnTo>
                  <a:lnTo>
                    <a:pt x="1031" y="593"/>
                  </a:lnTo>
                  <a:lnTo>
                    <a:pt x="1031" y="594"/>
                  </a:lnTo>
                  <a:lnTo>
                    <a:pt x="1031" y="595"/>
                  </a:lnTo>
                  <a:lnTo>
                    <a:pt x="1032" y="596"/>
                  </a:lnTo>
                  <a:lnTo>
                    <a:pt x="1032" y="597"/>
                  </a:lnTo>
                  <a:lnTo>
                    <a:pt x="1032" y="598"/>
                  </a:lnTo>
                  <a:lnTo>
                    <a:pt x="1032" y="598"/>
                  </a:lnTo>
                  <a:lnTo>
                    <a:pt x="1032" y="599"/>
                  </a:lnTo>
                  <a:lnTo>
                    <a:pt x="1020" y="653"/>
                  </a:lnTo>
                  <a:lnTo>
                    <a:pt x="1003" y="705"/>
                  </a:lnTo>
                  <a:lnTo>
                    <a:pt x="981" y="753"/>
                  </a:lnTo>
                  <a:lnTo>
                    <a:pt x="953" y="800"/>
                  </a:lnTo>
                  <a:lnTo>
                    <a:pt x="922" y="844"/>
                  </a:lnTo>
                  <a:lnTo>
                    <a:pt x="884" y="884"/>
                  </a:lnTo>
                  <a:lnTo>
                    <a:pt x="846" y="918"/>
                  </a:lnTo>
                  <a:lnTo>
                    <a:pt x="806" y="948"/>
                  </a:lnTo>
                  <a:lnTo>
                    <a:pt x="762" y="973"/>
                  </a:lnTo>
                  <a:lnTo>
                    <a:pt x="717" y="995"/>
                  </a:lnTo>
                  <a:lnTo>
                    <a:pt x="669" y="1012"/>
                  </a:lnTo>
                  <a:lnTo>
                    <a:pt x="620" y="1023"/>
                  </a:lnTo>
                  <a:lnTo>
                    <a:pt x="570" y="1031"/>
                  </a:lnTo>
                  <a:lnTo>
                    <a:pt x="520" y="1033"/>
                  </a:lnTo>
                  <a:lnTo>
                    <a:pt x="462" y="1030"/>
                  </a:lnTo>
                  <a:lnTo>
                    <a:pt x="409" y="1021"/>
                  </a:lnTo>
                  <a:lnTo>
                    <a:pt x="356" y="1007"/>
                  </a:lnTo>
                  <a:lnTo>
                    <a:pt x="306" y="988"/>
                  </a:lnTo>
                  <a:lnTo>
                    <a:pt x="258" y="962"/>
                  </a:lnTo>
                  <a:lnTo>
                    <a:pt x="213" y="934"/>
                  </a:lnTo>
                  <a:lnTo>
                    <a:pt x="172" y="900"/>
                  </a:lnTo>
                  <a:lnTo>
                    <a:pt x="135" y="863"/>
                  </a:lnTo>
                  <a:lnTo>
                    <a:pt x="101" y="821"/>
                  </a:lnTo>
                  <a:lnTo>
                    <a:pt x="72" y="777"/>
                  </a:lnTo>
                  <a:lnTo>
                    <a:pt x="47" y="730"/>
                  </a:lnTo>
                  <a:lnTo>
                    <a:pt x="27" y="679"/>
                  </a:lnTo>
                  <a:lnTo>
                    <a:pt x="12" y="628"/>
                  </a:lnTo>
                  <a:lnTo>
                    <a:pt x="3" y="573"/>
                  </a:lnTo>
                  <a:lnTo>
                    <a:pt x="0" y="516"/>
                  </a:lnTo>
                  <a:lnTo>
                    <a:pt x="3" y="460"/>
                  </a:lnTo>
                  <a:lnTo>
                    <a:pt x="12" y="405"/>
                  </a:lnTo>
                  <a:lnTo>
                    <a:pt x="27" y="354"/>
                  </a:lnTo>
                  <a:lnTo>
                    <a:pt x="47" y="303"/>
                  </a:lnTo>
                  <a:lnTo>
                    <a:pt x="72" y="255"/>
                  </a:lnTo>
                  <a:lnTo>
                    <a:pt x="101" y="212"/>
                  </a:lnTo>
                  <a:lnTo>
                    <a:pt x="135" y="170"/>
                  </a:lnTo>
                  <a:lnTo>
                    <a:pt x="172" y="133"/>
                  </a:lnTo>
                  <a:lnTo>
                    <a:pt x="213" y="99"/>
                  </a:lnTo>
                  <a:lnTo>
                    <a:pt x="258" y="70"/>
                  </a:lnTo>
                  <a:lnTo>
                    <a:pt x="306" y="45"/>
                  </a:lnTo>
                  <a:lnTo>
                    <a:pt x="356" y="26"/>
                  </a:lnTo>
                  <a:lnTo>
                    <a:pt x="409" y="12"/>
                  </a:lnTo>
                  <a:lnTo>
                    <a:pt x="462" y="3"/>
                  </a:lnTo>
                  <a:lnTo>
                    <a:pt x="52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23" name="Freeform 210">
              <a:extLst>
                <a:ext uri="{FF2B5EF4-FFF2-40B4-BE49-F238E27FC236}">
                  <a16:creationId xmlns:a16="http://schemas.microsoft.com/office/drawing/2014/main" id="{99BFAA7F-2E50-C545-1514-9717BD24B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053388" y="4675188"/>
              <a:ext cx="131763" cy="184150"/>
            </a:xfrm>
            <a:custGeom>
              <a:avLst/>
              <a:gdLst>
                <a:gd name="T0" fmla="*/ 71 w 415"/>
                <a:gd name="T1" fmla="*/ 1 h 579"/>
                <a:gd name="T2" fmla="*/ 121 w 415"/>
                <a:gd name="T3" fmla="*/ 22 h 579"/>
                <a:gd name="T4" fmla="*/ 211 w 415"/>
                <a:gd name="T5" fmla="*/ 77 h 579"/>
                <a:gd name="T6" fmla="*/ 288 w 415"/>
                <a:gd name="T7" fmla="*/ 149 h 579"/>
                <a:gd name="T8" fmla="*/ 348 w 415"/>
                <a:gd name="T9" fmla="*/ 234 h 579"/>
                <a:gd name="T10" fmla="*/ 390 w 415"/>
                <a:gd name="T11" fmla="*/ 329 h 579"/>
                <a:gd name="T12" fmla="*/ 412 w 415"/>
                <a:gd name="T13" fmla="*/ 434 h 579"/>
                <a:gd name="T14" fmla="*/ 413 w 415"/>
                <a:gd name="T15" fmla="*/ 529 h 579"/>
                <a:gd name="T16" fmla="*/ 408 w 415"/>
                <a:gd name="T17" fmla="*/ 572 h 579"/>
                <a:gd name="T18" fmla="*/ 407 w 415"/>
                <a:gd name="T19" fmla="*/ 574 h 579"/>
                <a:gd name="T20" fmla="*/ 405 w 415"/>
                <a:gd name="T21" fmla="*/ 576 h 579"/>
                <a:gd name="T22" fmla="*/ 404 w 415"/>
                <a:gd name="T23" fmla="*/ 577 h 579"/>
                <a:gd name="T24" fmla="*/ 403 w 415"/>
                <a:gd name="T25" fmla="*/ 578 h 579"/>
                <a:gd name="T26" fmla="*/ 399 w 415"/>
                <a:gd name="T27" fmla="*/ 579 h 579"/>
                <a:gd name="T28" fmla="*/ 228 w 415"/>
                <a:gd name="T29" fmla="*/ 552 h 579"/>
                <a:gd name="T30" fmla="*/ 227 w 415"/>
                <a:gd name="T31" fmla="*/ 551 h 579"/>
                <a:gd name="T32" fmla="*/ 224 w 415"/>
                <a:gd name="T33" fmla="*/ 550 h 579"/>
                <a:gd name="T34" fmla="*/ 222 w 415"/>
                <a:gd name="T35" fmla="*/ 549 h 579"/>
                <a:gd name="T36" fmla="*/ 221 w 415"/>
                <a:gd name="T37" fmla="*/ 548 h 579"/>
                <a:gd name="T38" fmla="*/ 220 w 415"/>
                <a:gd name="T39" fmla="*/ 545 h 579"/>
                <a:gd name="T40" fmla="*/ 220 w 415"/>
                <a:gd name="T41" fmla="*/ 543 h 579"/>
                <a:gd name="T42" fmla="*/ 219 w 415"/>
                <a:gd name="T43" fmla="*/ 541 h 579"/>
                <a:gd name="T44" fmla="*/ 224 w 415"/>
                <a:gd name="T45" fmla="*/ 488 h 579"/>
                <a:gd name="T46" fmla="*/ 214 w 415"/>
                <a:gd name="T47" fmla="*/ 407 h 579"/>
                <a:gd name="T48" fmla="*/ 186 w 415"/>
                <a:gd name="T49" fmla="*/ 333 h 579"/>
                <a:gd name="T50" fmla="*/ 140 w 415"/>
                <a:gd name="T51" fmla="*/ 269 h 579"/>
                <a:gd name="T52" fmla="*/ 80 w 415"/>
                <a:gd name="T53" fmla="*/ 217 h 579"/>
                <a:gd name="T54" fmla="*/ 7 w 415"/>
                <a:gd name="T55" fmla="*/ 179 h 579"/>
                <a:gd name="T56" fmla="*/ 6 w 415"/>
                <a:gd name="T57" fmla="*/ 179 h 579"/>
                <a:gd name="T58" fmla="*/ 4 w 415"/>
                <a:gd name="T59" fmla="*/ 178 h 579"/>
                <a:gd name="T60" fmla="*/ 2 w 415"/>
                <a:gd name="T61" fmla="*/ 175 h 579"/>
                <a:gd name="T62" fmla="*/ 2 w 415"/>
                <a:gd name="T63" fmla="*/ 172 h 579"/>
                <a:gd name="T64" fmla="*/ 2 w 415"/>
                <a:gd name="T65" fmla="*/ 170 h 579"/>
                <a:gd name="T66" fmla="*/ 59 w 415"/>
                <a:gd name="T67" fmla="*/ 7 h 579"/>
                <a:gd name="T68" fmla="*/ 61 w 415"/>
                <a:gd name="T69" fmla="*/ 3 h 579"/>
                <a:gd name="T70" fmla="*/ 63 w 415"/>
                <a:gd name="T71" fmla="*/ 2 h 579"/>
                <a:gd name="T72" fmla="*/ 64 w 415"/>
                <a:gd name="T73" fmla="*/ 1 h 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15" h="579">
                  <a:moveTo>
                    <a:pt x="68" y="0"/>
                  </a:moveTo>
                  <a:lnTo>
                    <a:pt x="71" y="1"/>
                  </a:lnTo>
                  <a:lnTo>
                    <a:pt x="71" y="1"/>
                  </a:lnTo>
                  <a:lnTo>
                    <a:pt x="121" y="22"/>
                  </a:lnTo>
                  <a:lnTo>
                    <a:pt x="167" y="47"/>
                  </a:lnTo>
                  <a:lnTo>
                    <a:pt x="211" y="77"/>
                  </a:lnTo>
                  <a:lnTo>
                    <a:pt x="252" y="111"/>
                  </a:lnTo>
                  <a:lnTo>
                    <a:pt x="288" y="149"/>
                  </a:lnTo>
                  <a:lnTo>
                    <a:pt x="320" y="189"/>
                  </a:lnTo>
                  <a:lnTo>
                    <a:pt x="348" y="234"/>
                  </a:lnTo>
                  <a:lnTo>
                    <a:pt x="371" y="281"/>
                  </a:lnTo>
                  <a:lnTo>
                    <a:pt x="390" y="329"/>
                  </a:lnTo>
                  <a:lnTo>
                    <a:pt x="404" y="381"/>
                  </a:lnTo>
                  <a:lnTo>
                    <a:pt x="412" y="434"/>
                  </a:lnTo>
                  <a:lnTo>
                    <a:pt x="415" y="488"/>
                  </a:lnTo>
                  <a:lnTo>
                    <a:pt x="413" y="529"/>
                  </a:lnTo>
                  <a:lnTo>
                    <a:pt x="409" y="571"/>
                  </a:lnTo>
                  <a:lnTo>
                    <a:pt x="408" y="572"/>
                  </a:lnTo>
                  <a:lnTo>
                    <a:pt x="408" y="572"/>
                  </a:lnTo>
                  <a:lnTo>
                    <a:pt x="407" y="574"/>
                  </a:lnTo>
                  <a:lnTo>
                    <a:pt x="406" y="575"/>
                  </a:lnTo>
                  <a:lnTo>
                    <a:pt x="405" y="576"/>
                  </a:lnTo>
                  <a:lnTo>
                    <a:pt x="405" y="577"/>
                  </a:lnTo>
                  <a:lnTo>
                    <a:pt x="404" y="577"/>
                  </a:lnTo>
                  <a:lnTo>
                    <a:pt x="403" y="578"/>
                  </a:lnTo>
                  <a:lnTo>
                    <a:pt x="403" y="578"/>
                  </a:lnTo>
                  <a:lnTo>
                    <a:pt x="401" y="578"/>
                  </a:lnTo>
                  <a:lnTo>
                    <a:pt x="399" y="579"/>
                  </a:lnTo>
                  <a:lnTo>
                    <a:pt x="398" y="578"/>
                  </a:lnTo>
                  <a:lnTo>
                    <a:pt x="228" y="552"/>
                  </a:lnTo>
                  <a:lnTo>
                    <a:pt x="227" y="551"/>
                  </a:lnTo>
                  <a:lnTo>
                    <a:pt x="227" y="551"/>
                  </a:lnTo>
                  <a:lnTo>
                    <a:pt x="226" y="551"/>
                  </a:lnTo>
                  <a:lnTo>
                    <a:pt x="224" y="550"/>
                  </a:lnTo>
                  <a:lnTo>
                    <a:pt x="223" y="550"/>
                  </a:lnTo>
                  <a:lnTo>
                    <a:pt x="222" y="549"/>
                  </a:lnTo>
                  <a:lnTo>
                    <a:pt x="222" y="549"/>
                  </a:lnTo>
                  <a:lnTo>
                    <a:pt x="221" y="548"/>
                  </a:lnTo>
                  <a:lnTo>
                    <a:pt x="220" y="546"/>
                  </a:lnTo>
                  <a:lnTo>
                    <a:pt x="220" y="545"/>
                  </a:lnTo>
                  <a:lnTo>
                    <a:pt x="220" y="544"/>
                  </a:lnTo>
                  <a:lnTo>
                    <a:pt x="220" y="543"/>
                  </a:lnTo>
                  <a:lnTo>
                    <a:pt x="219" y="541"/>
                  </a:lnTo>
                  <a:lnTo>
                    <a:pt x="219" y="541"/>
                  </a:lnTo>
                  <a:lnTo>
                    <a:pt x="223" y="514"/>
                  </a:lnTo>
                  <a:lnTo>
                    <a:pt x="224" y="488"/>
                  </a:lnTo>
                  <a:lnTo>
                    <a:pt x="221" y="447"/>
                  </a:lnTo>
                  <a:lnTo>
                    <a:pt x="214" y="407"/>
                  </a:lnTo>
                  <a:lnTo>
                    <a:pt x="202" y="369"/>
                  </a:lnTo>
                  <a:lnTo>
                    <a:pt x="186" y="333"/>
                  </a:lnTo>
                  <a:lnTo>
                    <a:pt x="164" y="300"/>
                  </a:lnTo>
                  <a:lnTo>
                    <a:pt x="140" y="269"/>
                  </a:lnTo>
                  <a:lnTo>
                    <a:pt x="111" y="241"/>
                  </a:lnTo>
                  <a:lnTo>
                    <a:pt x="80" y="217"/>
                  </a:lnTo>
                  <a:lnTo>
                    <a:pt x="44" y="196"/>
                  </a:lnTo>
                  <a:lnTo>
                    <a:pt x="7" y="179"/>
                  </a:lnTo>
                  <a:lnTo>
                    <a:pt x="7" y="179"/>
                  </a:lnTo>
                  <a:lnTo>
                    <a:pt x="6" y="179"/>
                  </a:lnTo>
                  <a:lnTo>
                    <a:pt x="5" y="178"/>
                  </a:lnTo>
                  <a:lnTo>
                    <a:pt x="4" y="178"/>
                  </a:lnTo>
                  <a:lnTo>
                    <a:pt x="3" y="176"/>
                  </a:lnTo>
                  <a:lnTo>
                    <a:pt x="2" y="175"/>
                  </a:lnTo>
                  <a:lnTo>
                    <a:pt x="2" y="173"/>
                  </a:lnTo>
                  <a:lnTo>
                    <a:pt x="2" y="172"/>
                  </a:lnTo>
                  <a:lnTo>
                    <a:pt x="0" y="171"/>
                  </a:lnTo>
                  <a:lnTo>
                    <a:pt x="2" y="170"/>
                  </a:lnTo>
                  <a:lnTo>
                    <a:pt x="2" y="168"/>
                  </a:lnTo>
                  <a:lnTo>
                    <a:pt x="59" y="7"/>
                  </a:lnTo>
                  <a:lnTo>
                    <a:pt x="60" y="5"/>
                  </a:lnTo>
                  <a:lnTo>
                    <a:pt x="61" y="3"/>
                  </a:lnTo>
                  <a:lnTo>
                    <a:pt x="62" y="3"/>
                  </a:lnTo>
                  <a:lnTo>
                    <a:pt x="63" y="2"/>
                  </a:lnTo>
                  <a:lnTo>
                    <a:pt x="64" y="1"/>
                  </a:lnTo>
                  <a:lnTo>
                    <a:pt x="64" y="1"/>
                  </a:lnTo>
                  <a:lnTo>
                    <a:pt x="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24" name="Freeform 211">
              <a:extLst>
                <a:ext uri="{FF2B5EF4-FFF2-40B4-BE49-F238E27FC236}">
                  <a16:creationId xmlns:a16="http://schemas.microsoft.com/office/drawing/2014/main" id="{58C9F5AC-21D1-3A09-7C85-2EEE15DE93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2763" y="4946651"/>
              <a:ext cx="77788" cy="42863"/>
            </a:xfrm>
            <a:custGeom>
              <a:avLst/>
              <a:gdLst>
                <a:gd name="T0" fmla="*/ 29 w 248"/>
                <a:gd name="T1" fmla="*/ 0 h 136"/>
                <a:gd name="T2" fmla="*/ 124 w 248"/>
                <a:gd name="T3" fmla="*/ 95 h 136"/>
                <a:gd name="T4" fmla="*/ 248 w 248"/>
                <a:gd name="T5" fmla="*/ 95 h 136"/>
                <a:gd name="T6" fmla="*/ 248 w 248"/>
                <a:gd name="T7" fmla="*/ 136 h 136"/>
                <a:gd name="T8" fmla="*/ 107 w 248"/>
                <a:gd name="T9" fmla="*/ 136 h 136"/>
                <a:gd name="T10" fmla="*/ 0 w 248"/>
                <a:gd name="T11" fmla="*/ 29 h 136"/>
                <a:gd name="T12" fmla="*/ 29 w 248"/>
                <a:gd name="T1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8" h="136">
                  <a:moveTo>
                    <a:pt x="29" y="0"/>
                  </a:moveTo>
                  <a:lnTo>
                    <a:pt x="124" y="95"/>
                  </a:lnTo>
                  <a:lnTo>
                    <a:pt x="248" y="95"/>
                  </a:lnTo>
                  <a:lnTo>
                    <a:pt x="248" y="136"/>
                  </a:lnTo>
                  <a:lnTo>
                    <a:pt x="107" y="136"/>
                  </a:lnTo>
                  <a:lnTo>
                    <a:pt x="0" y="29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25" name="Freeform 212">
              <a:extLst>
                <a:ext uri="{FF2B5EF4-FFF2-40B4-BE49-F238E27FC236}">
                  <a16:creationId xmlns:a16="http://schemas.microsoft.com/office/drawing/2014/main" id="{769623B7-DF07-A38D-2D76-F64138DBE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6675" y="4924426"/>
              <a:ext cx="123825" cy="49213"/>
            </a:xfrm>
            <a:custGeom>
              <a:avLst/>
              <a:gdLst>
                <a:gd name="T0" fmla="*/ 369 w 390"/>
                <a:gd name="T1" fmla="*/ 0 h 153"/>
                <a:gd name="T2" fmla="*/ 390 w 390"/>
                <a:gd name="T3" fmla="*/ 35 h 153"/>
                <a:gd name="T4" fmla="*/ 190 w 390"/>
                <a:gd name="T5" fmla="*/ 153 h 153"/>
                <a:gd name="T6" fmla="*/ 0 w 390"/>
                <a:gd name="T7" fmla="*/ 153 h 153"/>
                <a:gd name="T8" fmla="*/ 0 w 390"/>
                <a:gd name="T9" fmla="*/ 111 h 153"/>
                <a:gd name="T10" fmla="*/ 179 w 390"/>
                <a:gd name="T11" fmla="*/ 111 h 153"/>
                <a:gd name="T12" fmla="*/ 369 w 390"/>
                <a:gd name="T1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0" h="153">
                  <a:moveTo>
                    <a:pt x="369" y="0"/>
                  </a:moveTo>
                  <a:lnTo>
                    <a:pt x="390" y="35"/>
                  </a:lnTo>
                  <a:lnTo>
                    <a:pt x="190" y="153"/>
                  </a:lnTo>
                  <a:lnTo>
                    <a:pt x="0" y="153"/>
                  </a:lnTo>
                  <a:lnTo>
                    <a:pt x="0" y="111"/>
                  </a:lnTo>
                  <a:lnTo>
                    <a:pt x="179" y="111"/>
                  </a:lnTo>
                  <a:lnTo>
                    <a:pt x="3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26" name="Freeform 213">
              <a:extLst>
                <a:ext uri="{FF2B5EF4-FFF2-40B4-BE49-F238E27FC236}">
                  <a16:creationId xmlns:a16="http://schemas.microsoft.com/office/drawing/2014/main" id="{B6E18550-CAF0-8AB8-C649-9AB54A5DD5D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9275" y="4686301"/>
              <a:ext cx="117475" cy="53975"/>
            </a:xfrm>
            <a:custGeom>
              <a:avLst/>
              <a:gdLst>
                <a:gd name="T0" fmla="*/ 142 w 371"/>
                <a:gd name="T1" fmla="*/ 0 h 170"/>
                <a:gd name="T2" fmla="*/ 371 w 371"/>
                <a:gd name="T3" fmla="*/ 0 h 170"/>
                <a:gd name="T4" fmla="*/ 371 w 371"/>
                <a:gd name="T5" fmla="*/ 41 h 170"/>
                <a:gd name="T6" fmla="*/ 159 w 371"/>
                <a:gd name="T7" fmla="*/ 41 h 170"/>
                <a:gd name="T8" fmla="*/ 29 w 371"/>
                <a:gd name="T9" fmla="*/ 170 h 170"/>
                <a:gd name="T10" fmla="*/ 0 w 371"/>
                <a:gd name="T11" fmla="*/ 141 h 170"/>
                <a:gd name="T12" fmla="*/ 142 w 371"/>
                <a:gd name="T13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1" h="170">
                  <a:moveTo>
                    <a:pt x="142" y="0"/>
                  </a:moveTo>
                  <a:lnTo>
                    <a:pt x="371" y="0"/>
                  </a:lnTo>
                  <a:lnTo>
                    <a:pt x="371" y="41"/>
                  </a:lnTo>
                  <a:lnTo>
                    <a:pt x="159" y="41"/>
                  </a:lnTo>
                  <a:lnTo>
                    <a:pt x="29" y="170"/>
                  </a:lnTo>
                  <a:lnTo>
                    <a:pt x="0" y="141"/>
                  </a:lnTo>
                  <a:lnTo>
                    <a:pt x="14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6045EAF7-DBD0-239B-2411-9F6ABB4820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61363" y="4818063"/>
              <a:ext cx="50800" cy="793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F1A44FFF-06A4-B4A6-367C-B4BC158D4D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01038" y="4833938"/>
              <a:ext cx="111125" cy="635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492E2A59-8998-4795-2906-19AEEFB11B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4375" y="4849813"/>
              <a:ext cx="77788" cy="635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E06968A9-78F3-5C9C-4D8B-316FF4DFE7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43900" y="4865688"/>
              <a:ext cx="68263" cy="635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81FAA6BA-CE3E-3631-03ED-240A5C24C0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66113" y="4879976"/>
              <a:ext cx="146050" cy="793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B6700B3C-FA69-1198-8B21-38F4034F56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08975" y="4895851"/>
              <a:ext cx="103188" cy="793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33" name="Freeform 220">
              <a:extLst>
                <a:ext uri="{FF2B5EF4-FFF2-40B4-BE49-F238E27FC236}">
                  <a16:creationId xmlns:a16="http://schemas.microsoft.com/office/drawing/2014/main" id="{112BDFCC-3129-BD2F-1280-F58800962A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23250" y="4929188"/>
              <a:ext cx="169863" cy="125413"/>
            </a:xfrm>
            <a:custGeom>
              <a:avLst/>
              <a:gdLst>
                <a:gd name="T0" fmla="*/ 296 w 535"/>
                <a:gd name="T1" fmla="*/ 110 h 396"/>
                <a:gd name="T2" fmla="*/ 247 w 535"/>
                <a:gd name="T3" fmla="*/ 159 h 396"/>
                <a:gd name="T4" fmla="*/ 239 w 535"/>
                <a:gd name="T5" fmla="*/ 230 h 396"/>
                <a:gd name="T6" fmla="*/ 276 w 535"/>
                <a:gd name="T7" fmla="*/ 288 h 396"/>
                <a:gd name="T8" fmla="*/ 342 w 535"/>
                <a:gd name="T9" fmla="*/ 311 h 396"/>
                <a:gd name="T10" fmla="*/ 409 w 535"/>
                <a:gd name="T11" fmla="*/ 288 h 396"/>
                <a:gd name="T12" fmla="*/ 446 w 535"/>
                <a:gd name="T13" fmla="*/ 230 h 396"/>
                <a:gd name="T14" fmla="*/ 438 w 535"/>
                <a:gd name="T15" fmla="*/ 159 h 396"/>
                <a:gd name="T16" fmla="*/ 389 w 535"/>
                <a:gd name="T17" fmla="*/ 110 h 396"/>
                <a:gd name="T18" fmla="*/ 342 w 535"/>
                <a:gd name="T19" fmla="*/ 30 h 396"/>
                <a:gd name="T20" fmla="*/ 263 w 535"/>
                <a:gd name="T21" fmla="*/ 50 h 396"/>
                <a:gd name="T22" fmla="*/ 302 w 535"/>
                <a:gd name="T23" fmla="*/ 97 h 396"/>
                <a:gd name="T24" fmla="*/ 369 w 535"/>
                <a:gd name="T25" fmla="*/ 93 h 396"/>
                <a:gd name="T26" fmla="*/ 433 w 535"/>
                <a:gd name="T27" fmla="*/ 134 h 396"/>
                <a:gd name="T28" fmla="*/ 458 w 535"/>
                <a:gd name="T29" fmla="*/ 206 h 396"/>
                <a:gd name="T30" fmla="*/ 433 w 535"/>
                <a:gd name="T31" fmla="*/ 278 h 396"/>
                <a:gd name="T32" fmla="*/ 369 w 535"/>
                <a:gd name="T33" fmla="*/ 317 h 396"/>
                <a:gd name="T34" fmla="*/ 291 w 535"/>
                <a:gd name="T35" fmla="*/ 309 h 396"/>
                <a:gd name="T36" fmla="*/ 238 w 535"/>
                <a:gd name="T37" fmla="*/ 256 h 396"/>
                <a:gd name="T38" fmla="*/ 229 w 535"/>
                <a:gd name="T39" fmla="*/ 182 h 396"/>
                <a:gd name="T40" fmla="*/ 260 w 535"/>
                <a:gd name="T41" fmla="*/ 126 h 396"/>
                <a:gd name="T42" fmla="*/ 211 w 535"/>
                <a:gd name="T43" fmla="*/ 90 h 396"/>
                <a:gd name="T44" fmla="*/ 170 w 535"/>
                <a:gd name="T45" fmla="*/ 173 h 396"/>
                <a:gd name="T46" fmla="*/ 177 w 535"/>
                <a:gd name="T47" fmla="*/ 267 h 396"/>
                <a:gd name="T48" fmla="*/ 229 w 535"/>
                <a:gd name="T49" fmla="*/ 340 h 396"/>
                <a:gd name="T50" fmla="*/ 311 w 535"/>
                <a:gd name="T51" fmla="*/ 378 h 396"/>
                <a:gd name="T52" fmla="*/ 404 w 535"/>
                <a:gd name="T53" fmla="*/ 370 h 396"/>
                <a:gd name="T54" fmla="*/ 477 w 535"/>
                <a:gd name="T55" fmla="*/ 318 h 396"/>
                <a:gd name="T56" fmla="*/ 515 w 535"/>
                <a:gd name="T57" fmla="*/ 237 h 396"/>
                <a:gd name="T58" fmla="*/ 507 w 535"/>
                <a:gd name="T59" fmla="*/ 144 h 396"/>
                <a:gd name="T60" fmla="*/ 456 w 535"/>
                <a:gd name="T61" fmla="*/ 72 h 396"/>
                <a:gd name="T62" fmla="*/ 374 w 535"/>
                <a:gd name="T63" fmla="*/ 33 h 396"/>
                <a:gd name="T64" fmla="*/ 177 w 535"/>
                <a:gd name="T65" fmla="*/ 0 h 396"/>
                <a:gd name="T66" fmla="*/ 282 w 535"/>
                <a:gd name="T67" fmla="*/ 24 h 396"/>
                <a:gd name="T68" fmla="*/ 377 w 535"/>
                <a:gd name="T69" fmla="*/ 17 h 396"/>
                <a:gd name="T70" fmla="*/ 466 w 535"/>
                <a:gd name="T71" fmla="*/ 60 h 396"/>
                <a:gd name="T72" fmla="*/ 522 w 535"/>
                <a:gd name="T73" fmla="*/ 139 h 396"/>
                <a:gd name="T74" fmla="*/ 532 w 535"/>
                <a:gd name="T75" fmla="*/ 240 h 396"/>
                <a:gd name="T76" fmla="*/ 490 w 535"/>
                <a:gd name="T77" fmla="*/ 328 h 396"/>
                <a:gd name="T78" fmla="*/ 409 w 535"/>
                <a:gd name="T79" fmla="*/ 384 h 396"/>
                <a:gd name="T80" fmla="*/ 308 w 535"/>
                <a:gd name="T81" fmla="*/ 393 h 396"/>
                <a:gd name="T82" fmla="*/ 219 w 535"/>
                <a:gd name="T83" fmla="*/ 352 h 396"/>
                <a:gd name="T84" fmla="*/ 163 w 535"/>
                <a:gd name="T85" fmla="*/ 272 h 396"/>
                <a:gd name="T86" fmla="*/ 153 w 535"/>
                <a:gd name="T87" fmla="*/ 176 h 396"/>
                <a:gd name="T88" fmla="*/ 183 w 535"/>
                <a:gd name="T89" fmla="*/ 98 h 396"/>
                <a:gd name="T90" fmla="*/ 173 w 535"/>
                <a:gd name="T91" fmla="*/ 10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35" h="396">
                  <a:moveTo>
                    <a:pt x="342" y="99"/>
                  </a:moveTo>
                  <a:lnTo>
                    <a:pt x="318" y="102"/>
                  </a:lnTo>
                  <a:lnTo>
                    <a:pt x="296" y="110"/>
                  </a:lnTo>
                  <a:lnTo>
                    <a:pt x="276" y="123"/>
                  </a:lnTo>
                  <a:lnTo>
                    <a:pt x="260" y="140"/>
                  </a:lnTo>
                  <a:lnTo>
                    <a:pt x="247" y="159"/>
                  </a:lnTo>
                  <a:lnTo>
                    <a:pt x="239" y="181"/>
                  </a:lnTo>
                  <a:lnTo>
                    <a:pt x="236" y="206"/>
                  </a:lnTo>
                  <a:lnTo>
                    <a:pt x="239" y="230"/>
                  </a:lnTo>
                  <a:lnTo>
                    <a:pt x="247" y="252"/>
                  </a:lnTo>
                  <a:lnTo>
                    <a:pt x="260" y="272"/>
                  </a:lnTo>
                  <a:lnTo>
                    <a:pt x="276" y="288"/>
                  </a:lnTo>
                  <a:lnTo>
                    <a:pt x="296" y="300"/>
                  </a:lnTo>
                  <a:lnTo>
                    <a:pt x="318" y="308"/>
                  </a:lnTo>
                  <a:lnTo>
                    <a:pt x="342" y="311"/>
                  </a:lnTo>
                  <a:lnTo>
                    <a:pt x="367" y="308"/>
                  </a:lnTo>
                  <a:lnTo>
                    <a:pt x="389" y="300"/>
                  </a:lnTo>
                  <a:lnTo>
                    <a:pt x="409" y="288"/>
                  </a:lnTo>
                  <a:lnTo>
                    <a:pt x="426" y="272"/>
                  </a:lnTo>
                  <a:lnTo>
                    <a:pt x="438" y="251"/>
                  </a:lnTo>
                  <a:lnTo>
                    <a:pt x="446" y="230"/>
                  </a:lnTo>
                  <a:lnTo>
                    <a:pt x="449" y="206"/>
                  </a:lnTo>
                  <a:lnTo>
                    <a:pt x="446" y="181"/>
                  </a:lnTo>
                  <a:lnTo>
                    <a:pt x="438" y="159"/>
                  </a:lnTo>
                  <a:lnTo>
                    <a:pt x="426" y="140"/>
                  </a:lnTo>
                  <a:lnTo>
                    <a:pt x="409" y="123"/>
                  </a:lnTo>
                  <a:lnTo>
                    <a:pt x="389" y="110"/>
                  </a:lnTo>
                  <a:lnTo>
                    <a:pt x="367" y="102"/>
                  </a:lnTo>
                  <a:lnTo>
                    <a:pt x="342" y="99"/>
                  </a:lnTo>
                  <a:close/>
                  <a:moveTo>
                    <a:pt x="342" y="30"/>
                  </a:moveTo>
                  <a:lnTo>
                    <a:pt x="315" y="32"/>
                  </a:lnTo>
                  <a:lnTo>
                    <a:pt x="288" y="38"/>
                  </a:lnTo>
                  <a:lnTo>
                    <a:pt x="263" y="50"/>
                  </a:lnTo>
                  <a:lnTo>
                    <a:pt x="240" y="63"/>
                  </a:lnTo>
                  <a:lnTo>
                    <a:pt x="284" y="106"/>
                  </a:lnTo>
                  <a:lnTo>
                    <a:pt x="302" y="97"/>
                  </a:lnTo>
                  <a:lnTo>
                    <a:pt x="322" y="92"/>
                  </a:lnTo>
                  <a:lnTo>
                    <a:pt x="342" y="90"/>
                  </a:lnTo>
                  <a:lnTo>
                    <a:pt x="369" y="93"/>
                  </a:lnTo>
                  <a:lnTo>
                    <a:pt x="393" y="101"/>
                  </a:lnTo>
                  <a:lnTo>
                    <a:pt x="414" y="116"/>
                  </a:lnTo>
                  <a:lnTo>
                    <a:pt x="433" y="134"/>
                  </a:lnTo>
                  <a:lnTo>
                    <a:pt x="446" y="155"/>
                  </a:lnTo>
                  <a:lnTo>
                    <a:pt x="455" y="179"/>
                  </a:lnTo>
                  <a:lnTo>
                    <a:pt x="458" y="206"/>
                  </a:lnTo>
                  <a:lnTo>
                    <a:pt x="455" y="232"/>
                  </a:lnTo>
                  <a:lnTo>
                    <a:pt x="446" y="256"/>
                  </a:lnTo>
                  <a:lnTo>
                    <a:pt x="433" y="278"/>
                  </a:lnTo>
                  <a:lnTo>
                    <a:pt x="414" y="295"/>
                  </a:lnTo>
                  <a:lnTo>
                    <a:pt x="393" y="309"/>
                  </a:lnTo>
                  <a:lnTo>
                    <a:pt x="369" y="317"/>
                  </a:lnTo>
                  <a:lnTo>
                    <a:pt x="342" y="320"/>
                  </a:lnTo>
                  <a:lnTo>
                    <a:pt x="316" y="317"/>
                  </a:lnTo>
                  <a:lnTo>
                    <a:pt x="291" y="309"/>
                  </a:lnTo>
                  <a:lnTo>
                    <a:pt x="270" y="295"/>
                  </a:lnTo>
                  <a:lnTo>
                    <a:pt x="253" y="278"/>
                  </a:lnTo>
                  <a:lnTo>
                    <a:pt x="238" y="256"/>
                  </a:lnTo>
                  <a:lnTo>
                    <a:pt x="230" y="232"/>
                  </a:lnTo>
                  <a:lnTo>
                    <a:pt x="227" y="206"/>
                  </a:lnTo>
                  <a:lnTo>
                    <a:pt x="229" y="182"/>
                  </a:lnTo>
                  <a:lnTo>
                    <a:pt x="235" y="162"/>
                  </a:lnTo>
                  <a:lnTo>
                    <a:pt x="245" y="143"/>
                  </a:lnTo>
                  <a:lnTo>
                    <a:pt x="260" y="126"/>
                  </a:lnTo>
                  <a:lnTo>
                    <a:pt x="276" y="111"/>
                  </a:lnTo>
                  <a:lnTo>
                    <a:pt x="232" y="69"/>
                  </a:lnTo>
                  <a:lnTo>
                    <a:pt x="211" y="90"/>
                  </a:lnTo>
                  <a:lnTo>
                    <a:pt x="192" y="115"/>
                  </a:lnTo>
                  <a:lnTo>
                    <a:pt x="178" y="143"/>
                  </a:lnTo>
                  <a:lnTo>
                    <a:pt x="170" y="173"/>
                  </a:lnTo>
                  <a:lnTo>
                    <a:pt x="167" y="206"/>
                  </a:lnTo>
                  <a:lnTo>
                    <a:pt x="169" y="237"/>
                  </a:lnTo>
                  <a:lnTo>
                    <a:pt x="177" y="267"/>
                  </a:lnTo>
                  <a:lnTo>
                    <a:pt x="190" y="294"/>
                  </a:lnTo>
                  <a:lnTo>
                    <a:pt x="208" y="318"/>
                  </a:lnTo>
                  <a:lnTo>
                    <a:pt x="229" y="340"/>
                  </a:lnTo>
                  <a:lnTo>
                    <a:pt x="254" y="357"/>
                  </a:lnTo>
                  <a:lnTo>
                    <a:pt x="281" y="370"/>
                  </a:lnTo>
                  <a:lnTo>
                    <a:pt x="311" y="378"/>
                  </a:lnTo>
                  <a:lnTo>
                    <a:pt x="342" y="381"/>
                  </a:lnTo>
                  <a:lnTo>
                    <a:pt x="374" y="378"/>
                  </a:lnTo>
                  <a:lnTo>
                    <a:pt x="404" y="370"/>
                  </a:lnTo>
                  <a:lnTo>
                    <a:pt x="431" y="357"/>
                  </a:lnTo>
                  <a:lnTo>
                    <a:pt x="456" y="340"/>
                  </a:lnTo>
                  <a:lnTo>
                    <a:pt x="477" y="318"/>
                  </a:lnTo>
                  <a:lnTo>
                    <a:pt x="495" y="294"/>
                  </a:lnTo>
                  <a:lnTo>
                    <a:pt x="507" y="267"/>
                  </a:lnTo>
                  <a:lnTo>
                    <a:pt x="515" y="237"/>
                  </a:lnTo>
                  <a:lnTo>
                    <a:pt x="518" y="206"/>
                  </a:lnTo>
                  <a:lnTo>
                    <a:pt x="515" y="174"/>
                  </a:lnTo>
                  <a:lnTo>
                    <a:pt x="507" y="144"/>
                  </a:lnTo>
                  <a:lnTo>
                    <a:pt x="495" y="118"/>
                  </a:lnTo>
                  <a:lnTo>
                    <a:pt x="477" y="92"/>
                  </a:lnTo>
                  <a:lnTo>
                    <a:pt x="456" y="72"/>
                  </a:lnTo>
                  <a:lnTo>
                    <a:pt x="431" y="54"/>
                  </a:lnTo>
                  <a:lnTo>
                    <a:pt x="404" y="41"/>
                  </a:lnTo>
                  <a:lnTo>
                    <a:pt x="374" y="33"/>
                  </a:lnTo>
                  <a:lnTo>
                    <a:pt x="342" y="30"/>
                  </a:lnTo>
                  <a:close/>
                  <a:moveTo>
                    <a:pt x="0" y="0"/>
                  </a:moveTo>
                  <a:lnTo>
                    <a:pt x="177" y="0"/>
                  </a:lnTo>
                  <a:lnTo>
                    <a:pt x="229" y="52"/>
                  </a:lnTo>
                  <a:lnTo>
                    <a:pt x="255" y="36"/>
                  </a:lnTo>
                  <a:lnTo>
                    <a:pt x="282" y="24"/>
                  </a:lnTo>
                  <a:lnTo>
                    <a:pt x="312" y="17"/>
                  </a:lnTo>
                  <a:lnTo>
                    <a:pt x="342" y="14"/>
                  </a:lnTo>
                  <a:lnTo>
                    <a:pt x="377" y="17"/>
                  </a:lnTo>
                  <a:lnTo>
                    <a:pt x="409" y="26"/>
                  </a:lnTo>
                  <a:lnTo>
                    <a:pt x="439" y="40"/>
                  </a:lnTo>
                  <a:lnTo>
                    <a:pt x="466" y="60"/>
                  </a:lnTo>
                  <a:lnTo>
                    <a:pt x="490" y="82"/>
                  </a:lnTo>
                  <a:lnTo>
                    <a:pt x="508" y="109"/>
                  </a:lnTo>
                  <a:lnTo>
                    <a:pt x="522" y="139"/>
                  </a:lnTo>
                  <a:lnTo>
                    <a:pt x="532" y="171"/>
                  </a:lnTo>
                  <a:lnTo>
                    <a:pt x="535" y="206"/>
                  </a:lnTo>
                  <a:lnTo>
                    <a:pt x="532" y="240"/>
                  </a:lnTo>
                  <a:lnTo>
                    <a:pt x="522" y="272"/>
                  </a:lnTo>
                  <a:lnTo>
                    <a:pt x="508" y="302"/>
                  </a:lnTo>
                  <a:lnTo>
                    <a:pt x="490" y="328"/>
                  </a:lnTo>
                  <a:lnTo>
                    <a:pt x="466" y="352"/>
                  </a:lnTo>
                  <a:lnTo>
                    <a:pt x="439" y="370"/>
                  </a:lnTo>
                  <a:lnTo>
                    <a:pt x="409" y="384"/>
                  </a:lnTo>
                  <a:lnTo>
                    <a:pt x="377" y="393"/>
                  </a:lnTo>
                  <a:lnTo>
                    <a:pt x="342" y="396"/>
                  </a:lnTo>
                  <a:lnTo>
                    <a:pt x="308" y="393"/>
                  </a:lnTo>
                  <a:lnTo>
                    <a:pt x="276" y="384"/>
                  </a:lnTo>
                  <a:lnTo>
                    <a:pt x="245" y="370"/>
                  </a:lnTo>
                  <a:lnTo>
                    <a:pt x="219" y="352"/>
                  </a:lnTo>
                  <a:lnTo>
                    <a:pt x="196" y="328"/>
                  </a:lnTo>
                  <a:lnTo>
                    <a:pt x="177" y="302"/>
                  </a:lnTo>
                  <a:lnTo>
                    <a:pt x="163" y="272"/>
                  </a:lnTo>
                  <a:lnTo>
                    <a:pt x="154" y="240"/>
                  </a:lnTo>
                  <a:lnTo>
                    <a:pt x="151" y="206"/>
                  </a:lnTo>
                  <a:lnTo>
                    <a:pt x="153" y="176"/>
                  </a:lnTo>
                  <a:lnTo>
                    <a:pt x="159" y="148"/>
                  </a:lnTo>
                  <a:lnTo>
                    <a:pt x="170" y="123"/>
                  </a:lnTo>
                  <a:lnTo>
                    <a:pt x="183" y="98"/>
                  </a:lnTo>
                  <a:lnTo>
                    <a:pt x="201" y="76"/>
                  </a:lnTo>
                  <a:lnTo>
                    <a:pt x="221" y="58"/>
                  </a:lnTo>
                  <a:lnTo>
                    <a:pt x="173" y="10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CFF17F65-6AA3-6B90-4EAB-C3D36AC2BE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9200" y="4624388"/>
              <a:ext cx="88900" cy="14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AD4527A5-C9A4-0E8D-62AD-6D0914FAB5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67625" y="4624388"/>
              <a:ext cx="88900" cy="14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EA09F1EB-68BC-8C06-1A3D-CA3E3179A9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9200" y="4752976"/>
              <a:ext cx="95250" cy="476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5E2196FD-3502-97C5-3376-A0136D4A78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9200" y="4733926"/>
              <a:ext cx="153988" cy="31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BFEA946B-DAE2-9244-C694-ECDA82C028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9200" y="4713288"/>
              <a:ext cx="69850" cy="31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48941658-4758-636E-3F91-77B394188C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9200" y="4694238"/>
              <a:ext cx="111125" cy="31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3BFFE609-3F67-577A-AF0A-AAB121421F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9200" y="4672013"/>
              <a:ext cx="134938" cy="31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3DFF7511-1E8C-CE96-2CA2-BD22EA7728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9200" y="4651376"/>
              <a:ext cx="111125" cy="31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142" name="Freeform 21">
            <a:extLst>
              <a:ext uri="{FF2B5EF4-FFF2-40B4-BE49-F238E27FC236}">
                <a16:creationId xmlns:a16="http://schemas.microsoft.com/office/drawing/2014/main" id="{D3314750-B84B-0CBF-BCD7-299C7FAD0C24}"/>
              </a:ext>
            </a:extLst>
          </p:cNvPr>
          <p:cNvSpPr>
            <a:spLocks noEditPoints="1"/>
          </p:cNvSpPr>
          <p:nvPr/>
        </p:nvSpPr>
        <p:spPr bwMode="auto">
          <a:xfrm>
            <a:off x="8406822" y="2737202"/>
            <a:ext cx="706870" cy="624945"/>
          </a:xfrm>
          <a:custGeom>
            <a:avLst/>
            <a:gdLst>
              <a:gd name="T0" fmla="*/ 1204 w 3365"/>
              <a:gd name="T1" fmla="*/ 2887 h 2974"/>
              <a:gd name="T2" fmla="*/ 1706 w 3365"/>
              <a:gd name="T3" fmla="*/ 2840 h 2974"/>
              <a:gd name="T4" fmla="*/ 1953 w 3365"/>
              <a:gd name="T5" fmla="*/ 1831 h 2974"/>
              <a:gd name="T6" fmla="*/ 2121 w 3365"/>
              <a:gd name="T7" fmla="*/ 1947 h 2974"/>
              <a:gd name="T8" fmla="*/ 1324 w 3365"/>
              <a:gd name="T9" fmla="*/ 807 h 2974"/>
              <a:gd name="T10" fmla="*/ 1356 w 3365"/>
              <a:gd name="T11" fmla="*/ 901 h 2974"/>
              <a:gd name="T12" fmla="*/ 2109 w 3365"/>
              <a:gd name="T13" fmla="*/ 550 h 2974"/>
              <a:gd name="T14" fmla="*/ 2179 w 3365"/>
              <a:gd name="T15" fmla="*/ 606 h 2974"/>
              <a:gd name="T16" fmla="*/ 1821 w 3365"/>
              <a:gd name="T17" fmla="*/ 4 h 2974"/>
              <a:gd name="T18" fmla="*/ 1868 w 3365"/>
              <a:gd name="T19" fmla="*/ 134 h 2974"/>
              <a:gd name="T20" fmla="*/ 1856 w 3365"/>
              <a:gd name="T21" fmla="*/ 247 h 2974"/>
              <a:gd name="T22" fmla="*/ 1850 w 3365"/>
              <a:gd name="T23" fmla="*/ 339 h 2974"/>
              <a:gd name="T24" fmla="*/ 2138 w 3365"/>
              <a:gd name="T25" fmla="*/ 513 h 2974"/>
              <a:gd name="T26" fmla="*/ 2158 w 3365"/>
              <a:gd name="T27" fmla="*/ 648 h 2974"/>
              <a:gd name="T28" fmla="*/ 2051 w 3365"/>
              <a:gd name="T29" fmla="*/ 1780 h 2974"/>
              <a:gd name="T30" fmla="*/ 2538 w 3365"/>
              <a:gd name="T31" fmla="*/ 1616 h 2974"/>
              <a:gd name="T32" fmla="*/ 2643 w 3365"/>
              <a:gd name="T33" fmla="*/ 1495 h 2974"/>
              <a:gd name="T34" fmla="*/ 2574 w 3365"/>
              <a:gd name="T35" fmla="*/ 1202 h 2974"/>
              <a:gd name="T36" fmla="*/ 2593 w 3365"/>
              <a:gd name="T37" fmla="*/ 1113 h 2974"/>
              <a:gd name="T38" fmla="*/ 2839 w 3365"/>
              <a:gd name="T39" fmla="*/ 862 h 2974"/>
              <a:gd name="T40" fmla="*/ 2991 w 3365"/>
              <a:gd name="T41" fmla="*/ 1003 h 2974"/>
              <a:gd name="T42" fmla="*/ 3015 w 3365"/>
              <a:gd name="T43" fmla="*/ 1181 h 2974"/>
              <a:gd name="T44" fmla="*/ 2941 w 3365"/>
              <a:gd name="T45" fmla="*/ 1454 h 2974"/>
              <a:gd name="T46" fmla="*/ 3004 w 3365"/>
              <a:gd name="T47" fmla="*/ 1601 h 2974"/>
              <a:gd name="T48" fmla="*/ 3031 w 3365"/>
              <a:gd name="T49" fmla="*/ 2041 h 2974"/>
              <a:gd name="T50" fmla="*/ 2619 w 3365"/>
              <a:gd name="T51" fmla="*/ 2075 h 2974"/>
              <a:gd name="T52" fmla="*/ 2092 w 3365"/>
              <a:gd name="T53" fmla="*/ 1988 h 2974"/>
              <a:gd name="T54" fmla="*/ 1697 w 3365"/>
              <a:gd name="T55" fmla="*/ 2906 h 2974"/>
              <a:gd name="T56" fmla="*/ 1144 w 3365"/>
              <a:gd name="T57" fmla="*/ 2888 h 2974"/>
              <a:gd name="T58" fmla="*/ 781 w 3365"/>
              <a:gd name="T59" fmla="*/ 2229 h 2974"/>
              <a:gd name="T60" fmla="*/ 219 w 3365"/>
              <a:gd name="T61" fmla="*/ 2733 h 2974"/>
              <a:gd name="T62" fmla="*/ 463 w 3365"/>
              <a:gd name="T63" fmla="*/ 2256 h 2974"/>
              <a:gd name="T64" fmla="*/ 538 w 3365"/>
              <a:gd name="T65" fmla="*/ 2131 h 2974"/>
              <a:gd name="T66" fmla="*/ 454 w 3365"/>
              <a:gd name="T67" fmla="*/ 1764 h 2974"/>
              <a:gd name="T68" fmla="*/ 477 w 3365"/>
              <a:gd name="T69" fmla="*/ 1633 h 2974"/>
              <a:gd name="T70" fmla="*/ 705 w 3365"/>
              <a:gd name="T71" fmla="*/ 1334 h 2974"/>
              <a:gd name="T72" fmla="*/ 956 w 3365"/>
              <a:gd name="T73" fmla="*/ 1452 h 2974"/>
              <a:gd name="T74" fmla="*/ 997 w 3365"/>
              <a:gd name="T75" fmla="*/ 1703 h 2974"/>
              <a:gd name="T76" fmla="*/ 962 w 3365"/>
              <a:gd name="T77" fmla="*/ 1944 h 2974"/>
              <a:gd name="T78" fmla="*/ 929 w 3365"/>
              <a:gd name="T79" fmla="*/ 2138 h 2974"/>
              <a:gd name="T80" fmla="*/ 1372 w 3365"/>
              <a:gd name="T81" fmla="*/ 2424 h 2974"/>
              <a:gd name="T82" fmla="*/ 1843 w 3365"/>
              <a:gd name="T83" fmla="*/ 1867 h 2974"/>
              <a:gd name="T84" fmla="*/ 1182 w 3365"/>
              <a:gd name="T85" fmla="*/ 903 h 2974"/>
              <a:gd name="T86" fmla="*/ 845 w 3365"/>
              <a:gd name="T87" fmla="*/ 937 h 2974"/>
              <a:gd name="T88" fmla="*/ 549 w 3365"/>
              <a:gd name="T89" fmla="*/ 870 h 2974"/>
              <a:gd name="T90" fmla="*/ 650 w 3365"/>
              <a:gd name="T91" fmla="*/ 598 h 2974"/>
              <a:gd name="T92" fmla="*/ 686 w 3365"/>
              <a:gd name="T93" fmla="*/ 474 h 2974"/>
              <a:gd name="T94" fmla="*/ 650 w 3365"/>
              <a:gd name="T95" fmla="*/ 305 h 2974"/>
              <a:gd name="T96" fmla="*/ 762 w 3365"/>
              <a:gd name="T97" fmla="*/ 119 h 2974"/>
              <a:gd name="T98" fmla="*/ 914 w 3365"/>
              <a:gd name="T99" fmla="*/ 188 h 2974"/>
              <a:gd name="T100" fmla="*/ 937 w 3365"/>
              <a:gd name="T101" fmla="*/ 321 h 2974"/>
              <a:gd name="T102" fmla="*/ 888 w 3365"/>
              <a:gd name="T103" fmla="*/ 537 h 2974"/>
              <a:gd name="T104" fmla="*/ 1114 w 3365"/>
              <a:gd name="T105" fmla="*/ 686 h 2974"/>
              <a:gd name="T106" fmla="*/ 2005 w 3365"/>
              <a:gd name="T107" fmla="*/ 594 h 2974"/>
              <a:gd name="T108" fmla="*/ 1744 w 3365"/>
              <a:gd name="T109" fmla="*/ 364 h 2974"/>
              <a:gd name="T110" fmla="*/ 1508 w 3365"/>
              <a:gd name="T111" fmla="*/ 445 h 2974"/>
              <a:gd name="T112" fmla="*/ 1684 w 3365"/>
              <a:gd name="T113" fmla="*/ 329 h 2974"/>
              <a:gd name="T114" fmla="*/ 1654 w 3365"/>
              <a:gd name="T115" fmla="*/ 177 h 2974"/>
              <a:gd name="T116" fmla="*/ 1663 w 3365"/>
              <a:gd name="T117" fmla="*/ 128 h 29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365" h="2974">
                <a:moveTo>
                  <a:pt x="1431" y="2711"/>
                </a:moveTo>
                <a:lnTo>
                  <a:pt x="1388" y="2712"/>
                </a:lnTo>
                <a:lnTo>
                  <a:pt x="1347" y="2716"/>
                </a:lnTo>
                <a:lnTo>
                  <a:pt x="1309" y="2723"/>
                </a:lnTo>
                <a:lnTo>
                  <a:pt x="1274" y="2732"/>
                </a:lnTo>
                <a:lnTo>
                  <a:pt x="1231" y="2747"/>
                </a:lnTo>
                <a:lnTo>
                  <a:pt x="1204" y="2761"/>
                </a:lnTo>
                <a:lnTo>
                  <a:pt x="1182" y="2776"/>
                </a:lnTo>
                <a:lnTo>
                  <a:pt x="1167" y="2792"/>
                </a:lnTo>
                <a:lnTo>
                  <a:pt x="1157" y="2808"/>
                </a:lnTo>
                <a:lnTo>
                  <a:pt x="1154" y="2824"/>
                </a:lnTo>
                <a:lnTo>
                  <a:pt x="1157" y="2840"/>
                </a:lnTo>
                <a:lnTo>
                  <a:pt x="1167" y="2856"/>
                </a:lnTo>
                <a:lnTo>
                  <a:pt x="1182" y="2872"/>
                </a:lnTo>
                <a:lnTo>
                  <a:pt x="1204" y="2887"/>
                </a:lnTo>
                <a:lnTo>
                  <a:pt x="1231" y="2900"/>
                </a:lnTo>
                <a:lnTo>
                  <a:pt x="1263" y="2912"/>
                </a:lnTo>
                <a:lnTo>
                  <a:pt x="1300" y="2923"/>
                </a:lnTo>
                <a:lnTo>
                  <a:pt x="1340" y="2930"/>
                </a:lnTo>
                <a:lnTo>
                  <a:pt x="1384" y="2935"/>
                </a:lnTo>
                <a:lnTo>
                  <a:pt x="1431" y="2937"/>
                </a:lnTo>
                <a:lnTo>
                  <a:pt x="1479" y="2935"/>
                </a:lnTo>
                <a:lnTo>
                  <a:pt x="1523" y="2930"/>
                </a:lnTo>
                <a:lnTo>
                  <a:pt x="1564" y="2923"/>
                </a:lnTo>
                <a:lnTo>
                  <a:pt x="1599" y="2912"/>
                </a:lnTo>
                <a:lnTo>
                  <a:pt x="1631" y="2900"/>
                </a:lnTo>
                <a:lnTo>
                  <a:pt x="1659" y="2887"/>
                </a:lnTo>
                <a:lnTo>
                  <a:pt x="1681" y="2872"/>
                </a:lnTo>
                <a:lnTo>
                  <a:pt x="1696" y="2856"/>
                </a:lnTo>
                <a:lnTo>
                  <a:pt x="1706" y="2840"/>
                </a:lnTo>
                <a:lnTo>
                  <a:pt x="1709" y="2824"/>
                </a:lnTo>
                <a:lnTo>
                  <a:pt x="1706" y="2808"/>
                </a:lnTo>
                <a:lnTo>
                  <a:pt x="1696" y="2792"/>
                </a:lnTo>
                <a:lnTo>
                  <a:pt x="1681" y="2776"/>
                </a:lnTo>
                <a:lnTo>
                  <a:pt x="1659" y="2761"/>
                </a:lnTo>
                <a:lnTo>
                  <a:pt x="1631" y="2747"/>
                </a:lnTo>
                <a:lnTo>
                  <a:pt x="1599" y="2736"/>
                </a:lnTo>
                <a:lnTo>
                  <a:pt x="1564" y="2725"/>
                </a:lnTo>
                <a:lnTo>
                  <a:pt x="1523" y="2717"/>
                </a:lnTo>
                <a:lnTo>
                  <a:pt x="1479" y="2713"/>
                </a:lnTo>
                <a:lnTo>
                  <a:pt x="1431" y="2711"/>
                </a:lnTo>
                <a:close/>
                <a:moveTo>
                  <a:pt x="2051" y="1818"/>
                </a:moveTo>
                <a:lnTo>
                  <a:pt x="2016" y="1819"/>
                </a:lnTo>
                <a:lnTo>
                  <a:pt x="1983" y="1825"/>
                </a:lnTo>
                <a:lnTo>
                  <a:pt x="1953" y="1831"/>
                </a:lnTo>
                <a:lnTo>
                  <a:pt x="1927" y="1840"/>
                </a:lnTo>
                <a:lnTo>
                  <a:pt x="1906" y="1850"/>
                </a:lnTo>
                <a:lnTo>
                  <a:pt x="1890" y="1862"/>
                </a:lnTo>
                <a:lnTo>
                  <a:pt x="1881" y="1873"/>
                </a:lnTo>
                <a:lnTo>
                  <a:pt x="1877" y="1885"/>
                </a:lnTo>
                <a:lnTo>
                  <a:pt x="1881" y="1898"/>
                </a:lnTo>
                <a:lnTo>
                  <a:pt x="1890" y="1909"/>
                </a:lnTo>
                <a:lnTo>
                  <a:pt x="1906" y="1920"/>
                </a:lnTo>
                <a:lnTo>
                  <a:pt x="1927" y="1930"/>
                </a:lnTo>
                <a:lnTo>
                  <a:pt x="1953" y="1940"/>
                </a:lnTo>
                <a:lnTo>
                  <a:pt x="1983" y="1947"/>
                </a:lnTo>
                <a:lnTo>
                  <a:pt x="2016" y="1951"/>
                </a:lnTo>
                <a:lnTo>
                  <a:pt x="2051" y="1952"/>
                </a:lnTo>
                <a:lnTo>
                  <a:pt x="2088" y="1951"/>
                </a:lnTo>
                <a:lnTo>
                  <a:pt x="2121" y="1947"/>
                </a:lnTo>
                <a:lnTo>
                  <a:pt x="2151" y="1940"/>
                </a:lnTo>
                <a:lnTo>
                  <a:pt x="2177" y="1930"/>
                </a:lnTo>
                <a:lnTo>
                  <a:pt x="2197" y="1920"/>
                </a:lnTo>
                <a:lnTo>
                  <a:pt x="2214" y="1909"/>
                </a:lnTo>
                <a:lnTo>
                  <a:pt x="2223" y="1898"/>
                </a:lnTo>
                <a:lnTo>
                  <a:pt x="2227" y="1885"/>
                </a:lnTo>
                <a:lnTo>
                  <a:pt x="2223" y="1873"/>
                </a:lnTo>
                <a:lnTo>
                  <a:pt x="2214" y="1862"/>
                </a:lnTo>
                <a:lnTo>
                  <a:pt x="2197" y="1850"/>
                </a:lnTo>
                <a:lnTo>
                  <a:pt x="2177" y="1840"/>
                </a:lnTo>
                <a:lnTo>
                  <a:pt x="2151" y="1831"/>
                </a:lnTo>
                <a:lnTo>
                  <a:pt x="2121" y="1825"/>
                </a:lnTo>
                <a:lnTo>
                  <a:pt x="2088" y="1819"/>
                </a:lnTo>
                <a:lnTo>
                  <a:pt x="2051" y="1818"/>
                </a:lnTo>
                <a:close/>
                <a:moveTo>
                  <a:pt x="1324" y="807"/>
                </a:moveTo>
                <a:lnTo>
                  <a:pt x="1291" y="808"/>
                </a:lnTo>
                <a:lnTo>
                  <a:pt x="1263" y="813"/>
                </a:lnTo>
                <a:lnTo>
                  <a:pt x="1238" y="819"/>
                </a:lnTo>
                <a:lnTo>
                  <a:pt x="1218" y="827"/>
                </a:lnTo>
                <a:lnTo>
                  <a:pt x="1204" y="837"/>
                </a:lnTo>
                <a:lnTo>
                  <a:pt x="1196" y="846"/>
                </a:lnTo>
                <a:lnTo>
                  <a:pt x="1193" y="854"/>
                </a:lnTo>
                <a:lnTo>
                  <a:pt x="1196" y="863"/>
                </a:lnTo>
                <a:lnTo>
                  <a:pt x="1204" y="872"/>
                </a:lnTo>
                <a:lnTo>
                  <a:pt x="1218" y="882"/>
                </a:lnTo>
                <a:lnTo>
                  <a:pt x="1238" y="890"/>
                </a:lnTo>
                <a:lnTo>
                  <a:pt x="1263" y="896"/>
                </a:lnTo>
                <a:lnTo>
                  <a:pt x="1291" y="901"/>
                </a:lnTo>
                <a:lnTo>
                  <a:pt x="1324" y="902"/>
                </a:lnTo>
                <a:lnTo>
                  <a:pt x="1356" y="901"/>
                </a:lnTo>
                <a:lnTo>
                  <a:pt x="1385" y="896"/>
                </a:lnTo>
                <a:lnTo>
                  <a:pt x="1409" y="890"/>
                </a:lnTo>
                <a:lnTo>
                  <a:pt x="1429" y="882"/>
                </a:lnTo>
                <a:lnTo>
                  <a:pt x="1443" y="872"/>
                </a:lnTo>
                <a:lnTo>
                  <a:pt x="1453" y="863"/>
                </a:lnTo>
                <a:lnTo>
                  <a:pt x="1456" y="854"/>
                </a:lnTo>
                <a:lnTo>
                  <a:pt x="1453" y="846"/>
                </a:lnTo>
                <a:lnTo>
                  <a:pt x="1443" y="837"/>
                </a:lnTo>
                <a:lnTo>
                  <a:pt x="1429" y="827"/>
                </a:lnTo>
                <a:lnTo>
                  <a:pt x="1409" y="819"/>
                </a:lnTo>
                <a:lnTo>
                  <a:pt x="1385" y="813"/>
                </a:lnTo>
                <a:lnTo>
                  <a:pt x="1356" y="808"/>
                </a:lnTo>
                <a:lnTo>
                  <a:pt x="1324" y="807"/>
                </a:lnTo>
                <a:close/>
                <a:moveTo>
                  <a:pt x="2134" y="549"/>
                </a:moveTo>
                <a:lnTo>
                  <a:pt x="2109" y="550"/>
                </a:lnTo>
                <a:lnTo>
                  <a:pt x="2088" y="554"/>
                </a:lnTo>
                <a:lnTo>
                  <a:pt x="2071" y="558"/>
                </a:lnTo>
                <a:lnTo>
                  <a:pt x="2058" y="564"/>
                </a:lnTo>
                <a:lnTo>
                  <a:pt x="2048" y="569"/>
                </a:lnTo>
                <a:lnTo>
                  <a:pt x="2042" y="576"/>
                </a:lnTo>
                <a:lnTo>
                  <a:pt x="2040" y="580"/>
                </a:lnTo>
                <a:lnTo>
                  <a:pt x="2042" y="585"/>
                </a:lnTo>
                <a:lnTo>
                  <a:pt x="2048" y="590"/>
                </a:lnTo>
                <a:lnTo>
                  <a:pt x="2058" y="596"/>
                </a:lnTo>
                <a:lnTo>
                  <a:pt x="2071" y="601"/>
                </a:lnTo>
                <a:lnTo>
                  <a:pt x="2088" y="606"/>
                </a:lnTo>
                <a:lnTo>
                  <a:pt x="2109" y="610"/>
                </a:lnTo>
                <a:lnTo>
                  <a:pt x="2134" y="611"/>
                </a:lnTo>
                <a:lnTo>
                  <a:pt x="2157" y="610"/>
                </a:lnTo>
                <a:lnTo>
                  <a:pt x="2179" y="606"/>
                </a:lnTo>
                <a:lnTo>
                  <a:pt x="2195" y="601"/>
                </a:lnTo>
                <a:lnTo>
                  <a:pt x="2209" y="596"/>
                </a:lnTo>
                <a:lnTo>
                  <a:pt x="2219" y="590"/>
                </a:lnTo>
                <a:lnTo>
                  <a:pt x="2225" y="585"/>
                </a:lnTo>
                <a:lnTo>
                  <a:pt x="2227" y="580"/>
                </a:lnTo>
                <a:lnTo>
                  <a:pt x="2225" y="576"/>
                </a:lnTo>
                <a:lnTo>
                  <a:pt x="2219" y="569"/>
                </a:lnTo>
                <a:lnTo>
                  <a:pt x="2209" y="564"/>
                </a:lnTo>
                <a:lnTo>
                  <a:pt x="2195" y="558"/>
                </a:lnTo>
                <a:lnTo>
                  <a:pt x="2179" y="554"/>
                </a:lnTo>
                <a:lnTo>
                  <a:pt x="2157" y="550"/>
                </a:lnTo>
                <a:lnTo>
                  <a:pt x="2134" y="549"/>
                </a:lnTo>
                <a:close/>
                <a:moveTo>
                  <a:pt x="1814" y="0"/>
                </a:moveTo>
                <a:lnTo>
                  <a:pt x="1820" y="0"/>
                </a:lnTo>
                <a:lnTo>
                  <a:pt x="1821" y="4"/>
                </a:lnTo>
                <a:lnTo>
                  <a:pt x="1818" y="6"/>
                </a:lnTo>
                <a:lnTo>
                  <a:pt x="1816" y="8"/>
                </a:lnTo>
                <a:lnTo>
                  <a:pt x="1813" y="10"/>
                </a:lnTo>
                <a:lnTo>
                  <a:pt x="1810" y="14"/>
                </a:lnTo>
                <a:lnTo>
                  <a:pt x="1809" y="17"/>
                </a:lnTo>
                <a:lnTo>
                  <a:pt x="1809" y="19"/>
                </a:lnTo>
                <a:lnTo>
                  <a:pt x="1811" y="22"/>
                </a:lnTo>
                <a:lnTo>
                  <a:pt x="1814" y="25"/>
                </a:lnTo>
                <a:lnTo>
                  <a:pt x="1852" y="58"/>
                </a:lnTo>
                <a:lnTo>
                  <a:pt x="1861" y="69"/>
                </a:lnTo>
                <a:lnTo>
                  <a:pt x="1866" y="82"/>
                </a:lnTo>
                <a:lnTo>
                  <a:pt x="1868" y="95"/>
                </a:lnTo>
                <a:lnTo>
                  <a:pt x="1868" y="110"/>
                </a:lnTo>
                <a:lnTo>
                  <a:pt x="1868" y="123"/>
                </a:lnTo>
                <a:lnTo>
                  <a:pt x="1868" y="134"/>
                </a:lnTo>
                <a:lnTo>
                  <a:pt x="1868" y="149"/>
                </a:lnTo>
                <a:lnTo>
                  <a:pt x="1868" y="151"/>
                </a:lnTo>
                <a:lnTo>
                  <a:pt x="1868" y="153"/>
                </a:lnTo>
                <a:lnTo>
                  <a:pt x="1868" y="157"/>
                </a:lnTo>
                <a:lnTo>
                  <a:pt x="1869" y="159"/>
                </a:lnTo>
                <a:lnTo>
                  <a:pt x="1871" y="160"/>
                </a:lnTo>
                <a:lnTo>
                  <a:pt x="1874" y="162"/>
                </a:lnTo>
                <a:lnTo>
                  <a:pt x="1875" y="163"/>
                </a:lnTo>
                <a:lnTo>
                  <a:pt x="1876" y="165"/>
                </a:lnTo>
                <a:lnTo>
                  <a:pt x="1876" y="166"/>
                </a:lnTo>
                <a:lnTo>
                  <a:pt x="1872" y="205"/>
                </a:lnTo>
                <a:lnTo>
                  <a:pt x="1872" y="206"/>
                </a:lnTo>
                <a:lnTo>
                  <a:pt x="1865" y="219"/>
                </a:lnTo>
                <a:lnTo>
                  <a:pt x="1860" y="233"/>
                </a:lnTo>
                <a:lnTo>
                  <a:pt x="1856" y="247"/>
                </a:lnTo>
                <a:lnTo>
                  <a:pt x="1850" y="261"/>
                </a:lnTo>
                <a:lnTo>
                  <a:pt x="1850" y="262"/>
                </a:lnTo>
                <a:lnTo>
                  <a:pt x="1850" y="263"/>
                </a:lnTo>
                <a:lnTo>
                  <a:pt x="1843" y="275"/>
                </a:lnTo>
                <a:lnTo>
                  <a:pt x="1840" y="286"/>
                </a:lnTo>
                <a:lnTo>
                  <a:pt x="1839" y="298"/>
                </a:lnTo>
                <a:lnTo>
                  <a:pt x="1839" y="311"/>
                </a:lnTo>
                <a:lnTo>
                  <a:pt x="1839" y="323"/>
                </a:lnTo>
                <a:lnTo>
                  <a:pt x="1839" y="326"/>
                </a:lnTo>
                <a:lnTo>
                  <a:pt x="1841" y="328"/>
                </a:lnTo>
                <a:lnTo>
                  <a:pt x="1842" y="329"/>
                </a:lnTo>
                <a:lnTo>
                  <a:pt x="1845" y="331"/>
                </a:lnTo>
                <a:lnTo>
                  <a:pt x="1848" y="333"/>
                </a:lnTo>
                <a:lnTo>
                  <a:pt x="1849" y="336"/>
                </a:lnTo>
                <a:lnTo>
                  <a:pt x="1850" y="339"/>
                </a:lnTo>
                <a:lnTo>
                  <a:pt x="1851" y="343"/>
                </a:lnTo>
                <a:lnTo>
                  <a:pt x="1855" y="356"/>
                </a:lnTo>
                <a:lnTo>
                  <a:pt x="1860" y="369"/>
                </a:lnTo>
                <a:lnTo>
                  <a:pt x="1862" y="372"/>
                </a:lnTo>
                <a:lnTo>
                  <a:pt x="1867" y="374"/>
                </a:lnTo>
                <a:lnTo>
                  <a:pt x="1870" y="376"/>
                </a:lnTo>
                <a:lnTo>
                  <a:pt x="1939" y="404"/>
                </a:lnTo>
                <a:lnTo>
                  <a:pt x="2007" y="436"/>
                </a:lnTo>
                <a:lnTo>
                  <a:pt x="2020" y="444"/>
                </a:lnTo>
                <a:lnTo>
                  <a:pt x="2031" y="453"/>
                </a:lnTo>
                <a:lnTo>
                  <a:pt x="2048" y="527"/>
                </a:lnTo>
                <a:lnTo>
                  <a:pt x="2068" y="521"/>
                </a:lnTo>
                <a:lnTo>
                  <a:pt x="2089" y="516"/>
                </a:lnTo>
                <a:lnTo>
                  <a:pt x="2113" y="513"/>
                </a:lnTo>
                <a:lnTo>
                  <a:pt x="2138" y="513"/>
                </a:lnTo>
                <a:lnTo>
                  <a:pt x="2161" y="514"/>
                </a:lnTo>
                <a:lnTo>
                  <a:pt x="2184" y="517"/>
                </a:lnTo>
                <a:lnTo>
                  <a:pt x="2206" y="522"/>
                </a:lnTo>
                <a:lnTo>
                  <a:pt x="2225" y="529"/>
                </a:lnTo>
                <a:lnTo>
                  <a:pt x="2240" y="540"/>
                </a:lnTo>
                <a:lnTo>
                  <a:pt x="2254" y="551"/>
                </a:lnTo>
                <a:lnTo>
                  <a:pt x="2261" y="564"/>
                </a:lnTo>
                <a:lnTo>
                  <a:pt x="2264" y="580"/>
                </a:lnTo>
                <a:lnTo>
                  <a:pt x="2261" y="596"/>
                </a:lnTo>
                <a:lnTo>
                  <a:pt x="2253" y="610"/>
                </a:lnTo>
                <a:lnTo>
                  <a:pt x="2240" y="621"/>
                </a:lnTo>
                <a:lnTo>
                  <a:pt x="2223" y="631"/>
                </a:lnTo>
                <a:lnTo>
                  <a:pt x="2204" y="638"/>
                </a:lnTo>
                <a:lnTo>
                  <a:pt x="2181" y="644"/>
                </a:lnTo>
                <a:lnTo>
                  <a:pt x="2158" y="648"/>
                </a:lnTo>
                <a:lnTo>
                  <a:pt x="2134" y="649"/>
                </a:lnTo>
                <a:lnTo>
                  <a:pt x="2105" y="646"/>
                </a:lnTo>
                <a:lnTo>
                  <a:pt x="2077" y="642"/>
                </a:lnTo>
                <a:lnTo>
                  <a:pt x="2051" y="634"/>
                </a:lnTo>
                <a:lnTo>
                  <a:pt x="1484" y="827"/>
                </a:lnTo>
                <a:lnTo>
                  <a:pt x="1491" y="841"/>
                </a:lnTo>
                <a:lnTo>
                  <a:pt x="1494" y="854"/>
                </a:lnTo>
                <a:lnTo>
                  <a:pt x="1491" y="870"/>
                </a:lnTo>
                <a:lnTo>
                  <a:pt x="1483" y="885"/>
                </a:lnTo>
                <a:lnTo>
                  <a:pt x="1471" y="898"/>
                </a:lnTo>
                <a:lnTo>
                  <a:pt x="1455" y="909"/>
                </a:lnTo>
                <a:lnTo>
                  <a:pt x="1435" y="920"/>
                </a:lnTo>
                <a:lnTo>
                  <a:pt x="1413" y="928"/>
                </a:lnTo>
                <a:lnTo>
                  <a:pt x="2046" y="1780"/>
                </a:lnTo>
                <a:lnTo>
                  <a:pt x="2051" y="1780"/>
                </a:lnTo>
                <a:lnTo>
                  <a:pt x="2094" y="1782"/>
                </a:lnTo>
                <a:lnTo>
                  <a:pt x="2133" y="1788"/>
                </a:lnTo>
                <a:lnTo>
                  <a:pt x="2168" y="1797"/>
                </a:lnTo>
                <a:lnTo>
                  <a:pt x="2197" y="1808"/>
                </a:lnTo>
                <a:lnTo>
                  <a:pt x="2223" y="1822"/>
                </a:lnTo>
                <a:lnTo>
                  <a:pt x="2243" y="1838"/>
                </a:lnTo>
                <a:lnTo>
                  <a:pt x="2262" y="1756"/>
                </a:lnTo>
                <a:lnTo>
                  <a:pt x="2277" y="1743"/>
                </a:lnTo>
                <a:lnTo>
                  <a:pt x="2294" y="1732"/>
                </a:lnTo>
                <a:lnTo>
                  <a:pt x="2311" y="1722"/>
                </a:lnTo>
                <a:lnTo>
                  <a:pt x="2357" y="1697"/>
                </a:lnTo>
                <a:lnTo>
                  <a:pt x="2403" y="1675"/>
                </a:lnTo>
                <a:lnTo>
                  <a:pt x="2449" y="1654"/>
                </a:lnTo>
                <a:lnTo>
                  <a:pt x="2495" y="1635"/>
                </a:lnTo>
                <a:lnTo>
                  <a:pt x="2538" y="1616"/>
                </a:lnTo>
                <a:lnTo>
                  <a:pt x="2583" y="1599"/>
                </a:lnTo>
                <a:lnTo>
                  <a:pt x="2587" y="1596"/>
                </a:lnTo>
                <a:lnTo>
                  <a:pt x="2592" y="1590"/>
                </a:lnTo>
                <a:lnTo>
                  <a:pt x="2594" y="1586"/>
                </a:lnTo>
                <a:lnTo>
                  <a:pt x="2611" y="1536"/>
                </a:lnTo>
                <a:lnTo>
                  <a:pt x="2613" y="1529"/>
                </a:lnTo>
                <a:lnTo>
                  <a:pt x="2616" y="1522"/>
                </a:lnTo>
                <a:lnTo>
                  <a:pt x="2620" y="1515"/>
                </a:lnTo>
                <a:lnTo>
                  <a:pt x="2626" y="1511"/>
                </a:lnTo>
                <a:lnTo>
                  <a:pt x="2634" y="1508"/>
                </a:lnTo>
                <a:lnTo>
                  <a:pt x="2636" y="1507"/>
                </a:lnTo>
                <a:lnTo>
                  <a:pt x="2639" y="1504"/>
                </a:lnTo>
                <a:lnTo>
                  <a:pt x="2641" y="1501"/>
                </a:lnTo>
                <a:lnTo>
                  <a:pt x="2642" y="1498"/>
                </a:lnTo>
                <a:lnTo>
                  <a:pt x="2643" y="1495"/>
                </a:lnTo>
                <a:lnTo>
                  <a:pt x="2651" y="1422"/>
                </a:lnTo>
                <a:lnTo>
                  <a:pt x="2650" y="1418"/>
                </a:lnTo>
                <a:lnTo>
                  <a:pt x="2649" y="1414"/>
                </a:lnTo>
                <a:lnTo>
                  <a:pt x="2647" y="1410"/>
                </a:lnTo>
                <a:lnTo>
                  <a:pt x="2645" y="1407"/>
                </a:lnTo>
                <a:lnTo>
                  <a:pt x="2631" y="1388"/>
                </a:lnTo>
                <a:lnTo>
                  <a:pt x="2620" y="1368"/>
                </a:lnTo>
                <a:lnTo>
                  <a:pt x="2612" y="1346"/>
                </a:lnTo>
                <a:lnTo>
                  <a:pt x="2607" y="1323"/>
                </a:lnTo>
                <a:lnTo>
                  <a:pt x="2603" y="1308"/>
                </a:lnTo>
                <a:lnTo>
                  <a:pt x="2597" y="1293"/>
                </a:lnTo>
                <a:lnTo>
                  <a:pt x="2591" y="1277"/>
                </a:lnTo>
                <a:lnTo>
                  <a:pt x="2583" y="1245"/>
                </a:lnTo>
                <a:lnTo>
                  <a:pt x="2575" y="1213"/>
                </a:lnTo>
                <a:lnTo>
                  <a:pt x="2574" y="1202"/>
                </a:lnTo>
                <a:lnTo>
                  <a:pt x="2573" y="1190"/>
                </a:lnTo>
                <a:lnTo>
                  <a:pt x="2572" y="1182"/>
                </a:lnTo>
                <a:lnTo>
                  <a:pt x="2573" y="1174"/>
                </a:lnTo>
                <a:lnTo>
                  <a:pt x="2577" y="1169"/>
                </a:lnTo>
                <a:lnTo>
                  <a:pt x="2586" y="1165"/>
                </a:lnTo>
                <a:lnTo>
                  <a:pt x="2588" y="1164"/>
                </a:lnTo>
                <a:lnTo>
                  <a:pt x="2589" y="1161"/>
                </a:lnTo>
                <a:lnTo>
                  <a:pt x="2591" y="1159"/>
                </a:lnTo>
                <a:lnTo>
                  <a:pt x="2592" y="1155"/>
                </a:lnTo>
                <a:lnTo>
                  <a:pt x="2592" y="1152"/>
                </a:lnTo>
                <a:lnTo>
                  <a:pt x="2593" y="1149"/>
                </a:lnTo>
                <a:lnTo>
                  <a:pt x="2593" y="1135"/>
                </a:lnTo>
                <a:lnTo>
                  <a:pt x="2593" y="1126"/>
                </a:lnTo>
                <a:lnTo>
                  <a:pt x="2593" y="1119"/>
                </a:lnTo>
                <a:lnTo>
                  <a:pt x="2593" y="1113"/>
                </a:lnTo>
                <a:lnTo>
                  <a:pt x="2593" y="1104"/>
                </a:lnTo>
                <a:lnTo>
                  <a:pt x="2593" y="1089"/>
                </a:lnTo>
                <a:lnTo>
                  <a:pt x="2594" y="1058"/>
                </a:lnTo>
                <a:lnTo>
                  <a:pt x="2595" y="1027"/>
                </a:lnTo>
                <a:lnTo>
                  <a:pt x="2599" y="1004"/>
                </a:lnTo>
                <a:lnTo>
                  <a:pt x="2607" y="983"/>
                </a:lnTo>
                <a:lnTo>
                  <a:pt x="2619" y="966"/>
                </a:lnTo>
                <a:lnTo>
                  <a:pt x="2633" y="949"/>
                </a:lnTo>
                <a:lnTo>
                  <a:pt x="2650" y="934"/>
                </a:lnTo>
                <a:lnTo>
                  <a:pt x="2677" y="916"/>
                </a:lnTo>
                <a:lnTo>
                  <a:pt x="2705" y="900"/>
                </a:lnTo>
                <a:lnTo>
                  <a:pt x="2735" y="888"/>
                </a:lnTo>
                <a:lnTo>
                  <a:pt x="2765" y="878"/>
                </a:lnTo>
                <a:lnTo>
                  <a:pt x="2797" y="870"/>
                </a:lnTo>
                <a:lnTo>
                  <a:pt x="2839" y="862"/>
                </a:lnTo>
                <a:lnTo>
                  <a:pt x="2882" y="855"/>
                </a:lnTo>
                <a:lnTo>
                  <a:pt x="2893" y="855"/>
                </a:lnTo>
                <a:lnTo>
                  <a:pt x="2904" y="855"/>
                </a:lnTo>
                <a:lnTo>
                  <a:pt x="2906" y="858"/>
                </a:lnTo>
                <a:lnTo>
                  <a:pt x="2908" y="861"/>
                </a:lnTo>
                <a:lnTo>
                  <a:pt x="2899" y="867"/>
                </a:lnTo>
                <a:lnTo>
                  <a:pt x="2891" y="873"/>
                </a:lnTo>
                <a:lnTo>
                  <a:pt x="2885" y="882"/>
                </a:lnTo>
                <a:lnTo>
                  <a:pt x="2883" y="889"/>
                </a:lnTo>
                <a:lnTo>
                  <a:pt x="2886" y="896"/>
                </a:lnTo>
                <a:lnTo>
                  <a:pt x="2893" y="903"/>
                </a:lnTo>
                <a:lnTo>
                  <a:pt x="2931" y="936"/>
                </a:lnTo>
                <a:lnTo>
                  <a:pt x="2969" y="969"/>
                </a:lnTo>
                <a:lnTo>
                  <a:pt x="2982" y="984"/>
                </a:lnTo>
                <a:lnTo>
                  <a:pt x="2991" y="1003"/>
                </a:lnTo>
                <a:lnTo>
                  <a:pt x="2997" y="1022"/>
                </a:lnTo>
                <a:lnTo>
                  <a:pt x="2999" y="1043"/>
                </a:lnTo>
                <a:lnTo>
                  <a:pt x="2999" y="1065"/>
                </a:lnTo>
                <a:lnTo>
                  <a:pt x="2999" y="1081"/>
                </a:lnTo>
                <a:lnTo>
                  <a:pt x="2999" y="1096"/>
                </a:lnTo>
                <a:lnTo>
                  <a:pt x="2999" y="1111"/>
                </a:lnTo>
                <a:lnTo>
                  <a:pt x="2999" y="1127"/>
                </a:lnTo>
                <a:lnTo>
                  <a:pt x="2999" y="1149"/>
                </a:lnTo>
                <a:lnTo>
                  <a:pt x="2999" y="1157"/>
                </a:lnTo>
                <a:lnTo>
                  <a:pt x="3000" y="1163"/>
                </a:lnTo>
                <a:lnTo>
                  <a:pt x="3004" y="1169"/>
                </a:lnTo>
                <a:lnTo>
                  <a:pt x="3011" y="1173"/>
                </a:lnTo>
                <a:lnTo>
                  <a:pt x="3012" y="1175"/>
                </a:lnTo>
                <a:lnTo>
                  <a:pt x="3014" y="1178"/>
                </a:lnTo>
                <a:lnTo>
                  <a:pt x="3015" y="1181"/>
                </a:lnTo>
                <a:lnTo>
                  <a:pt x="3016" y="1184"/>
                </a:lnTo>
                <a:lnTo>
                  <a:pt x="3008" y="1260"/>
                </a:lnTo>
                <a:lnTo>
                  <a:pt x="3008" y="1261"/>
                </a:lnTo>
                <a:lnTo>
                  <a:pt x="3008" y="1263"/>
                </a:lnTo>
                <a:lnTo>
                  <a:pt x="2996" y="1283"/>
                </a:lnTo>
                <a:lnTo>
                  <a:pt x="2987" y="1305"/>
                </a:lnTo>
                <a:lnTo>
                  <a:pt x="2981" y="1327"/>
                </a:lnTo>
                <a:lnTo>
                  <a:pt x="2974" y="1350"/>
                </a:lnTo>
                <a:lnTo>
                  <a:pt x="2966" y="1373"/>
                </a:lnTo>
                <a:lnTo>
                  <a:pt x="2965" y="1375"/>
                </a:lnTo>
                <a:lnTo>
                  <a:pt x="2964" y="1377"/>
                </a:lnTo>
                <a:lnTo>
                  <a:pt x="2951" y="1394"/>
                </a:lnTo>
                <a:lnTo>
                  <a:pt x="2944" y="1414"/>
                </a:lnTo>
                <a:lnTo>
                  <a:pt x="2941" y="1434"/>
                </a:lnTo>
                <a:lnTo>
                  <a:pt x="2941" y="1454"/>
                </a:lnTo>
                <a:lnTo>
                  <a:pt x="2942" y="1475"/>
                </a:lnTo>
                <a:lnTo>
                  <a:pt x="2942" y="1496"/>
                </a:lnTo>
                <a:lnTo>
                  <a:pt x="2942" y="1498"/>
                </a:lnTo>
                <a:lnTo>
                  <a:pt x="2944" y="1502"/>
                </a:lnTo>
                <a:lnTo>
                  <a:pt x="2946" y="1505"/>
                </a:lnTo>
                <a:lnTo>
                  <a:pt x="2948" y="1507"/>
                </a:lnTo>
                <a:lnTo>
                  <a:pt x="2955" y="1512"/>
                </a:lnTo>
                <a:lnTo>
                  <a:pt x="2961" y="1519"/>
                </a:lnTo>
                <a:lnTo>
                  <a:pt x="2965" y="1527"/>
                </a:lnTo>
                <a:lnTo>
                  <a:pt x="2967" y="1535"/>
                </a:lnTo>
                <a:lnTo>
                  <a:pt x="2975" y="1561"/>
                </a:lnTo>
                <a:lnTo>
                  <a:pt x="2985" y="1587"/>
                </a:lnTo>
                <a:lnTo>
                  <a:pt x="2989" y="1592"/>
                </a:lnTo>
                <a:lnTo>
                  <a:pt x="2997" y="1598"/>
                </a:lnTo>
                <a:lnTo>
                  <a:pt x="3004" y="1601"/>
                </a:lnTo>
                <a:lnTo>
                  <a:pt x="3096" y="1638"/>
                </a:lnTo>
                <a:lnTo>
                  <a:pt x="3188" y="1677"/>
                </a:lnTo>
                <a:lnTo>
                  <a:pt x="3277" y="1720"/>
                </a:lnTo>
                <a:lnTo>
                  <a:pt x="3302" y="1735"/>
                </a:lnTo>
                <a:lnTo>
                  <a:pt x="3323" y="1754"/>
                </a:lnTo>
                <a:lnTo>
                  <a:pt x="3365" y="1937"/>
                </a:lnTo>
                <a:lnTo>
                  <a:pt x="3338" y="1939"/>
                </a:lnTo>
                <a:lnTo>
                  <a:pt x="3306" y="1944"/>
                </a:lnTo>
                <a:lnTo>
                  <a:pt x="3272" y="1953"/>
                </a:lnTo>
                <a:lnTo>
                  <a:pt x="3235" y="1964"/>
                </a:lnTo>
                <a:lnTo>
                  <a:pt x="3197" y="1978"/>
                </a:lnTo>
                <a:lnTo>
                  <a:pt x="3156" y="1993"/>
                </a:lnTo>
                <a:lnTo>
                  <a:pt x="3115" y="2008"/>
                </a:lnTo>
                <a:lnTo>
                  <a:pt x="3074" y="2025"/>
                </a:lnTo>
                <a:lnTo>
                  <a:pt x="3031" y="2041"/>
                </a:lnTo>
                <a:lnTo>
                  <a:pt x="2990" y="2057"/>
                </a:lnTo>
                <a:lnTo>
                  <a:pt x="2949" y="2071"/>
                </a:lnTo>
                <a:lnTo>
                  <a:pt x="2910" y="2083"/>
                </a:lnTo>
                <a:lnTo>
                  <a:pt x="2873" y="2094"/>
                </a:lnTo>
                <a:lnTo>
                  <a:pt x="2838" y="2101"/>
                </a:lnTo>
                <a:lnTo>
                  <a:pt x="2915" y="1995"/>
                </a:lnTo>
                <a:lnTo>
                  <a:pt x="2793" y="1659"/>
                </a:lnTo>
                <a:lnTo>
                  <a:pt x="2831" y="1577"/>
                </a:lnTo>
                <a:lnTo>
                  <a:pt x="2755" y="1577"/>
                </a:lnTo>
                <a:lnTo>
                  <a:pt x="2793" y="1659"/>
                </a:lnTo>
                <a:lnTo>
                  <a:pt x="2670" y="1995"/>
                </a:lnTo>
                <a:lnTo>
                  <a:pt x="2749" y="2104"/>
                </a:lnTo>
                <a:lnTo>
                  <a:pt x="2703" y="2098"/>
                </a:lnTo>
                <a:lnTo>
                  <a:pt x="2660" y="2088"/>
                </a:lnTo>
                <a:lnTo>
                  <a:pt x="2619" y="2075"/>
                </a:lnTo>
                <a:lnTo>
                  <a:pt x="2579" y="2060"/>
                </a:lnTo>
                <a:lnTo>
                  <a:pt x="2543" y="2043"/>
                </a:lnTo>
                <a:lnTo>
                  <a:pt x="2507" y="2026"/>
                </a:lnTo>
                <a:lnTo>
                  <a:pt x="2471" y="2008"/>
                </a:lnTo>
                <a:lnTo>
                  <a:pt x="2435" y="1991"/>
                </a:lnTo>
                <a:lnTo>
                  <a:pt x="2399" y="1975"/>
                </a:lnTo>
                <a:lnTo>
                  <a:pt x="2362" y="1961"/>
                </a:lnTo>
                <a:lnTo>
                  <a:pt x="2323" y="1950"/>
                </a:lnTo>
                <a:lnTo>
                  <a:pt x="2282" y="1942"/>
                </a:lnTo>
                <a:lnTo>
                  <a:pt x="2238" y="1937"/>
                </a:lnTo>
                <a:lnTo>
                  <a:pt x="2218" y="1952"/>
                </a:lnTo>
                <a:lnTo>
                  <a:pt x="2192" y="1965"/>
                </a:lnTo>
                <a:lnTo>
                  <a:pt x="2162" y="1976"/>
                </a:lnTo>
                <a:lnTo>
                  <a:pt x="2130" y="1984"/>
                </a:lnTo>
                <a:lnTo>
                  <a:pt x="2092" y="1988"/>
                </a:lnTo>
                <a:lnTo>
                  <a:pt x="2052" y="1990"/>
                </a:lnTo>
                <a:lnTo>
                  <a:pt x="2027" y="1989"/>
                </a:lnTo>
                <a:lnTo>
                  <a:pt x="1581" y="2690"/>
                </a:lnTo>
                <a:lnTo>
                  <a:pt x="1617" y="2702"/>
                </a:lnTo>
                <a:lnTo>
                  <a:pt x="1649" y="2714"/>
                </a:lnTo>
                <a:lnTo>
                  <a:pt x="1678" y="2728"/>
                </a:lnTo>
                <a:lnTo>
                  <a:pt x="1701" y="2745"/>
                </a:lnTo>
                <a:lnTo>
                  <a:pt x="1721" y="2762"/>
                </a:lnTo>
                <a:lnTo>
                  <a:pt x="1735" y="2782"/>
                </a:lnTo>
                <a:lnTo>
                  <a:pt x="1744" y="2802"/>
                </a:lnTo>
                <a:lnTo>
                  <a:pt x="1747" y="2824"/>
                </a:lnTo>
                <a:lnTo>
                  <a:pt x="1743" y="2847"/>
                </a:lnTo>
                <a:lnTo>
                  <a:pt x="1734" y="2868"/>
                </a:lnTo>
                <a:lnTo>
                  <a:pt x="1718" y="2888"/>
                </a:lnTo>
                <a:lnTo>
                  <a:pt x="1697" y="2906"/>
                </a:lnTo>
                <a:lnTo>
                  <a:pt x="1670" y="2924"/>
                </a:lnTo>
                <a:lnTo>
                  <a:pt x="1640" y="2938"/>
                </a:lnTo>
                <a:lnTo>
                  <a:pt x="1605" y="2950"/>
                </a:lnTo>
                <a:lnTo>
                  <a:pt x="1566" y="2961"/>
                </a:lnTo>
                <a:lnTo>
                  <a:pt x="1523" y="2968"/>
                </a:lnTo>
                <a:lnTo>
                  <a:pt x="1478" y="2973"/>
                </a:lnTo>
                <a:lnTo>
                  <a:pt x="1431" y="2974"/>
                </a:lnTo>
                <a:lnTo>
                  <a:pt x="1384" y="2973"/>
                </a:lnTo>
                <a:lnTo>
                  <a:pt x="1340" y="2968"/>
                </a:lnTo>
                <a:lnTo>
                  <a:pt x="1297" y="2961"/>
                </a:lnTo>
                <a:lnTo>
                  <a:pt x="1258" y="2950"/>
                </a:lnTo>
                <a:lnTo>
                  <a:pt x="1223" y="2938"/>
                </a:lnTo>
                <a:lnTo>
                  <a:pt x="1193" y="2924"/>
                </a:lnTo>
                <a:lnTo>
                  <a:pt x="1166" y="2906"/>
                </a:lnTo>
                <a:lnTo>
                  <a:pt x="1144" y="2888"/>
                </a:lnTo>
                <a:lnTo>
                  <a:pt x="1129" y="2868"/>
                </a:lnTo>
                <a:lnTo>
                  <a:pt x="1119" y="2847"/>
                </a:lnTo>
                <a:lnTo>
                  <a:pt x="1116" y="2824"/>
                </a:lnTo>
                <a:lnTo>
                  <a:pt x="1119" y="2805"/>
                </a:lnTo>
                <a:lnTo>
                  <a:pt x="1125" y="2788"/>
                </a:lnTo>
                <a:lnTo>
                  <a:pt x="1074" y="2809"/>
                </a:lnTo>
                <a:lnTo>
                  <a:pt x="1023" y="2828"/>
                </a:lnTo>
                <a:lnTo>
                  <a:pt x="973" y="2847"/>
                </a:lnTo>
                <a:lnTo>
                  <a:pt x="925" y="2863"/>
                </a:lnTo>
                <a:lnTo>
                  <a:pt x="877" y="2878"/>
                </a:lnTo>
                <a:lnTo>
                  <a:pt x="832" y="2890"/>
                </a:lnTo>
                <a:lnTo>
                  <a:pt x="790" y="2899"/>
                </a:lnTo>
                <a:lnTo>
                  <a:pt x="889" y="2762"/>
                </a:lnTo>
                <a:lnTo>
                  <a:pt x="731" y="2334"/>
                </a:lnTo>
                <a:lnTo>
                  <a:pt x="781" y="2229"/>
                </a:lnTo>
                <a:lnTo>
                  <a:pt x="683" y="2229"/>
                </a:lnTo>
                <a:lnTo>
                  <a:pt x="731" y="2334"/>
                </a:lnTo>
                <a:lnTo>
                  <a:pt x="575" y="2762"/>
                </a:lnTo>
                <a:lnTo>
                  <a:pt x="676" y="2902"/>
                </a:lnTo>
                <a:lnTo>
                  <a:pt x="626" y="2896"/>
                </a:lnTo>
                <a:lnTo>
                  <a:pt x="579" y="2887"/>
                </a:lnTo>
                <a:lnTo>
                  <a:pt x="534" y="2873"/>
                </a:lnTo>
                <a:lnTo>
                  <a:pt x="492" y="2859"/>
                </a:lnTo>
                <a:lnTo>
                  <a:pt x="451" y="2842"/>
                </a:lnTo>
                <a:lnTo>
                  <a:pt x="411" y="2824"/>
                </a:lnTo>
                <a:lnTo>
                  <a:pt x="372" y="2805"/>
                </a:lnTo>
                <a:lnTo>
                  <a:pt x="334" y="2786"/>
                </a:lnTo>
                <a:lnTo>
                  <a:pt x="296" y="2767"/>
                </a:lnTo>
                <a:lnTo>
                  <a:pt x="258" y="2750"/>
                </a:lnTo>
                <a:lnTo>
                  <a:pt x="219" y="2733"/>
                </a:lnTo>
                <a:lnTo>
                  <a:pt x="179" y="2718"/>
                </a:lnTo>
                <a:lnTo>
                  <a:pt x="137" y="2706"/>
                </a:lnTo>
                <a:lnTo>
                  <a:pt x="93" y="2697"/>
                </a:lnTo>
                <a:lnTo>
                  <a:pt x="48" y="2690"/>
                </a:lnTo>
                <a:lnTo>
                  <a:pt x="0" y="2688"/>
                </a:lnTo>
                <a:lnTo>
                  <a:pt x="54" y="2457"/>
                </a:lnTo>
                <a:lnTo>
                  <a:pt x="73" y="2442"/>
                </a:lnTo>
                <a:lnTo>
                  <a:pt x="95" y="2428"/>
                </a:lnTo>
                <a:lnTo>
                  <a:pt x="116" y="2414"/>
                </a:lnTo>
                <a:lnTo>
                  <a:pt x="175" y="2383"/>
                </a:lnTo>
                <a:lnTo>
                  <a:pt x="233" y="2354"/>
                </a:lnTo>
                <a:lnTo>
                  <a:pt x="292" y="2327"/>
                </a:lnTo>
                <a:lnTo>
                  <a:pt x="351" y="2302"/>
                </a:lnTo>
                <a:lnTo>
                  <a:pt x="408" y="2280"/>
                </a:lnTo>
                <a:lnTo>
                  <a:pt x="463" y="2256"/>
                </a:lnTo>
                <a:lnTo>
                  <a:pt x="467" y="2253"/>
                </a:lnTo>
                <a:lnTo>
                  <a:pt x="473" y="2250"/>
                </a:lnTo>
                <a:lnTo>
                  <a:pt x="476" y="2245"/>
                </a:lnTo>
                <a:lnTo>
                  <a:pt x="479" y="2241"/>
                </a:lnTo>
                <a:lnTo>
                  <a:pt x="490" y="2209"/>
                </a:lnTo>
                <a:lnTo>
                  <a:pt x="500" y="2177"/>
                </a:lnTo>
                <a:lnTo>
                  <a:pt x="502" y="2168"/>
                </a:lnTo>
                <a:lnTo>
                  <a:pt x="506" y="2158"/>
                </a:lnTo>
                <a:lnTo>
                  <a:pt x="512" y="2151"/>
                </a:lnTo>
                <a:lnTo>
                  <a:pt x="519" y="2145"/>
                </a:lnTo>
                <a:lnTo>
                  <a:pt x="529" y="2141"/>
                </a:lnTo>
                <a:lnTo>
                  <a:pt x="531" y="2140"/>
                </a:lnTo>
                <a:lnTo>
                  <a:pt x="534" y="2137"/>
                </a:lnTo>
                <a:lnTo>
                  <a:pt x="536" y="2135"/>
                </a:lnTo>
                <a:lnTo>
                  <a:pt x="538" y="2131"/>
                </a:lnTo>
                <a:lnTo>
                  <a:pt x="540" y="2128"/>
                </a:lnTo>
                <a:lnTo>
                  <a:pt x="541" y="2125"/>
                </a:lnTo>
                <a:lnTo>
                  <a:pt x="551" y="2031"/>
                </a:lnTo>
                <a:lnTo>
                  <a:pt x="550" y="2024"/>
                </a:lnTo>
                <a:lnTo>
                  <a:pt x="548" y="2017"/>
                </a:lnTo>
                <a:lnTo>
                  <a:pt x="543" y="2011"/>
                </a:lnTo>
                <a:lnTo>
                  <a:pt x="525" y="1987"/>
                </a:lnTo>
                <a:lnTo>
                  <a:pt x="512" y="1961"/>
                </a:lnTo>
                <a:lnTo>
                  <a:pt x="501" y="1934"/>
                </a:lnTo>
                <a:lnTo>
                  <a:pt x="495" y="1905"/>
                </a:lnTo>
                <a:lnTo>
                  <a:pt x="489" y="1885"/>
                </a:lnTo>
                <a:lnTo>
                  <a:pt x="482" y="1866"/>
                </a:lnTo>
                <a:lnTo>
                  <a:pt x="475" y="1845"/>
                </a:lnTo>
                <a:lnTo>
                  <a:pt x="463" y="1805"/>
                </a:lnTo>
                <a:lnTo>
                  <a:pt x="454" y="1764"/>
                </a:lnTo>
                <a:lnTo>
                  <a:pt x="453" y="1750"/>
                </a:lnTo>
                <a:lnTo>
                  <a:pt x="451" y="1734"/>
                </a:lnTo>
                <a:lnTo>
                  <a:pt x="450" y="1726"/>
                </a:lnTo>
                <a:lnTo>
                  <a:pt x="451" y="1718"/>
                </a:lnTo>
                <a:lnTo>
                  <a:pt x="453" y="1712"/>
                </a:lnTo>
                <a:lnTo>
                  <a:pt x="458" y="1706"/>
                </a:lnTo>
                <a:lnTo>
                  <a:pt x="467" y="1702"/>
                </a:lnTo>
                <a:lnTo>
                  <a:pt x="472" y="1698"/>
                </a:lnTo>
                <a:lnTo>
                  <a:pt x="475" y="1690"/>
                </a:lnTo>
                <a:lnTo>
                  <a:pt x="477" y="1682"/>
                </a:lnTo>
                <a:lnTo>
                  <a:pt x="477" y="1666"/>
                </a:lnTo>
                <a:lnTo>
                  <a:pt x="477" y="1655"/>
                </a:lnTo>
                <a:lnTo>
                  <a:pt x="477" y="1647"/>
                </a:lnTo>
                <a:lnTo>
                  <a:pt x="477" y="1641"/>
                </a:lnTo>
                <a:lnTo>
                  <a:pt x="477" y="1633"/>
                </a:lnTo>
                <a:lnTo>
                  <a:pt x="477" y="1621"/>
                </a:lnTo>
                <a:lnTo>
                  <a:pt x="477" y="1606"/>
                </a:lnTo>
                <a:lnTo>
                  <a:pt x="477" y="1566"/>
                </a:lnTo>
                <a:lnTo>
                  <a:pt x="479" y="1526"/>
                </a:lnTo>
                <a:lnTo>
                  <a:pt x="483" y="1501"/>
                </a:lnTo>
                <a:lnTo>
                  <a:pt x="490" y="1479"/>
                </a:lnTo>
                <a:lnTo>
                  <a:pt x="501" y="1459"/>
                </a:lnTo>
                <a:lnTo>
                  <a:pt x="516" y="1440"/>
                </a:lnTo>
                <a:lnTo>
                  <a:pt x="532" y="1424"/>
                </a:lnTo>
                <a:lnTo>
                  <a:pt x="550" y="1408"/>
                </a:lnTo>
                <a:lnTo>
                  <a:pt x="578" y="1387"/>
                </a:lnTo>
                <a:lnTo>
                  <a:pt x="608" y="1370"/>
                </a:lnTo>
                <a:lnTo>
                  <a:pt x="639" y="1355"/>
                </a:lnTo>
                <a:lnTo>
                  <a:pt x="671" y="1344"/>
                </a:lnTo>
                <a:lnTo>
                  <a:pt x="705" y="1334"/>
                </a:lnTo>
                <a:lnTo>
                  <a:pt x="738" y="1325"/>
                </a:lnTo>
                <a:lnTo>
                  <a:pt x="791" y="1315"/>
                </a:lnTo>
                <a:lnTo>
                  <a:pt x="845" y="1306"/>
                </a:lnTo>
                <a:lnTo>
                  <a:pt x="860" y="1306"/>
                </a:lnTo>
                <a:lnTo>
                  <a:pt x="874" y="1306"/>
                </a:lnTo>
                <a:lnTo>
                  <a:pt x="877" y="1310"/>
                </a:lnTo>
                <a:lnTo>
                  <a:pt x="879" y="1313"/>
                </a:lnTo>
                <a:lnTo>
                  <a:pt x="868" y="1321"/>
                </a:lnTo>
                <a:lnTo>
                  <a:pt x="857" y="1331"/>
                </a:lnTo>
                <a:lnTo>
                  <a:pt x="850" y="1341"/>
                </a:lnTo>
                <a:lnTo>
                  <a:pt x="846" y="1350"/>
                </a:lnTo>
                <a:lnTo>
                  <a:pt x="851" y="1358"/>
                </a:lnTo>
                <a:lnTo>
                  <a:pt x="860" y="1369"/>
                </a:lnTo>
                <a:lnTo>
                  <a:pt x="908" y="1410"/>
                </a:lnTo>
                <a:lnTo>
                  <a:pt x="956" y="1452"/>
                </a:lnTo>
                <a:lnTo>
                  <a:pt x="971" y="1468"/>
                </a:lnTo>
                <a:lnTo>
                  <a:pt x="982" y="1486"/>
                </a:lnTo>
                <a:lnTo>
                  <a:pt x="989" y="1504"/>
                </a:lnTo>
                <a:lnTo>
                  <a:pt x="993" y="1525"/>
                </a:lnTo>
                <a:lnTo>
                  <a:pt x="995" y="1546"/>
                </a:lnTo>
                <a:lnTo>
                  <a:pt x="995" y="1571"/>
                </a:lnTo>
                <a:lnTo>
                  <a:pt x="995" y="1589"/>
                </a:lnTo>
                <a:lnTo>
                  <a:pt x="995" y="1607"/>
                </a:lnTo>
                <a:lnTo>
                  <a:pt x="995" y="1622"/>
                </a:lnTo>
                <a:lnTo>
                  <a:pt x="995" y="1639"/>
                </a:lnTo>
                <a:lnTo>
                  <a:pt x="995" y="1658"/>
                </a:lnTo>
                <a:lnTo>
                  <a:pt x="995" y="1682"/>
                </a:lnTo>
                <a:lnTo>
                  <a:pt x="995" y="1690"/>
                </a:lnTo>
                <a:lnTo>
                  <a:pt x="995" y="1697"/>
                </a:lnTo>
                <a:lnTo>
                  <a:pt x="997" y="1703"/>
                </a:lnTo>
                <a:lnTo>
                  <a:pt x="1003" y="1710"/>
                </a:lnTo>
                <a:lnTo>
                  <a:pt x="1010" y="1714"/>
                </a:lnTo>
                <a:lnTo>
                  <a:pt x="1012" y="1715"/>
                </a:lnTo>
                <a:lnTo>
                  <a:pt x="1014" y="1718"/>
                </a:lnTo>
                <a:lnTo>
                  <a:pt x="1016" y="1720"/>
                </a:lnTo>
                <a:lnTo>
                  <a:pt x="1017" y="1723"/>
                </a:lnTo>
                <a:lnTo>
                  <a:pt x="1017" y="1726"/>
                </a:lnTo>
                <a:lnTo>
                  <a:pt x="1008" y="1824"/>
                </a:lnTo>
                <a:lnTo>
                  <a:pt x="1007" y="1826"/>
                </a:lnTo>
                <a:lnTo>
                  <a:pt x="1007" y="1827"/>
                </a:lnTo>
                <a:lnTo>
                  <a:pt x="993" y="1849"/>
                </a:lnTo>
                <a:lnTo>
                  <a:pt x="984" y="1872"/>
                </a:lnTo>
                <a:lnTo>
                  <a:pt x="976" y="1895"/>
                </a:lnTo>
                <a:lnTo>
                  <a:pt x="969" y="1920"/>
                </a:lnTo>
                <a:lnTo>
                  <a:pt x="962" y="1944"/>
                </a:lnTo>
                <a:lnTo>
                  <a:pt x="952" y="1967"/>
                </a:lnTo>
                <a:lnTo>
                  <a:pt x="952" y="1968"/>
                </a:lnTo>
                <a:lnTo>
                  <a:pt x="951" y="1970"/>
                </a:lnTo>
                <a:lnTo>
                  <a:pt x="950" y="1973"/>
                </a:lnTo>
                <a:lnTo>
                  <a:pt x="936" y="1992"/>
                </a:lnTo>
                <a:lnTo>
                  <a:pt x="928" y="2014"/>
                </a:lnTo>
                <a:lnTo>
                  <a:pt x="924" y="2035"/>
                </a:lnTo>
                <a:lnTo>
                  <a:pt x="921" y="2057"/>
                </a:lnTo>
                <a:lnTo>
                  <a:pt x="921" y="2079"/>
                </a:lnTo>
                <a:lnTo>
                  <a:pt x="922" y="2102"/>
                </a:lnTo>
                <a:lnTo>
                  <a:pt x="922" y="2125"/>
                </a:lnTo>
                <a:lnTo>
                  <a:pt x="924" y="2128"/>
                </a:lnTo>
                <a:lnTo>
                  <a:pt x="925" y="2132"/>
                </a:lnTo>
                <a:lnTo>
                  <a:pt x="926" y="2136"/>
                </a:lnTo>
                <a:lnTo>
                  <a:pt x="929" y="2138"/>
                </a:lnTo>
                <a:lnTo>
                  <a:pt x="931" y="2140"/>
                </a:lnTo>
                <a:lnTo>
                  <a:pt x="940" y="2146"/>
                </a:lnTo>
                <a:lnTo>
                  <a:pt x="947" y="2154"/>
                </a:lnTo>
                <a:lnTo>
                  <a:pt x="951" y="2165"/>
                </a:lnTo>
                <a:lnTo>
                  <a:pt x="954" y="2175"/>
                </a:lnTo>
                <a:lnTo>
                  <a:pt x="966" y="2209"/>
                </a:lnTo>
                <a:lnTo>
                  <a:pt x="978" y="2242"/>
                </a:lnTo>
                <a:lnTo>
                  <a:pt x="983" y="2249"/>
                </a:lnTo>
                <a:lnTo>
                  <a:pt x="992" y="2255"/>
                </a:lnTo>
                <a:lnTo>
                  <a:pt x="1002" y="2259"/>
                </a:lnTo>
                <a:lnTo>
                  <a:pt x="1090" y="2294"/>
                </a:lnTo>
                <a:lnTo>
                  <a:pt x="1178" y="2331"/>
                </a:lnTo>
                <a:lnTo>
                  <a:pt x="1265" y="2370"/>
                </a:lnTo>
                <a:lnTo>
                  <a:pt x="1351" y="2411"/>
                </a:lnTo>
                <a:lnTo>
                  <a:pt x="1372" y="2424"/>
                </a:lnTo>
                <a:lnTo>
                  <a:pt x="1392" y="2439"/>
                </a:lnTo>
                <a:lnTo>
                  <a:pt x="1409" y="2454"/>
                </a:lnTo>
                <a:lnTo>
                  <a:pt x="1461" y="2674"/>
                </a:lnTo>
                <a:lnTo>
                  <a:pt x="1502" y="2677"/>
                </a:lnTo>
                <a:lnTo>
                  <a:pt x="1542" y="2682"/>
                </a:lnTo>
                <a:lnTo>
                  <a:pt x="1985" y="1985"/>
                </a:lnTo>
                <a:lnTo>
                  <a:pt x="1954" y="1979"/>
                </a:lnTo>
                <a:lnTo>
                  <a:pt x="1926" y="1970"/>
                </a:lnTo>
                <a:lnTo>
                  <a:pt x="1901" y="1960"/>
                </a:lnTo>
                <a:lnTo>
                  <a:pt x="1880" y="1948"/>
                </a:lnTo>
                <a:lnTo>
                  <a:pt x="1862" y="1934"/>
                </a:lnTo>
                <a:lnTo>
                  <a:pt x="1850" y="1919"/>
                </a:lnTo>
                <a:lnTo>
                  <a:pt x="1843" y="1903"/>
                </a:lnTo>
                <a:lnTo>
                  <a:pt x="1840" y="1885"/>
                </a:lnTo>
                <a:lnTo>
                  <a:pt x="1843" y="1867"/>
                </a:lnTo>
                <a:lnTo>
                  <a:pt x="1851" y="1849"/>
                </a:lnTo>
                <a:lnTo>
                  <a:pt x="1866" y="1834"/>
                </a:lnTo>
                <a:lnTo>
                  <a:pt x="1885" y="1819"/>
                </a:lnTo>
                <a:lnTo>
                  <a:pt x="1909" y="1807"/>
                </a:lnTo>
                <a:lnTo>
                  <a:pt x="1936" y="1797"/>
                </a:lnTo>
                <a:lnTo>
                  <a:pt x="1967" y="1789"/>
                </a:lnTo>
                <a:lnTo>
                  <a:pt x="2001" y="1784"/>
                </a:lnTo>
                <a:lnTo>
                  <a:pt x="1371" y="936"/>
                </a:lnTo>
                <a:lnTo>
                  <a:pt x="1349" y="939"/>
                </a:lnTo>
                <a:lnTo>
                  <a:pt x="1324" y="940"/>
                </a:lnTo>
                <a:lnTo>
                  <a:pt x="1289" y="938"/>
                </a:lnTo>
                <a:lnTo>
                  <a:pt x="1256" y="933"/>
                </a:lnTo>
                <a:lnTo>
                  <a:pt x="1228" y="926"/>
                </a:lnTo>
                <a:lnTo>
                  <a:pt x="1203" y="916"/>
                </a:lnTo>
                <a:lnTo>
                  <a:pt x="1182" y="903"/>
                </a:lnTo>
                <a:lnTo>
                  <a:pt x="1168" y="888"/>
                </a:lnTo>
                <a:lnTo>
                  <a:pt x="1158" y="872"/>
                </a:lnTo>
                <a:lnTo>
                  <a:pt x="1155" y="854"/>
                </a:lnTo>
                <a:lnTo>
                  <a:pt x="1157" y="844"/>
                </a:lnTo>
                <a:lnTo>
                  <a:pt x="1160" y="833"/>
                </a:lnTo>
                <a:lnTo>
                  <a:pt x="1135" y="838"/>
                </a:lnTo>
                <a:lnTo>
                  <a:pt x="1107" y="845"/>
                </a:lnTo>
                <a:lnTo>
                  <a:pt x="1077" y="854"/>
                </a:lnTo>
                <a:lnTo>
                  <a:pt x="1045" y="865"/>
                </a:lnTo>
                <a:lnTo>
                  <a:pt x="1011" y="879"/>
                </a:lnTo>
                <a:lnTo>
                  <a:pt x="977" y="892"/>
                </a:lnTo>
                <a:lnTo>
                  <a:pt x="943" y="905"/>
                </a:lnTo>
                <a:lnTo>
                  <a:pt x="909" y="918"/>
                </a:lnTo>
                <a:lnTo>
                  <a:pt x="876" y="929"/>
                </a:lnTo>
                <a:lnTo>
                  <a:pt x="845" y="937"/>
                </a:lnTo>
                <a:lnTo>
                  <a:pt x="817" y="943"/>
                </a:lnTo>
                <a:lnTo>
                  <a:pt x="869" y="871"/>
                </a:lnTo>
                <a:lnTo>
                  <a:pt x="786" y="644"/>
                </a:lnTo>
                <a:lnTo>
                  <a:pt x="812" y="589"/>
                </a:lnTo>
                <a:lnTo>
                  <a:pt x="760" y="589"/>
                </a:lnTo>
                <a:lnTo>
                  <a:pt x="786" y="644"/>
                </a:lnTo>
                <a:lnTo>
                  <a:pt x="703" y="871"/>
                </a:lnTo>
                <a:lnTo>
                  <a:pt x="757" y="945"/>
                </a:lnTo>
                <a:lnTo>
                  <a:pt x="722" y="940"/>
                </a:lnTo>
                <a:lnTo>
                  <a:pt x="689" y="933"/>
                </a:lnTo>
                <a:lnTo>
                  <a:pt x="660" y="923"/>
                </a:lnTo>
                <a:lnTo>
                  <a:pt x="631" y="910"/>
                </a:lnTo>
                <a:lnTo>
                  <a:pt x="603" y="897"/>
                </a:lnTo>
                <a:lnTo>
                  <a:pt x="575" y="884"/>
                </a:lnTo>
                <a:lnTo>
                  <a:pt x="549" y="870"/>
                </a:lnTo>
                <a:lnTo>
                  <a:pt x="522" y="859"/>
                </a:lnTo>
                <a:lnTo>
                  <a:pt x="493" y="848"/>
                </a:lnTo>
                <a:lnTo>
                  <a:pt x="464" y="840"/>
                </a:lnTo>
                <a:lnTo>
                  <a:pt x="432" y="834"/>
                </a:lnTo>
                <a:lnTo>
                  <a:pt x="399" y="832"/>
                </a:lnTo>
                <a:lnTo>
                  <a:pt x="427" y="710"/>
                </a:lnTo>
                <a:lnTo>
                  <a:pt x="443" y="698"/>
                </a:lnTo>
                <a:lnTo>
                  <a:pt x="460" y="688"/>
                </a:lnTo>
                <a:lnTo>
                  <a:pt x="491" y="671"/>
                </a:lnTo>
                <a:lnTo>
                  <a:pt x="523" y="655"/>
                </a:lnTo>
                <a:lnTo>
                  <a:pt x="554" y="641"/>
                </a:lnTo>
                <a:lnTo>
                  <a:pt x="585" y="628"/>
                </a:lnTo>
                <a:lnTo>
                  <a:pt x="644" y="603"/>
                </a:lnTo>
                <a:lnTo>
                  <a:pt x="647" y="601"/>
                </a:lnTo>
                <a:lnTo>
                  <a:pt x="650" y="598"/>
                </a:lnTo>
                <a:lnTo>
                  <a:pt x="652" y="595"/>
                </a:lnTo>
                <a:lnTo>
                  <a:pt x="664" y="561"/>
                </a:lnTo>
                <a:lnTo>
                  <a:pt x="666" y="555"/>
                </a:lnTo>
                <a:lnTo>
                  <a:pt x="668" y="550"/>
                </a:lnTo>
                <a:lnTo>
                  <a:pt x="672" y="545"/>
                </a:lnTo>
                <a:lnTo>
                  <a:pt x="679" y="543"/>
                </a:lnTo>
                <a:lnTo>
                  <a:pt x="681" y="542"/>
                </a:lnTo>
                <a:lnTo>
                  <a:pt x="683" y="540"/>
                </a:lnTo>
                <a:lnTo>
                  <a:pt x="684" y="537"/>
                </a:lnTo>
                <a:lnTo>
                  <a:pt x="685" y="535"/>
                </a:lnTo>
                <a:lnTo>
                  <a:pt x="690" y="484"/>
                </a:lnTo>
                <a:lnTo>
                  <a:pt x="690" y="482"/>
                </a:lnTo>
                <a:lnTo>
                  <a:pt x="689" y="479"/>
                </a:lnTo>
                <a:lnTo>
                  <a:pt x="688" y="476"/>
                </a:lnTo>
                <a:lnTo>
                  <a:pt x="686" y="474"/>
                </a:lnTo>
                <a:lnTo>
                  <a:pt x="674" y="456"/>
                </a:lnTo>
                <a:lnTo>
                  <a:pt x="666" y="438"/>
                </a:lnTo>
                <a:lnTo>
                  <a:pt x="661" y="417"/>
                </a:lnTo>
                <a:lnTo>
                  <a:pt x="655" y="402"/>
                </a:lnTo>
                <a:lnTo>
                  <a:pt x="650" y="387"/>
                </a:lnTo>
                <a:lnTo>
                  <a:pt x="639" y="343"/>
                </a:lnTo>
                <a:lnTo>
                  <a:pt x="639" y="338"/>
                </a:lnTo>
                <a:lnTo>
                  <a:pt x="638" y="332"/>
                </a:lnTo>
                <a:lnTo>
                  <a:pt x="638" y="327"/>
                </a:lnTo>
                <a:lnTo>
                  <a:pt x="637" y="320"/>
                </a:lnTo>
                <a:lnTo>
                  <a:pt x="639" y="315"/>
                </a:lnTo>
                <a:lnTo>
                  <a:pt x="646" y="311"/>
                </a:lnTo>
                <a:lnTo>
                  <a:pt x="647" y="310"/>
                </a:lnTo>
                <a:lnTo>
                  <a:pt x="649" y="308"/>
                </a:lnTo>
                <a:lnTo>
                  <a:pt x="650" y="305"/>
                </a:lnTo>
                <a:lnTo>
                  <a:pt x="650" y="302"/>
                </a:lnTo>
                <a:lnTo>
                  <a:pt x="651" y="300"/>
                </a:lnTo>
                <a:lnTo>
                  <a:pt x="651" y="289"/>
                </a:lnTo>
                <a:lnTo>
                  <a:pt x="651" y="282"/>
                </a:lnTo>
                <a:lnTo>
                  <a:pt x="651" y="277"/>
                </a:lnTo>
                <a:lnTo>
                  <a:pt x="651" y="271"/>
                </a:lnTo>
                <a:lnTo>
                  <a:pt x="651" y="259"/>
                </a:lnTo>
                <a:lnTo>
                  <a:pt x="652" y="217"/>
                </a:lnTo>
                <a:lnTo>
                  <a:pt x="656" y="199"/>
                </a:lnTo>
                <a:lnTo>
                  <a:pt x="665" y="182"/>
                </a:lnTo>
                <a:lnTo>
                  <a:pt x="676" y="168"/>
                </a:lnTo>
                <a:lnTo>
                  <a:pt x="690" y="155"/>
                </a:lnTo>
                <a:lnTo>
                  <a:pt x="713" y="139"/>
                </a:lnTo>
                <a:lnTo>
                  <a:pt x="737" y="127"/>
                </a:lnTo>
                <a:lnTo>
                  <a:pt x="762" y="119"/>
                </a:lnTo>
                <a:lnTo>
                  <a:pt x="789" y="111"/>
                </a:lnTo>
                <a:lnTo>
                  <a:pt x="818" y="105"/>
                </a:lnTo>
                <a:lnTo>
                  <a:pt x="846" y="101"/>
                </a:lnTo>
                <a:lnTo>
                  <a:pt x="852" y="101"/>
                </a:lnTo>
                <a:lnTo>
                  <a:pt x="857" y="101"/>
                </a:lnTo>
                <a:lnTo>
                  <a:pt x="862" y="101"/>
                </a:lnTo>
                <a:lnTo>
                  <a:pt x="864" y="105"/>
                </a:lnTo>
                <a:lnTo>
                  <a:pt x="860" y="107"/>
                </a:lnTo>
                <a:lnTo>
                  <a:pt x="856" y="110"/>
                </a:lnTo>
                <a:lnTo>
                  <a:pt x="853" y="113"/>
                </a:lnTo>
                <a:lnTo>
                  <a:pt x="848" y="121"/>
                </a:lnTo>
                <a:lnTo>
                  <a:pt x="848" y="127"/>
                </a:lnTo>
                <a:lnTo>
                  <a:pt x="854" y="134"/>
                </a:lnTo>
                <a:lnTo>
                  <a:pt x="905" y="178"/>
                </a:lnTo>
                <a:lnTo>
                  <a:pt x="914" y="188"/>
                </a:lnTo>
                <a:lnTo>
                  <a:pt x="920" y="201"/>
                </a:lnTo>
                <a:lnTo>
                  <a:pt x="925" y="214"/>
                </a:lnTo>
                <a:lnTo>
                  <a:pt x="926" y="228"/>
                </a:lnTo>
                <a:lnTo>
                  <a:pt x="926" y="245"/>
                </a:lnTo>
                <a:lnTo>
                  <a:pt x="926" y="258"/>
                </a:lnTo>
                <a:lnTo>
                  <a:pt x="926" y="270"/>
                </a:lnTo>
                <a:lnTo>
                  <a:pt x="926" y="283"/>
                </a:lnTo>
                <a:lnTo>
                  <a:pt x="926" y="300"/>
                </a:lnTo>
                <a:lnTo>
                  <a:pt x="926" y="305"/>
                </a:lnTo>
                <a:lnTo>
                  <a:pt x="927" y="310"/>
                </a:lnTo>
                <a:lnTo>
                  <a:pt x="929" y="314"/>
                </a:lnTo>
                <a:lnTo>
                  <a:pt x="934" y="317"/>
                </a:lnTo>
                <a:lnTo>
                  <a:pt x="935" y="318"/>
                </a:lnTo>
                <a:lnTo>
                  <a:pt x="936" y="319"/>
                </a:lnTo>
                <a:lnTo>
                  <a:pt x="937" y="321"/>
                </a:lnTo>
                <a:lnTo>
                  <a:pt x="937" y="323"/>
                </a:lnTo>
                <a:lnTo>
                  <a:pt x="932" y="374"/>
                </a:lnTo>
                <a:lnTo>
                  <a:pt x="932" y="376"/>
                </a:lnTo>
                <a:lnTo>
                  <a:pt x="921" y="394"/>
                </a:lnTo>
                <a:lnTo>
                  <a:pt x="915" y="413"/>
                </a:lnTo>
                <a:lnTo>
                  <a:pt x="910" y="432"/>
                </a:lnTo>
                <a:lnTo>
                  <a:pt x="903" y="450"/>
                </a:lnTo>
                <a:lnTo>
                  <a:pt x="902" y="452"/>
                </a:lnTo>
                <a:lnTo>
                  <a:pt x="902" y="453"/>
                </a:lnTo>
                <a:lnTo>
                  <a:pt x="893" y="469"/>
                </a:lnTo>
                <a:lnTo>
                  <a:pt x="888" y="484"/>
                </a:lnTo>
                <a:lnTo>
                  <a:pt x="887" y="501"/>
                </a:lnTo>
                <a:lnTo>
                  <a:pt x="887" y="517"/>
                </a:lnTo>
                <a:lnTo>
                  <a:pt x="888" y="535"/>
                </a:lnTo>
                <a:lnTo>
                  <a:pt x="888" y="537"/>
                </a:lnTo>
                <a:lnTo>
                  <a:pt x="889" y="539"/>
                </a:lnTo>
                <a:lnTo>
                  <a:pt x="890" y="541"/>
                </a:lnTo>
                <a:lnTo>
                  <a:pt x="892" y="543"/>
                </a:lnTo>
                <a:lnTo>
                  <a:pt x="898" y="547"/>
                </a:lnTo>
                <a:lnTo>
                  <a:pt x="902" y="553"/>
                </a:lnTo>
                <a:lnTo>
                  <a:pt x="904" y="560"/>
                </a:lnTo>
                <a:lnTo>
                  <a:pt x="909" y="579"/>
                </a:lnTo>
                <a:lnTo>
                  <a:pt x="916" y="596"/>
                </a:lnTo>
                <a:lnTo>
                  <a:pt x="918" y="599"/>
                </a:lnTo>
                <a:lnTo>
                  <a:pt x="921" y="601"/>
                </a:lnTo>
                <a:lnTo>
                  <a:pt x="925" y="603"/>
                </a:lnTo>
                <a:lnTo>
                  <a:pt x="929" y="605"/>
                </a:lnTo>
                <a:lnTo>
                  <a:pt x="991" y="630"/>
                </a:lnTo>
                <a:lnTo>
                  <a:pt x="1053" y="657"/>
                </a:lnTo>
                <a:lnTo>
                  <a:pt x="1114" y="686"/>
                </a:lnTo>
                <a:lnTo>
                  <a:pt x="1130" y="696"/>
                </a:lnTo>
                <a:lnTo>
                  <a:pt x="1144" y="708"/>
                </a:lnTo>
                <a:lnTo>
                  <a:pt x="1170" y="818"/>
                </a:lnTo>
                <a:lnTo>
                  <a:pt x="1185" y="804"/>
                </a:lnTo>
                <a:lnTo>
                  <a:pt x="1206" y="792"/>
                </a:lnTo>
                <a:lnTo>
                  <a:pt x="1231" y="782"/>
                </a:lnTo>
                <a:lnTo>
                  <a:pt x="1258" y="775"/>
                </a:lnTo>
                <a:lnTo>
                  <a:pt x="1290" y="771"/>
                </a:lnTo>
                <a:lnTo>
                  <a:pt x="1324" y="769"/>
                </a:lnTo>
                <a:lnTo>
                  <a:pt x="1362" y="771"/>
                </a:lnTo>
                <a:lnTo>
                  <a:pt x="1397" y="777"/>
                </a:lnTo>
                <a:lnTo>
                  <a:pt x="1428" y="786"/>
                </a:lnTo>
                <a:lnTo>
                  <a:pt x="1454" y="799"/>
                </a:lnTo>
                <a:lnTo>
                  <a:pt x="2013" y="607"/>
                </a:lnTo>
                <a:lnTo>
                  <a:pt x="2005" y="594"/>
                </a:lnTo>
                <a:lnTo>
                  <a:pt x="2003" y="580"/>
                </a:lnTo>
                <a:lnTo>
                  <a:pt x="2005" y="564"/>
                </a:lnTo>
                <a:lnTo>
                  <a:pt x="2013" y="552"/>
                </a:lnTo>
                <a:lnTo>
                  <a:pt x="1987" y="559"/>
                </a:lnTo>
                <a:lnTo>
                  <a:pt x="1959" y="569"/>
                </a:lnTo>
                <a:lnTo>
                  <a:pt x="1929" y="581"/>
                </a:lnTo>
                <a:lnTo>
                  <a:pt x="1899" y="592"/>
                </a:lnTo>
                <a:lnTo>
                  <a:pt x="1870" y="603"/>
                </a:lnTo>
                <a:lnTo>
                  <a:pt x="1840" y="614"/>
                </a:lnTo>
                <a:lnTo>
                  <a:pt x="1812" y="623"/>
                </a:lnTo>
                <a:lnTo>
                  <a:pt x="1786" y="628"/>
                </a:lnTo>
                <a:lnTo>
                  <a:pt x="1825" y="575"/>
                </a:lnTo>
                <a:lnTo>
                  <a:pt x="1764" y="405"/>
                </a:lnTo>
                <a:lnTo>
                  <a:pt x="1783" y="364"/>
                </a:lnTo>
                <a:lnTo>
                  <a:pt x="1744" y="364"/>
                </a:lnTo>
                <a:lnTo>
                  <a:pt x="1764" y="405"/>
                </a:lnTo>
                <a:lnTo>
                  <a:pt x="1702" y="575"/>
                </a:lnTo>
                <a:lnTo>
                  <a:pt x="1742" y="629"/>
                </a:lnTo>
                <a:lnTo>
                  <a:pt x="1710" y="625"/>
                </a:lnTo>
                <a:lnTo>
                  <a:pt x="1683" y="617"/>
                </a:lnTo>
                <a:lnTo>
                  <a:pt x="1656" y="607"/>
                </a:lnTo>
                <a:lnTo>
                  <a:pt x="1631" y="596"/>
                </a:lnTo>
                <a:lnTo>
                  <a:pt x="1607" y="584"/>
                </a:lnTo>
                <a:lnTo>
                  <a:pt x="1583" y="573"/>
                </a:lnTo>
                <a:lnTo>
                  <a:pt x="1558" y="561"/>
                </a:lnTo>
                <a:lnTo>
                  <a:pt x="1533" y="553"/>
                </a:lnTo>
                <a:lnTo>
                  <a:pt x="1505" y="547"/>
                </a:lnTo>
                <a:lnTo>
                  <a:pt x="1475" y="545"/>
                </a:lnTo>
                <a:lnTo>
                  <a:pt x="1497" y="454"/>
                </a:lnTo>
                <a:lnTo>
                  <a:pt x="1508" y="445"/>
                </a:lnTo>
                <a:lnTo>
                  <a:pt x="1521" y="437"/>
                </a:lnTo>
                <a:lnTo>
                  <a:pt x="1568" y="413"/>
                </a:lnTo>
                <a:lnTo>
                  <a:pt x="1590" y="403"/>
                </a:lnTo>
                <a:lnTo>
                  <a:pt x="1614" y="393"/>
                </a:lnTo>
                <a:lnTo>
                  <a:pt x="1658" y="375"/>
                </a:lnTo>
                <a:lnTo>
                  <a:pt x="1660" y="373"/>
                </a:lnTo>
                <a:lnTo>
                  <a:pt x="1662" y="371"/>
                </a:lnTo>
                <a:lnTo>
                  <a:pt x="1664" y="369"/>
                </a:lnTo>
                <a:lnTo>
                  <a:pt x="1672" y="343"/>
                </a:lnTo>
                <a:lnTo>
                  <a:pt x="1673" y="340"/>
                </a:lnTo>
                <a:lnTo>
                  <a:pt x="1674" y="337"/>
                </a:lnTo>
                <a:lnTo>
                  <a:pt x="1675" y="335"/>
                </a:lnTo>
                <a:lnTo>
                  <a:pt x="1678" y="332"/>
                </a:lnTo>
                <a:lnTo>
                  <a:pt x="1681" y="331"/>
                </a:lnTo>
                <a:lnTo>
                  <a:pt x="1684" y="329"/>
                </a:lnTo>
                <a:lnTo>
                  <a:pt x="1686" y="329"/>
                </a:lnTo>
                <a:lnTo>
                  <a:pt x="1687" y="327"/>
                </a:lnTo>
                <a:lnTo>
                  <a:pt x="1688" y="325"/>
                </a:lnTo>
                <a:lnTo>
                  <a:pt x="1689" y="323"/>
                </a:lnTo>
                <a:lnTo>
                  <a:pt x="1692" y="286"/>
                </a:lnTo>
                <a:lnTo>
                  <a:pt x="1692" y="284"/>
                </a:lnTo>
                <a:lnTo>
                  <a:pt x="1691" y="281"/>
                </a:lnTo>
                <a:lnTo>
                  <a:pt x="1690" y="279"/>
                </a:lnTo>
                <a:lnTo>
                  <a:pt x="1681" y="265"/>
                </a:lnTo>
                <a:lnTo>
                  <a:pt x="1673" y="252"/>
                </a:lnTo>
                <a:lnTo>
                  <a:pt x="1670" y="237"/>
                </a:lnTo>
                <a:lnTo>
                  <a:pt x="1666" y="224"/>
                </a:lnTo>
                <a:lnTo>
                  <a:pt x="1662" y="213"/>
                </a:lnTo>
                <a:lnTo>
                  <a:pt x="1654" y="181"/>
                </a:lnTo>
                <a:lnTo>
                  <a:pt x="1654" y="177"/>
                </a:lnTo>
                <a:lnTo>
                  <a:pt x="1654" y="173"/>
                </a:lnTo>
                <a:lnTo>
                  <a:pt x="1653" y="169"/>
                </a:lnTo>
                <a:lnTo>
                  <a:pt x="1653" y="167"/>
                </a:lnTo>
                <a:lnTo>
                  <a:pt x="1653" y="164"/>
                </a:lnTo>
                <a:lnTo>
                  <a:pt x="1653" y="162"/>
                </a:lnTo>
                <a:lnTo>
                  <a:pt x="1655" y="160"/>
                </a:lnTo>
                <a:lnTo>
                  <a:pt x="1656" y="159"/>
                </a:lnTo>
                <a:lnTo>
                  <a:pt x="1659" y="157"/>
                </a:lnTo>
                <a:lnTo>
                  <a:pt x="1661" y="156"/>
                </a:lnTo>
                <a:lnTo>
                  <a:pt x="1662" y="153"/>
                </a:lnTo>
                <a:lnTo>
                  <a:pt x="1662" y="151"/>
                </a:lnTo>
                <a:lnTo>
                  <a:pt x="1663" y="148"/>
                </a:lnTo>
                <a:lnTo>
                  <a:pt x="1663" y="139"/>
                </a:lnTo>
                <a:lnTo>
                  <a:pt x="1663" y="134"/>
                </a:lnTo>
                <a:lnTo>
                  <a:pt x="1663" y="128"/>
                </a:lnTo>
                <a:lnTo>
                  <a:pt x="1663" y="119"/>
                </a:lnTo>
                <a:lnTo>
                  <a:pt x="1664" y="88"/>
                </a:lnTo>
                <a:lnTo>
                  <a:pt x="1667" y="73"/>
                </a:lnTo>
                <a:lnTo>
                  <a:pt x="1673" y="61"/>
                </a:lnTo>
                <a:lnTo>
                  <a:pt x="1682" y="51"/>
                </a:lnTo>
                <a:lnTo>
                  <a:pt x="1692" y="40"/>
                </a:lnTo>
                <a:lnTo>
                  <a:pt x="1708" y="29"/>
                </a:lnTo>
                <a:lnTo>
                  <a:pt x="1727" y="20"/>
                </a:lnTo>
                <a:lnTo>
                  <a:pt x="1746" y="14"/>
                </a:lnTo>
                <a:lnTo>
                  <a:pt x="1766" y="9"/>
                </a:lnTo>
                <a:lnTo>
                  <a:pt x="1787" y="5"/>
                </a:lnTo>
                <a:lnTo>
                  <a:pt x="1808" y="0"/>
                </a:lnTo>
                <a:lnTo>
                  <a:pt x="1814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F16BE5DF-68DE-3C2B-916E-D69B85BD7EEF}"/>
              </a:ext>
            </a:extLst>
          </p:cNvPr>
          <p:cNvGrpSpPr/>
          <p:nvPr/>
        </p:nvGrpSpPr>
        <p:grpSpPr>
          <a:xfrm>
            <a:off x="10196040" y="2714445"/>
            <a:ext cx="626448" cy="662209"/>
            <a:chOff x="3833813" y="3806826"/>
            <a:chExt cx="806450" cy="852488"/>
          </a:xfrm>
          <a:solidFill>
            <a:schemeClr val="bg1"/>
          </a:solidFill>
        </p:grpSpPr>
        <p:sp>
          <p:nvSpPr>
            <p:cNvPr id="144" name="Freeform 78">
              <a:extLst>
                <a:ext uri="{FF2B5EF4-FFF2-40B4-BE49-F238E27FC236}">
                  <a16:creationId xmlns:a16="http://schemas.microsoft.com/office/drawing/2014/main" id="{D7FB28CC-3C2F-CAF2-9A28-33C7F2F7B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3813" y="4260851"/>
              <a:ext cx="806450" cy="398463"/>
            </a:xfrm>
            <a:custGeom>
              <a:avLst/>
              <a:gdLst>
                <a:gd name="T0" fmla="*/ 1869 w 3558"/>
                <a:gd name="T1" fmla="*/ 46 h 1506"/>
                <a:gd name="T2" fmla="*/ 1906 w 3558"/>
                <a:gd name="T3" fmla="*/ 94 h 1506"/>
                <a:gd name="T4" fmla="*/ 1959 w 3558"/>
                <a:gd name="T5" fmla="*/ 128 h 1506"/>
                <a:gd name="T6" fmla="*/ 2022 w 3558"/>
                <a:gd name="T7" fmla="*/ 146 h 1506"/>
                <a:gd name="T8" fmla="*/ 2085 w 3558"/>
                <a:gd name="T9" fmla="*/ 147 h 1506"/>
                <a:gd name="T10" fmla="*/ 2141 w 3558"/>
                <a:gd name="T11" fmla="*/ 132 h 1506"/>
                <a:gd name="T12" fmla="*/ 2297 w 3558"/>
                <a:gd name="T13" fmla="*/ 68 h 1506"/>
                <a:gd name="T14" fmla="*/ 2339 w 3558"/>
                <a:gd name="T15" fmla="*/ 37 h 1506"/>
                <a:gd name="T16" fmla="*/ 2378 w 3558"/>
                <a:gd name="T17" fmla="*/ 124 h 1506"/>
                <a:gd name="T18" fmla="*/ 2401 w 3558"/>
                <a:gd name="T19" fmla="*/ 146 h 1506"/>
                <a:gd name="T20" fmla="*/ 2434 w 3558"/>
                <a:gd name="T21" fmla="*/ 161 h 1506"/>
                <a:gd name="T22" fmla="*/ 2778 w 3558"/>
                <a:gd name="T23" fmla="*/ 279 h 1506"/>
                <a:gd name="T24" fmla="*/ 3117 w 3558"/>
                <a:gd name="T25" fmla="*/ 409 h 1506"/>
                <a:gd name="T26" fmla="*/ 3337 w 3558"/>
                <a:gd name="T27" fmla="*/ 505 h 1506"/>
                <a:gd name="T28" fmla="*/ 3428 w 3558"/>
                <a:gd name="T29" fmla="*/ 569 h 1506"/>
                <a:gd name="T30" fmla="*/ 3509 w 3558"/>
                <a:gd name="T31" fmla="*/ 1060 h 1506"/>
                <a:gd name="T32" fmla="*/ 3400 w 3558"/>
                <a:gd name="T33" fmla="*/ 1074 h 1506"/>
                <a:gd name="T34" fmla="*/ 3277 w 3558"/>
                <a:gd name="T35" fmla="*/ 1100 h 1506"/>
                <a:gd name="T36" fmla="*/ 3144 w 3558"/>
                <a:gd name="T37" fmla="*/ 1135 h 1506"/>
                <a:gd name="T38" fmla="*/ 3003 w 3558"/>
                <a:gd name="T39" fmla="*/ 1179 h 1506"/>
                <a:gd name="T40" fmla="*/ 2856 w 3558"/>
                <a:gd name="T41" fmla="*/ 1227 h 1506"/>
                <a:gd name="T42" fmla="*/ 2706 w 3558"/>
                <a:gd name="T43" fmla="*/ 1278 h 1506"/>
                <a:gd name="T44" fmla="*/ 2554 w 3558"/>
                <a:gd name="T45" fmla="*/ 1328 h 1506"/>
                <a:gd name="T46" fmla="*/ 2403 w 3558"/>
                <a:gd name="T47" fmla="*/ 1377 h 1506"/>
                <a:gd name="T48" fmla="*/ 2256 w 3558"/>
                <a:gd name="T49" fmla="*/ 1422 h 1506"/>
                <a:gd name="T50" fmla="*/ 2115 w 3558"/>
                <a:gd name="T51" fmla="*/ 1460 h 1506"/>
                <a:gd name="T52" fmla="*/ 1983 w 3558"/>
                <a:gd name="T53" fmla="*/ 1489 h 1506"/>
                <a:gd name="T54" fmla="*/ 2161 w 3558"/>
                <a:gd name="T55" fmla="*/ 1214 h 1506"/>
                <a:gd name="T56" fmla="*/ 1897 w 3558"/>
                <a:gd name="T57" fmla="*/ 99 h 1506"/>
                <a:gd name="T58" fmla="*/ 1779 w 3558"/>
                <a:gd name="T59" fmla="*/ 317 h 1506"/>
                <a:gd name="T60" fmla="*/ 1644 w 3558"/>
                <a:gd name="T61" fmla="*/ 1506 h 1506"/>
                <a:gd name="T62" fmla="*/ 1476 w 3558"/>
                <a:gd name="T63" fmla="*/ 1486 h 1506"/>
                <a:gd name="T64" fmla="*/ 1322 w 3558"/>
                <a:gd name="T65" fmla="*/ 1453 h 1506"/>
                <a:gd name="T66" fmla="*/ 1177 w 3558"/>
                <a:gd name="T67" fmla="*/ 1409 h 1506"/>
                <a:gd name="T68" fmla="*/ 1041 w 3558"/>
                <a:gd name="T69" fmla="*/ 1359 h 1506"/>
                <a:gd name="T70" fmla="*/ 909 w 3558"/>
                <a:gd name="T71" fmla="*/ 1305 h 1506"/>
                <a:gd name="T72" fmla="*/ 779 w 3558"/>
                <a:gd name="T73" fmla="*/ 1250 h 1506"/>
                <a:gd name="T74" fmla="*/ 650 w 3558"/>
                <a:gd name="T75" fmla="*/ 1196 h 1506"/>
                <a:gd name="T76" fmla="*/ 518 w 3558"/>
                <a:gd name="T77" fmla="*/ 1148 h 1506"/>
                <a:gd name="T78" fmla="*/ 382 w 3558"/>
                <a:gd name="T79" fmla="*/ 1106 h 1506"/>
                <a:gd name="T80" fmla="*/ 237 w 3558"/>
                <a:gd name="T81" fmla="*/ 1076 h 1506"/>
                <a:gd name="T82" fmla="*/ 82 w 3558"/>
                <a:gd name="T83" fmla="*/ 1060 h 1506"/>
                <a:gd name="T84" fmla="*/ 131 w 3558"/>
                <a:gd name="T85" fmla="*/ 575 h 1506"/>
                <a:gd name="T86" fmla="*/ 202 w 3558"/>
                <a:gd name="T87" fmla="*/ 527 h 1506"/>
                <a:gd name="T88" fmla="*/ 282 w 3558"/>
                <a:gd name="T89" fmla="*/ 486 h 1506"/>
                <a:gd name="T90" fmla="*/ 471 w 3558"/>
                <a:gd name="T91" fmla="*/ 399 h 1506"/>
                <a:gd name="T92" fmla="*/ 663 w 3558"/>
                <a:gd name="T93" fmla="*/ 321 h 1506"/>
                <a:gd name="T94" fmla="*/ 854 w 3558"/>
                <a:gd name="T95" fmla="*/ 251 h 1506"/>
                <a:gd name="T96" fmla="*/ 1126 w 3558"/>
                <a:gd name="T97" fmla="*/ 155 h 1506"/>
                <a:gd name="T98" fmla="*/ 1154 w 3558"/>
                <a:gd name="T99" fmla="*/ 135 h 1506"/>
                <a:gd name="T100" fmla="*/ 1191 w 3558"/>
                <a:gd name="T101" fmla="*/ 56 h 1506"/>
                <a:gd name="T102" fmla="*/ 1231 w 3558"/>
                <a:gd name="T103" fmla="*/ 90 h 1506"/>
                <a:gd name="T104" fmla="*/ 1281 w 3558"/>
                <a:gd name="T105" fmla="*/ 113 h 1506"/>
                <a:gd name="T106" fmla="*/ 1453 w 3558"/>
                <a:gd name="T107" fmla="*/ 165 h 1506"/>
                <a:gd name="T108" fmla="*/ 1518 w 3558"/>
                <a:gd name="T109" fmla="*/ 165 h 1506"/>
                <a:gd name="T110" fmla="*/ 1574 w 3558"/>
                <a:gd name="T111" fmla="*/ 151 h 1506"/>
                <a:gd name="T112" fmla="*/ 1628 w 3558"/>
                <a:gd name="T113" fmla="*/ 121 h 1506"/>
                <a:gd name="T114" fmla="*/ 1667 w 3558"/>
                <a:gd name="T115" fmla="*/ 78 h 1506"/>
                <a:gd name="T116" fmla="*/ 1701 w 3558"/>
                <a:gd name="T117" fmla="*/ 4 h 1506"/>
                <a:gd name="T118" fmla="*/ 1845 w 3558"/>
                <a:gd name="T119" fmla="*/ 0 h 1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558" h="1506">
                  <a:moveTo>
                    <a:pt x="1845" y="0"/>
                  </a:moveTo>
                  <a:lnTo>
                    <a:pt x="1869" y="46"/>
                  </a:lnTo>
                  <a:lnTo>
                    <a:pt x="1887" y="72"/>
                  </a:lnTo>
                  <a:lnTo>
                    <a:pt x="1906" y="94"/>
                  </a:lnTo>
                  <a:lnTo>
                    <a:pt x="1932" y="113"/>
                  </a:lnTo>
                  <a:lnTo>
                    <a:pt x="1959" y="128"/>
                  </a:lnTo>
                  <a:lnTo>
                    <a:pt x="1989" y="139"/>
                  </a:lnTo>
                  <a:lnTo>
                    <a:pt x="2022" y="146"/>
                  </a:lnTo>
                  <a:lnTo>
                    <a:pt x="2056" y="148"/>
                  </a:lnTo>
                  <a:lnTo>
                    <a:pt x="2085" y="147"/>
                  </a:lnTo>
                  <a:lnTo>
                    <a:pt x="2113" y="141"/>
                  </a:lnTo>
                  <a:lnTo>
                    <a:pt x="2141" y="132"/>
                  </a:lnTo>
                  <a:lnTo>
                    <a:pt x="2273" y="80"/>
                  </a:lnTo>
                  <a:lnTo>
                    <a:pt x="2297" y="68"/>
                  </a:lnTo>
                  <a:lnTo>
                    <a:pt x="2321" y="54"/>
                  </a:lnTo>
                  <a:lnTo>
                    <a:pt x="2339" y="37"/>
                  </a:lnTo>
                  <a:lnTo>
                    <a:pt x="2357" y="81"/>
                  </a:lnTo>
                  <a:lnTo>
                    <a:pt x="2378" y="124"/>
                  </a:lnTo>
                  <a:lnTo>
                    <a:pt x="2387" y="136"/>
                  </a:lnTo>
                  <a:lnTo>
                    <a:pt x="2401" y="146"/>
                  </a:lnTo>
                  <a:lnTo>
                    <a:pt x="2417" y="155"/>
                  </a:lnTo>
                  <a:lnTo>
                    <a:pt x="2434" y="161"/>
                  </a:lnTo>
                  <a:lnTo>
                    <a:pt x="2606" y="219"/>
                  </a:lnTo>
                  <a:lnTo>
                    <a:pt x="2778" y="279"/>
                  </a:lnTo>
                  <a:lnTo>
                    <a:pt x="2948" y="343"/>
                  </a:lnTo>
                  <a:lnTo>
                    <a:pt x="3117" y="409"/>
                  </a:lnTo>
                  <a:lnTo>
                    <a:pt x="3284" y="479"/>
                  </a:lnTo>
                  <a:lnTo>
                    <a:pt x="3337" y="505"/>
                  </a:lnTo>
                  <a:lnTo>
                    <a:pt x="3385" y="535"/>
                  </a:lnTo>
                  <a:lnTo>
                    <a:pt x="3428" y="569"/>
                  </a:lnTo>
                  <a:lnTo>
                    <a:pt x="3558" y="1058"/>
                  </a:lnTo>
                  <a:lnTo>
                    <a:pt x="3509" y="1060"/>
                  </a:lnTo>
                  <a:lnTo>
                    <a:pt x="3457" y="1065"/>
                  </a:lnTo>
                  <a:lnTo>
                    <a:pt x="3400" y="1074"/>
                  </a:lnTo>
                  <a:lnTo>
                    <a:pt x="3340" y="1085"/>
                  </a:lnTo>
                  <a:lnTo>
                    <a:pt x="3277" y="1100"/>
                  </a:lnTo>
                  <a:lnTo>
                    <a:pt x="3212" y="1117"/>
                  </a:lnTo>
                  <a:lnTo>
                    <a:pt x="3144" y="1135"/>
                  </a:lnTo>
                  <a:lnTo>
                    <a:pt x="3075" y="1157"/>
                  </a:lnTo>
                  <a:lnTo>
                    <a:pt x="3003" y="1179"/>
                  </a:lnTo>
                  <a:lnTo>
                    <a:pt x="2931" y="1203"/>
                  </a:lnTo>
                  <a:lnTo>
                    <a:pt x="2856" y="1227"/>
                  </a:lnTo>
                  <a:lnTo>
                    <a:pt x="2781" y="1252"/>
                  </a:lnTo>
                  <a:lnTo>
                    <a:pt x="2706" y="1278"/>
                  </a:lnTo>
                  <a:lnTo>
                    <a:pt x="2630" y="1303"/>
                  </a:lnTo>
                  <a:lnTo>
                    <a:pt x="2554" y="1328"/>
                  </a:lnTo>
                  <a:lnTo>
                    <a:pt x="2478" y="1353"/>
                  </a:lnTo>
                  <a:lnTo>
                    <a:pt x="2403" y="1377"/>
                  </a:lnTo>
                  <a:lnTo>
                    <a:pt x="2329" y="1400"/>
                  </a:lnTo>
                  <a:lnTo>
                    <a:pt x="2256" y="1422"/>
                  </a:lnTo>
                  <a:lnTo>
                    <a:pt x="2185" y="1442"/>
                  </a:lnTo>
                  <a:lnTo>
                    <a:pt x="2115" y="1460"/>
                  </a:lnTo>
                  <a:lnTo>
                    <a:pt x="2048" y="1476"/>
                  </a:lnTo>
                  <a:lnTo>
                    <a:pt x="1983" y="1489"/>
                  </a:lnTo>
                  <a:lnTo>
                    <a:pt x="1920" y="1499"/>
                  </a:lnTo>
                  <a:lnTo>
                    <a:pt x="2161" y="1214"/>
                  </a:lnTo>
                  <a:lnTo>
                    <a:pt x="1779" y="317"/>
                  </a:lnTo>
                  <a:lnTo>
                    <a:pt x="1897" y="99"/>
                  </a:lnTo>
                  <a:lnTo>
                    <a:pt x="1660" y="99"/>
                  </a:lnTo>
                  <a:lnTo>
                    <a:pt x="1779" y="317"/>
                  </a:lnTo>
                  <a:lnTo>
                    <a:pt x="1398" y="1214"/>
                  </a:lnTo>
                  <a:lnTo>
                    <a:pt x="1644" y="1506"/>
                  </a:lnTo>
                  <a:lnTo>
                    <a:pt x="1559" y="1498"/>
                  </a:lnTo>
                  <a:lnTo>
                    <a:pt x="1476" y="1486"/>
                  </a:lnTo>
                  <a:lnTo>
                    <a:pt x="1398" y="1471"/>
                  </a:lnTo>
                  <a:lnTo>
                    <a:pt x="1322" y="1453"/>
                  </a:lnTo>
                  <a:lnTo>
                    <a:pt x="1248" y="1432"/>
                  </a:lnTo>
                  <a:lnTo>
                    <a:pt x="1177" y="1409"/>
                  </a:lnTo>
                  <a:lnTo>
                    <a:pt x="1108" y="1385"/>
                  </a:lnTo>
                  <a:lnTo>
                    <a:pt x="1041" y="1359"/>
                  </a:lnTo>
                  <a:lnTo>
                    <a:pt x="974" y="1332"/>
                  </a:lnTo>
                  <a:lnTo>
                    <a:pt x="909" y="1305"/>
                  </a:lnTo>
                  <a:lnTo>
                    <a:pt x="844" y="1277"/>
                  </a:lnTo>
                  <a:lnTo>
                    <a:pt x="779" y="1250"/>
                  </a:lnTo>
                  <a:lnTo>
                    <a:pt x="715" y="1223"/>
                  </a:lnTo>
                  <a:lnTo>
                    <a:pt x="650" y="1196"/>
                  </a:lnTo>
                  <a:lnTo>
                    <a:pt x="585" y="1171"/>
                  </a:lnTo>
                  <a:lnTo>
                    <a:pt x="518" y="1148"/>
                  </a:lnTo>
                  <a:lnTo>
                    <a:pt x="450" y="1125"/>
                  </a:lnTo>
                  <a:lnTo>
                    <a:pt x="382" y="1106"/>
                  </a:lnTo>
                  <a:lnTo>
                    <a:pt x="309" y="1090"/>
                  </a:lnTo>
                  <a:lnTo>
                    <a:pt x="237" y="1076"/>
                  </a:lnTo>
                  <a:lnTo>
                    <a:pt x="160" y="1066"/>
                  </a:lnTo>
                  <a:lnTo>
                    <a:pt x="82" y="1060"/>
                  </a:lnTo>
                  <a:lnTo>
                    <a:pt x="0" y="1057"/>
                  </a:lnTo>
                  <a:lnTo>
                    <a:pt x="131" y="575"/>
                  </a:lnTo>
                  <a:lnTo>
                    <a:pt x="166" y="550"/>
                  </a:lnTo>
                  <a:lnTo>
                    <a:pt x="202" y="527"/>
                  </a:lnTo>
                  <a:lnTo>
                    <a:pt x="242" y="506"/>
                  </a:lnTo>
                  <a:lnTo>
                    <a:pt x="282" y="486"/>
                  </a:lnTo>
                  <a:lnTo>
                    <a:pt x="377" y="442"/>
                  </a:lnTo>
                  <a:lnTo>
                    <a:pt x="471" y="399"/>
                  </a:lnTo>
                  <a:lnTo>
                    <a:pt x="567" y="358"/>
                  </a:lnTo>
                  <a:lnTo>
                    <a:pt x="663" y="321"/>
                  </a:lnTo>
                  <a:lnTo>
                    <a:pt x="758" y="286"/>
                  </a:lnTo>
                  <a:lnTo>
                    <a:pt x="854" y="251"/>
                  </a:lnTo>
                  <a:lnTo>
                    <a:pt x="991" y="203"/>
                  </a:lnTo>
                  <a:lnTo>
                    <a:pt x="1126" y="155"/>
                  </a:lnTo>
                  <a:lnTo>
                    <a:pt x="1140" y="146"/>
                  </a:lnTo>
                  <a:lnTo>
                    <a:pt x="1154" y="135"/>
                  </a:lnTo>
                  <a:lnTo>
                    <a:pt x="1162" y="121"/>
                  </a:lnTo>
                  <a:lnTo>
                    <a:pt x="1191" y="56"/>
                  </a:lnTo>
                  <a:lnTo>
                    <a:pt x="1210" y="74"/>
                  </a:lnTo>
                  <a:lnTo>
                    <a:pt x="1231" y="90"/>
                  </a:lnTo>
                  <a:lnTo>
                    <a:pt x="1255" y="103"/>
                  </a:lnTo>
                  <a:lnTo>
                    <a:pt x="1281" y="113"/>
                  </a:lnTo>
                  <a:lnTo>
                    <a:pt x="1418" y="156"/>
                  </a:lnTo>
                  <a:lnTo>
                    <a:pt x="1453" y="165"/>
                  </a:lnTo>
                  <a:lnTo>
                    <a:pt x="1489" y="167"/>
                  </a:lnTo>
                  <a:lnTo>
                    <a:pt x="1518" y="165"/>
                  </a:lnTo>
                  <a:lnTo>
                    <a:pt x="1547" y="160"/>
                  </a:lnTo>
                  <a:lnTo>
                    <a:pt x="1574" y="151"/>
                  </a:lnTo>
                  <a:lnTo>
                    <a:pt x="1602" y="138"/>
                  </a:lnTo>
                  <a:lnTo>
                    <a:pt x="1628" y="121"/>
                  </a:lnTo>
                  <a:lnTo>
                    <a:pt x="1649" y="101"/>
                  </a:lnTo>
                  <a:lnTo>
                    <a:pt x="1667" y="78"/>
                  </a:lnTo>
                  <a:lnTo>
                    <a:pt x="1680" y="53"/>
                  </a:lnTo>
                  <a:lnTo>
                    <a:pt x="1701" y="4"/>
                  </a:lnTo>
                  <a:lnTo>
                    <a:pt x="1773" y="4"/>
                  </a:lnTo>
                  <a:lnTo>
                    <a:pt x="184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45" name="Freeform 79">
              <a:extLst>
                <a:ext uri="{FF2B5EF4-FFF2-40B4-BE49-F238E27FC236}">
                  <a16:creationId xmlns:a16="http://schemas.microsoft.com/office/drawing/2014/main" id="{655515BE-36F6-E6E0-6DC1-615ADFFB62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92563" y="3806826"/>
              <a:ext cx="460375" cy="461963"/>
            </a:xfrm>
            <a:custGeom>
              <a:avLst/>
              <a:gdLst>
                <a:gd name="T0" fmla="*/ 877 w 2030"/>
                <a:gd name="T1" fmla="*/ 507 h 1746"/>
                <a:gd name="T2" fmla="*/ 702 w 2030"/>
                <a:gd name="T3" fmla="*/ 598 h 1746"/>
                <a:gd name="T4" fmla="*/ 595 w 2030"/>
                <a:gd name="T5" fmla="*/ 740 h 1746"/>
                <a:gd name="T6" fmla="*/ 570 w 2030"/>
                <a:gd name="T7" fmla="*/ 906 h 1746"/>
                <a:gd name="T8" fmla="*/ 634 w 2030"/>
                <a:gd name="T9" fmla="*/ 1073 h 1746"/>
                <a:gd name="T10" fmla="*/ 773 w 2030"/>
                <a:gd name="T11" fmla="*/ 1195 h 1746"/>
                <a:gd name="T12" fmla="*/ 955 w 2030"/>
                <a:gd name="T13" fmla="*/ 1254 h 1746"/>
                <a:gd name="T14" fmla="*/ 1153 w 2030"/>
                <a:gd name="T15" fmla="*/ 1239 h 1746"/>
                <a:gd name="T16" fmla="*/ 1328 w 2030"/>
                <a:gd name="T17" fmla="*/ 1147 h 1746"/>
                <a:gd name="T18" fmla="*/ 1434 w 2030"/>
                <a:gd name="T19" fmla="*/ 1006 h 1746"/>
                <a:gd name="T20" fmla="*/ 1461 w 2030"/>
                <a:gd name="T21" fmla="*/ 839 h 1746"/>
                <a:gd name="T22" fmla="*/ 1397 w 2030"/>
                <a:gd name="T23" fmla="*/ 673 h 1746"/>
                <a:gd name="T24" fmla="*/ 1258 w 2030"/>
                <a:gd name="T25" fmla="*/ 550 h 1746"/>
                <a:gd name="T26" fmla="*/ 1075 w 2030"/>
                <a:gd name="T27" fmla="*/ 492 h 1746"/>
                <a:gd name="T28" fmla="*/ 1309 w 2030"/>
                <a:gd name="T29" fmla="*/ 6 h 1746"/>
                <a:gd name="T30" fmla="*/ 1507 w 2030"/>
                <a:gd name="T31" fmla="*/ 89 h 1746"/>
                <a:gd name="T32" fmla="*/ 1529 w 2030"/>
                <a:gd name="T33" fmla="*/ 172 h 1746"/>
                <a:gd name="T34" fmla="*/ 1577 w 2030"/>
                <a:gd name="T35" fmla="*/ 350 h 1746"/>
                <a:gd name="T36" fmla="*/ 1788 w 2030"/>
                <a:gd name="T37" fmla="*/ 378 h 1746"/>
                <a:gd name="T38" fmla="*/ 1885 w 2030"/>
                <a:gd name="T39" fmla="*/ 391 h 1746"/>
                <a:gd name="T40" fmla="*/ 1997 w 2030"/>
                <a:gd name="T41" fmla="*/ 553 h 1746"/>
                <a:gd name="T42" fmla="*/ 2000 w 2030"/>
                <a:gd name="T43" fmla="*/ 638 h 1746"/>
                <a:gd name="T44" fmla="*/ 1932 w 2030"/>
                <a:gd name="T45" fmla="*/ 702 h 1746"/>
                <a:gd name="T46" fmla="*/ 1837 w 2030"/>
                <a:gd name="T47" fmla="*/ 948 h 1746"/>
                <a:gd name="T48" fmla="*/ 2006 w 2030"/>
                <a:gd name="T49" fmla="*/ 1022 h 1746"/>
                <a:gd name="T50" fmla="*/ 2028 w 2030"/>
                <a:gd name="T51" fmla="*/ 1104 h 1746"/>
                <a:gd name="T52" fmla="*/ 1945 w 2030"/>
                <a:gd name="T53" fmla="*/ 1281 h 1746"/>
                <a:gd name="T54" fmla="*/ 1854 w 2030"/>
                <a:gd name="T55" fmla="*/ 1317 h 1746"/>
                <a:gd name="T56" fmla="*/ 1662 w 2030"/>
                <a:gd name="T57" fmla="*/ 1317 h 1746"/>
                <a:gd name="T58" fmla="*/ 1582 w 2030"/>
                <a:gd name="T59" fmla="*/ 1516 h 1746"/>
                <a:gd name="T60" fmla="*/ 1587 w 2030"/>
                <a:gd name="T61" fmla="*/ 1602 h 1746"/>
                <a:gd name="T62" fmla="*/ 1519 w 2030"/>
                <a:gd name="T63" fmla="*/ 1664 h 1746"/>
                <a:gd name="T64" fmla="*/ 1312 w 2030"/>
                <a:gd name="T65" fmla="*/ 1725 h 1746"/>
                <a:gd name="T66" fmla="*/ 1228 w 2030"/>
                <a:gd name="T67" fmla="*/ 1681 h 1746"/>
                <a:gd name="T68" fmla="*/ 1007 w 2030"/>
                <a:gd name="T69" fmla="*/ 1584 h 1746"/>
                <a:gd name="T70" fmla="*/ 861 w 2030"/>
                <a:gd name="T71" fmla="*/ 1710 h 1746"/>
                <a:gd name="T72" fmla="*/ 772 w 2030"/>
                <a:gd name="T73" fmla="*/ 1746 h 1746"/>
                <a:gd name="T74" fmla="*/ 562 w 2030"/>
                <a:gd name="T75" fmla="*/ 1686 h 1746"/>
                <a:gd name="T76" fmla="*/ 503 w 2030"/>
                <a:gd name="T77" fmla="*/ 1617 h 1746"/>
                <a:gd name="T78" fmla="*/ 548 w 2030"/>
                <a:gd name="T79" fmla="*/ 1459 h 1746"/>
                <a:gd name="T80" fmla="*/ 371 w 2030"/>
                <a:gd name="T81" fmla="*/ 1320 h 1746"/>
                <a:gd name="T82" fmla="*/ 192 w 2030"/>
                <a:gd name="T83" fmla="*/ 1370 h 1746"/>
                <a:gd name="T84" fmla="*/ 109 w 2030"/>
                <a:gd name="T85" fmla="*/ 1326 h 1746"/>
                <a:gd name="T86" fmla="*/ 23 w 2030"/>
                <a:gd name="T87" fmla="*/ 1149 h 1746"/>
                <a:gd name="T88" fmla="*/ 56 w 2030"/>
                <a:gd name="T89" fmla="*/ 1070 h 1746"/>
                <a:gd name="T90" fmla="*/ 192 w 2030"/>
                <a:gd name="T91" fmla="*/ 935 h 1746"/>
                <a:gd name="T92" fmla="*/ 62 w 2030"/>
                <a:gd name="T93" fmla="*/ 754 h 1746"/>
                <a:gd name="T94" fmla="*/ 4 w 2030"/>
                <a:gd name="T95" fmla="*/ 685 h 1746"/>
                <a:gd name="T96" fmla="*/ 59 w 2030"/>
                <a:gd name="T97" fmla="*/ 502 h 1746"/>
                <a:gd name="T98" fmla="*/ 126 w 2030"/>
                <a:gd name="T99" fmla="*/ 441 h 1746"/>
                <a:gd name="T100" fmla="*/ 226 w 2030"/>
                <a:gd name="T101" fmla="*/ 436 h 1746"/>
                <a:gd name="T102" fmla="*/ 450 w 2030"/>
                <a:gd name="T103" fmla="*/ 353 h 1746"/>
                <a:gd name="T104" fmla="*/ 436 w 2030"/>
                <a:gd name="T105" fmla="*/ 187 h 1746"/>
                <a:gd name="T106" fmla="*/ 469 w 2030"/>
                <a:gd name="T107" fmla="*/ 108 h 1746"/>
                <a:gd name="T108" fmla="*/ 668 w 2030"/>
                <a:gd name="T109" fmla="*/ 21 h 1746"/>
                <a:gd name="T110" fmla="*/ 766 w 2030"/>
                <a:gd name="T111" fmla="*/ 35 h 1746"/>
                <a:gd name="T112" fmla="*/ 864 w 2030"/>
                <a:gd name="T113" fmla="*/ 174 h 1746"/>
                <a:gd name="T114" fmla="*/ 1143 w 2030"/>
                <a:gd name="T115" fmla="*/ 72 h 1746"/>
                <a:gd name="T116" fmla="*/ 1210 w 2030"/>
                <a:gd name="T117" fmla="*/ 11 h 1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0" h="1746">
                  <a:moveTo>
                    <a:pt x="1026" y="488"/>
                  </a:moveTo>
                  <a:lnTo>
                    <a:pt x="976" y="490"/>
                  </a:lnTo>
                  <a:lnTo>
                    <a:pt x="926" y="496"/>
                  </a:lnTo>
                  <a:lnTo>
                    <a:pt x="877" y="507"/>
                  </a:lnTo>
                  <a:lnTo>
                    <a:pt x="828" y="523"/>
                  </a:lnTo>
                  <a:lnTo>
                    <a:pt x="782" y="545"/>
                  </a:lnTo>
                  <a:lnTo>
                    <a:pt x="740" y="569"/>
                  </a:lnTo>
                  <a:lnTo>
                    <a:pt x="702" y="598"/>
                  </a:lnTo>
                  <a:lnTo>
                    <a:pt x="669" y="629"/>
                  </a:lnTo>
                  <a:lnTo>
                    <a:pt x="640" y="665"/>
                  </a:lnTo>
                  <a:lnTo>
                    <a:pt x="615" y="701"/>
                  </a:lnTo>
                  <a:lnTo>
                    <a:pt x="595" y="740"/>
                  </a:lnTo>
                  <a:lnTo>
                    <a:pt x="581" y="780"/>
                  </a:lnTo>
                  <a:lnTo>
                    <a:pt x="572" y="821"/>
                  </a:lnTo>
                  <a:lnTo>
                    <a:pt x="569" y="863"/>
                  </a:lnTo>
                  <a:lnTo>
                    <a:pt x="570" y="906"/>
                  </a:lnTo>
                  <a:lnTo>
                    <a:pt x="577" y="950"/>
                  </a:lnTo>
                  <a:lnTo>
                    <a:pt x="590" y="992"/>
                  </a:lnTo>
                  <a:lnTo>
                    <a:pt x="609" y="1034"/>
                  </a:lnTo>
                  <a:lnTo>
                    <a:pt x="634" y="1073"/>
                  </a:lnTo>
                  <a:lnTo>
                    <a:pt x="663" y="1109"/>
                  </a:lnTo>
                  <a:lnTo>
                    <a:pt x="696" y="1142"/>
                  </a:lnTo>
                  <a:lnTo>
                    <a:pt x="733" y="1171"/>
                  </a:lnTo>
                  <a:lnTo>
                    <a:pt x="773" y="1195"/>
                  </a:lnTo>
                  <a:lnTo>
                    <a:pt x="815" y="1217"/>
                  </a:lnTo>
                  <a:lnTo>
                    <a:pt x="860" y="1234"/>
                  </a:lnTo>
                  <a:lnTo>
                    <a:pt x="907" y="1246"/>
                  </a:lnTo>
                  <a:lnTo>
                    <a:pt x="955" y="1254"/>
                  </a:lnTo>
                  <a:lnTo>
                    <a:pt x="1005" y="1258"/>
                  </a:lnTo>
                  <a:lnTo>
                    <a:pt x="1054" y="1256"/>
                  </a:lnTo>
                  <a:lnTo>
                    <a:pt x="1104" y="1250"/>
                  </a:lnTo>
                  <a:lnTo>
                    <a:pt x="1153" y="1239"/>
                  </a:lnTo>
                  <a:lnTo>
                    <a:pt x="1202" y="1223"/>
                  </a:lnTo>
                  <a:lnTo>
                    <a:pt x="1249" y="1202"/>
                  </a:lnTo>
                  <a:lnTo>
                    <a:pt x="1291" y="1176"/>
                  </a:lnTo>
                  <a:lnTo>
                    <a:pt x="1328" y="1147"/>
                  </a:lnTo>
                  <a:lnTo>
                    <a:pt x="1362" y="1116"/>
                  </a:lnTo>
                  <a:lnTo>
                    <a:pt x="1391" y="1081"/>
                  </a:lnTo>
                  <a:lnTo>
                    <a:pt x="1414" y="1045"/>
                  </a:lnTo>
                  <a:lnTo>
                    <a:pt x="1434" y="1006"/>
                  </a:lnTo>
                  <a:lnTo>
                    <a:pt x="1449" y="966"/>
                  </a:lnTo>
                  <a:lnTo>
                    <a:pt x="1459" y="925"/>
                  </a:lnTo>
                  <a:lnTo>
                    <a:pt x="1462" y="882"/>
                  </a:lnTo>
                  <a:lnTo>
                    <a:pt x="1461" y="839"/>
                  </a:lnTo>
                  <a:lnTo>
                    <a:pt x="1453" y="796"/>
                  </a:lnTo>
                  <a:lnTo>
                    <a:pt x="1440" y="754"/>
                  </a:lnTo>
                  <a:lnTo>
                    <a:pt x="1421" y="712"/>
                  </a:lnTo>
                  <a:lnTo>
                    <a:pt x="1397" y="673"/>
                  </a:lnTo>
                  <a:lnTo>
                    <a:pt x="1368" y="636"/>
                  </a:lnTo>
                  <a:lnTo>
                    <a:pt x="1334" y="603"/>
                  </a:lnTo>
                  <a:lnTo>
                    <a:pt x="1298" y="574"/>
                  </a:lnTo>
                  <a:lnTo>
                    <a:pt x="1258" y="550"/>
                  </a:lnTo>
                  <a:lnTo>
                    <a:pt x="1215" y="529"/>
                  </a:lnTo>
                  <a:lnTo>
                    <a:pt x="1169" y="512"/>
                  </a:lnTo>
                  <a:lnTo>
                    <a:pt x="1123" y="500"/>
                  </a:lnTo>
                  <a:lnTo>
                    <a:pt x="1075" y="492"/>
                  </a:lnTo>
                  <a:lnTo>
                    <a:pt x="1026" y="488"/>
                  </a:lnTo>
                  <a:close/>
                  <a:moveTo>
                    <a:pt x="1259" y="0"/>
                  </a:moveTo>
                  <a:lnTo>
                    <a:pt x="1285" y="1"/>
                  </a:lnTo>
                  <a:lnTo>
                    <a:pt x="1309" y="6"/>
                  </a:lnTo>
                  <a:lnTo>
                    <a:pt x="1446" y="50"/>
                  </a:lnTo>
                  <a:lnTo>
                    <a:pt x="1469" y="60"/>
                  </a:lnTo>
                  <a:lnTo>
                    <a:pt x="1490" y="73"/>
                  </a:lnTo>
                  <a:lnTo>
                    <a:pt x="1507" y="89"/>
                  </a:lnTo>
                  <a:lnTo>
                    <a:pt x="1518" y="109"/>
                  </a:lnTo>
                  <a:lnTo>
                    <a:pt x="1528" y="129"/>
                  </a:lnTo>
                  <a:lnTo>
                    <a:pt x="1531" y="150"/>
                  </a:lnTo>
                  <a:lnTo>
                    <a:pt x="1529" y="172"/>
                  </a:lnTo>
                  <a:lnTo>
                    <a:pt x="1523" y="194"/>
                  </a:lnTo>
                  <a:lnTo>
                    <a:pt x="1483" y="286"/>
                  </a:lnTo>
                  <a:lnTo>
                    <a:pt x="1531" y="317"/>
                  </a:lnTo>
                  <a:lnTo>
                    <a:pt x="1577" y="350"/>
                  </a:lnTo>
                  <a:lnTo>
                    <a:pt x="1619" y="387"/>
                  </a:lnTo>
                  <a:lnTo>
                    <a:pt x="1658" y="426"/>
                  </a:lnTo>
                  <a:lnTo>
                    <a:pt x="1763" y="385"/>
                  </a:lnTo>
                  <a:lnTo>
                    <a:pt x="1788" y="378"/>
                  </a:lnTo>
                  <a:lnTo>
                    <a:pt x="1813" y="375"/>
                  </a:lnTo>
                  <a:lnTo>
                    <a:pt x="1838" y="376"/>
                  </a:lnTo>
                  <a:lnTo>
                    <a:pt x="1862" y="382"/>
                  </a:lnTo>
                  <a:lnTo>
                    <a:pt x="1885" y="391"/>
                  </a:lnTo>
                  <a:lnTo>
                    <a:pt x="1904" y="404"/>
                  </a:lnTo>
                  <a:lnTo>
                    <a:pt x="1922" y="420"/>
                  </a:lnTo>
                  <a:lnTo>
                    <a:pt x="1935" y="440"/>
                  </a:lnTo>
                  <a:lnTo>
                    <a:pt x="1997" y="553"/>
                  </a:lnTo>
                  <a:lnTo>
                    <a:pt x="2005" y="574"/>
                  </a:lnTo>
                  <a:lnTo>
                    <a:pt x="2008" y="596"/>
                  </a:lnTo>
                  <a:lnTo>
                    <a:pt x="2006" y="617"/>
                  </a:lnTo>
                  <a:lnTo>
                    <a:pt x="2000" y="638"/>
                  </a:lnTo>
                  <a:lnTo>
                    <a:pt x="1990" y="658"/>
                  </a:lnTo>
                  <a:lnTo>
                    <a:pt x="1974" y="676"/>
                  </a:lnTo>
                  <a:lnTo>
                    <a:pt x="1955" y="690"/>
                  </a:lnTo>
                  <a:lnTo>
                    <a:pt x="1932" y="702"/>
                  </a:lnTo>
                  <a:lnTo>
                    <a:pt x="1829" y="743"/>
                  </a:lnTo>
                  <a:lnTo>
                    <a:pt x="1839" y="811"/>
                  </a:lnTo>
                  <a:lnTo>
                    <a:pt x="1841" y="880"/>
                  </a:lnTo>
                  <a:lnTo>
                    <a:pt x="1837" y="948"/>
                  </a:lnTo>
                  <a:lnTo>
                    <a:pt x="1945" y="983"/>
                  </a:lnTo>
                  <a:lnTo>
                    <a:pt x="1969" y="993"/>
                  </a:lnTo>
                  <a:lnTo>
                    <a:pt x="1990" y="1006"/>
                  </a:lnTo>
                  <a:lnTo>
                    <a:pt x="2006" y="1022"/>
                  </a:lnTo>
                  <a:lnTo>
                    <a:pt x="2018" y="1041"/>
                  </a:lnTo>
                  <a:lnTo>
                    <a:pt x="2027" y="1061"/>
                  </a:lnTo>
                  <a:lnTo>
                    <a:pt x="2030" y="1082"/>
                  </a:lnTo>
                  <a:lnTo>
                    <a:pt x="2028" y="1104"/>
                  </a:lnTo>
                  <a:lnTo>
                    <a:pt x="2022" y="1126"/>
                  </a:lnTo>
                  <a:lnTo>
                    <a:pt x="1972" y="1244"/>
                  </a:lnTo>
                  <a:lnTo>
                    <a:pt x="1960" y="1264"/>
                  </a:lnTo>
                  <a:lnTo>
                    <a:pt x="1945" y="1281"/>
                  </a:lnTo>
                  <a:lnTo>
                    <a:pt x="1927" y="1295"/>
                  </a:lnTo>
                  <a:lnTo>
                    <a:pt x="1904" y="1306"/>
                  </a:lnTo>
                  <a:lnTo>
                    <a:pt x="1880" y="1314"/>
                  </a:lnTo>
                  <a:lnTo>
                    <a:pt x="1854" y="1317"/>
                  </a:lnTo>
                  <a:lnTo>
                    <a:pt x="1830" y="1315"/>
                  </a:lnTo>
                  <a:lnTo>
                    <a:pt x="1805" y="1310"/>
                  </a:lnTo>
                  <a:lnTo>
                    <a:pt x="1697" y="1276"/>
                  </a:lnTo>
                  <a:lnTo>
                    <a:pt x="1662" y="1317"/>
                  </a:lnTo>
                  <a:lnTo>
                    <a:pt x="1622" y="1355"/>
                  </a:lnTo>
                  <a:lnTo>
                    <a:pt x="1580" y="1392"/>
                  </a:lnTo>
                  <a:lnTo>
                    <a:pt x="1535" y="1426"/>
                  </a:lnTo>
                  <a:lnTo>
                    <a:pt x="1582" y="1516"/>
                  </a:lnTo>
                  <a:lnTo>
                    <a:pt x="1592" y="1538"/>
                  </a:lnTo>
                  <a:lnTo>
                    <a:pt x="1594" y="1559"/>
                  </a:lnTo>
                  <a:lnTo>
                    <a:pt x="1593" y="1581"/>
                  </a:lnTo>
                  <a:lnTo>
                    <a:pt x="1587" y="1602"/>
                  </a:lnTo>
                  <a:lnTo>
                    <a:pt x="1575" y="1621"/>
                  </a:lnTo>
                  <a:lnTo>
                    <a:pt x="1560" y="1638"/>
                  </a:lnTo>
                  <a:lnTo>
                    <a:pt x="1542" y="1653"/>
                  </a:lnTo>
                  <a:lnTo>
                    <a:pt x="1519" y="1664"/>
                  </a:lnTo>
                  <a:lnTo>
                    <a:pt x="1386" y="1716"/>
                  </a:lnTo>
                  <a:lnTo>
                    <a:pt x="1362" y="1724"/>
                  </a:lnTo>
                  <a:lnTo>
                    <a:pt x="1336" y="1727"/>
                  </a:lnTo>
                  <a:lnTo>
                    <a:pt x="1312" y="1725"/>
                  </a:lnTo>
                  <a:lnTo>
                    <a:pt x="1287" y="1720"/>
                  </a:lnTo>
                  <a:lnTo>
                    <a:pt x="1265" y="1710"/>
                  </a:lnTo>
                  <a:lnTo>
                    <a:pt x="1245" y="1698"/>
                  </a:lnTo>
                  <a:lnTo>
                    <a:pt x="1228" y="1681"/>
                  </a:lnTo>
                  <a:lnTo>
                    <a:pt x="1215" y="1662"/>
                  </a:lnTo>
                  <a:lnTo>
                    <a:pt x="1166" y="1572"/>
                  </a:lnTo>
                  <a:lnTo>
                    <a:pt x="1087" y="1582"/>
                  </a:lnTo>
                  <a:lnTo>
                    <a:pt x="1007" y="1584"/>
                  </a:lnTo>
                  <a:lnTo>
                    <a:pt x="928" y="1580"/>
                  </a:lnTo>
                  <a:lnTo>
                    <a:pt x="888" y="1673"/>
                  </a:lnTo>
                  <a:lnTo>
                    <a:pt x="877" y="1692"/>
                  </a:lnTo>
                  <a:lnTo>
                    <a:pt x="861" y="1710"/>
                  </a:lnTo>
                  <a:lnTo>
                    <a:pt x="843" y="1724"/>
                  </a:lnTo>
                  <a:lnTo>
                    <a:pt x="821" y="1735"/>
                  </a:lnTo>
                  <a:lnTo>
                    <a:pt x="796" y="1743"/>
                  </a:lnTo>
                  <a:lnTo>
                    <a:pt x="772" y="1746"/>
                  </a:lnTo>
                  <a:lnTo>
                    <a:pt x="746" y="1744"/>
                  </a:lnTo>
                  <a:lnTo>
                    <a:pt x="721" y="1739"/>
                  </a:lnTo>
                  <a:lnTo>
                    <a:pt x="585" y="1696"/>
                  </a:lnTo>
                  <a:lnTo>
                    <a:pt x="562" y="1686"/>
                  </a:lnTo>
                  <a:lnTo>
                    <a:pt x="541" y="1673"/>
                  </a:lnTo>
                  <a:lnTo>
                    <a:pt x="524" y="1656"/>
                  </a:lnTo>
                  <a:lnTo>
                    <a:pt x="511" y="1637"/>
                  </a:lnTo>
                  <a:lnTo>
                    <a:pt x="503" y="1617"/>
                  </a:lnTo>
                  <a:lnTo>
                    <a:pt x="500" y="1595"/>
                  </a:lnTo>
                  <a:lnTo>
                    <a:pt x="501" y="1574"/>
                  </a:lnTo>
                  <a:lnTo>
                    <a:pt x="508" y="1552"/>
                  </a:lnTo>
                  <a:lnTo>
                    <a:pt x="548" y="1459"/>
                  </a:lnTo>
                  <a:lnTo>
                    <a:pt x="500" y="1429"/>
                  </a:lnTo>
                  <a:lnTo>
                    <a:pt x="454" y="1395"/>
                  </a:lnTo>
                  <a:lnTo>
                    <a:pt x="411" y="1359"/>
                  </a:lnTo>
                  <a:lnTo>
                    <a:pt x="371" y="1320"/>
                  </a:lnTo>
                  <a:lnTo>
                    <a:pt x="268" y="1361"/>
                  </a:lnTo>
                  <a:lnTo>
                    <a:pt x="243" y="1368"/>
                  </a:lnTo>
                  <a:lnTo>
                    <a:pt x="217" y="1371"/>
                  </a:lnTo>
                  <a:lnTo>
                    <a:pt x="192" y="1370"/>
                  </a:lnTo>
                  <a:lnTo>
                    <a:pt x="168" y="1364"/>
                  </a:lnTo>
                  <a:lnTo>
                    <a:pt x="146" y="1355"/>
                  </a:lnTo>
                  <a:lnTo>
                    <a:pt x="125" y="1342"/>
                  </a:lnTo>
                  <a:lnTo>
                    <a:pt x="109" y="1326"/>
                  </a:lnTo>
                  <a:lnTo>
                    <a:pt x="95" y="1306"/>
                  </a:lnTo>
                  <a:lnTo>
                    <a:pt x="34" y="1192"/>
                  </a:lnTo>
                  <a:lnTo>
                    <a:pt x="26" y="1171"/>
                  </a:lnTo>
                  <a:lnTo>
                    <a:pt x="23" y="1149"/>
                  </a:lnTo>
                  <a:lnTo>
                    <a:pt x="24" y="1128"/>
                  </a:lnTo>
                  <a:lnTo>
                    <a:pt x="31" y="1107"/>
                  </a:lnTo>
                  <a:lnTo>
                    <a:pt x="41" y="1088"/>
                  </a:lnTo>
                  <a:lnTo>
                    <a:pt x="56" y="1070"/>
                  </a:lnTo>
                  <a:lnTo>
                    <a:pt x="75" y="1056"/>
                  </a:lnTo>
                  <a:lnTo>
                    <a:pt x="98" y="1044"/>
                  </a:lnTo>
                  <a:lnTo>
                    <a:pt x="202" y="1003"/>
                  </a:lnTo>
                  <a:lnTo>
                    <a:pt x="192" y="935"/>
                  </a:lnTo>
                  <a:lnTo>
                    <a:pt x="188" y="865"/>
                  </a:lnTo>
                  <a:lnTo>
                    <a:pt x="193" y="798"/>
                  </a:lnTo>
                  <a:lnTo>
                    <a:pt x="86" y="763"/>
                  </a:lnTo>
                  <a:lnTo>
                    <a:pt x="62" y="754"/>
                  </a:lnTo>
                  <a:lnTo>
                    <a:pt x="42" y="741"/>
                  </a:lnTo>
                  <a:lnTo>
                    <a:pt x="25" y="725"/>
                  </a:lnTo>
                  <a:lnTo>
                    <a:pt x="12" y="706"/>
                  </a:lnTo>
                  <a:lnTo>
                    <a:pt x="4" y="685"/>
                  </a:lnTo>
                  <a:lnTo>
                    <a:pt x="0" y="663"/>
                  </a:lnTo>
                  <a:lnTo>
                    <a:pt x="2" y="641"/>
                  </a:lnTo>
                  <a:lnTo>
                    <a:pt x="9" y="619"/>
                  </a:lnTo>
                  <a:lnTo>
                    <a:pt x="59" y="502"/>
                  </a:lnTo>
                  <a:lnTo>
                    <a:pt x="70" y="483"/>
                  </a:lnTo>
                  <a:lnTo>
                    <a:pt x="86" y="466"/>
                  </a:lnTo>
                  <a:lnTo>
                    <a:pt x="105" y="452"/>
                  </a:lnTo>
                  <a:lnTo>
                    <a:pt x="126" y="441"/>
                  </a:lnTo>
                  <a:lnTo>
                    <a:pt x="151" y="433"/>
                  </a:lnTo>
                  <a:lnTo>
                    <a:pt x="175" y="430"/>
                  </a:lnTo>
                  <a:lnTo>
                    <a:pt x="201" y="431"/>
                  </a:lnTo>
                  <a:lnTo>
                    <a:pt x="226" y="436"/>
                  </a:lnTo>
                  <a:lnTo>
                    <a:pt x="334" y="471"/>
                  </a:lnTo>
                  <a:lnTo>
                    <a:pt x="369" y="430"/>
                  </a:lnTo>
                  <a:lnTo>
                    <a:pt x="408" y="391"/>
                  </a:lnTo>
                  <a:lnTo>
                    <a:pt x="450" y="353"/>
                  </a:lnTo>
                  <a:lnTo>
                    <a:pt x="496" y="319"/>
                  </a:lnTo>
                  <a:lnTo>
                    <a:pt x="447" y="230"/>
                  </a:lnTo>
                  <a:lnTo>
                    <a:pt x="439" y="208"/>
                  </a:lnTo>
                  <a:lnTo>
                    <a:pt x="436" y="187"/>
                  </a:lnTo>
                  <a:lnTo>
                    <a:pt x="438" y="165"/>
                  </a:lnTo>
                  <a:lnTo>
                    <a:pt x="444" y="145"/>
                  </a:lnTo>
                  <a:lnTo>
                    <a:pt x="454" y="125"/>
                  </a:lnTo>
                  <a:lnTo>
                    <a:pt x="469" y="108"/>
                  </a:lnTo>
                  <a:lnTo>
                    <a:pt x="489" y="92"/>
                  </a:lnTo>
                  <a:lnTo>
                    <a:pt x="511" y="81"/>
                  </a:lnTo>
                  <a:lnTo>
                    <a:pt x="643" y="29"/>
                  </a:lnTo>
                  <a:lnTo>
                    <a:pt x="668" y="21"/>
                  </a:lnTo>
                  <a:lnTo>
                    <a:pt x="693" y="19"/>
                  </a:lnTo>
                  <a:lnTo>
                    <a:pt x="719" y="20"/>
                  </a:lnTo>
                  <a:lnTo>
                    <a:pt x="742" y="26"/>
                  </a:lnTo>
                  <a:lnTo>
                    <a:pt x="766" y="35"/>
                  </a:lnTo>
                  <a:lnTo>
                    <a:pt x="786" y="48"/>
                  </a:lnTo>
                  <a:lnTo>
                    <a:pt x="802" y="64"/>
                  </a:lnTo>
                  <a:lnTo>
                    <a:pt x="816" y="83"/>
                  </a:lnTo>
                  <a:lnTo>
                    <a:pt x="864" y="174"/>
                  </a:lnTo>
                  <a:lnTo>
                    <a:pt x="944" y="164"/>
                  </a:lnTo>
                  <a:lnTo>
                    <a:pt x="1024" y="162"/>
                  </a:lnTo>
                  <a:lnTo>
                    <a:pt x="1103" y="166"/>
                  </a:lnTo>
                  <a:lnTo>
                    <a:pt x="1143" y="72"/>
                  </a:lnTo>
                  <a:lnTo>
                    <a:pt x="1154" y="53"/>
                  </a:lnTo>
                  <a:lnTo>
                    <a:pt x="1169" y="36"/>
                  </a:lnTo>
                  <a:lnTo>
                    <a:pt x="1189" y="22"/>
                  </a:lnTo>
                  <a:lnTo>
                    <a:pt x="1210" y="11"/>
                  </a:lnTo>
                  <a:lnTo>
                    <a:pt x="1235" y="4"/>
                  </a:lnTo>
                  <a:lnTo>
                    <a:pt x="12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11357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FEAC02D-44DB-20D0-65E6-4C5723C689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8513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EAC02D-44DB-20D0-65E6-4C5723C689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6" name="Group 75">
            <a:extLst>
              <a:ext uri="{FF2B5EF4-FFF2-40B4-BE49-F238E27FC236}">
                <a16:creationId xmlns:a16="http://schemas.microsoft.com/office/drawing/2014/main" id="{6E37FDD8-FB34-4345-8E10-C9F2EBA54A96}"/>
              </a:ext>
            </a:extLst>
          </p:cNvPr>
          <p:cNvGrpSpPr/>
          <p:nvPr/>
        </p:nvGrpSpPr>
        <p:grpSpPr>
          <a:xfrm>
            <a:off x="894757" y="4542696"/>
            <a:ext cx="4861117" cy="1262399"/>
            <a:chOff x="432435" y="1174775"/>
            <a:chExt cx="3834765" cy="981144"/>
          </a:xfrm>
          <a:effectLst/>
        </p:grpSpPr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3D91331D-086B-42E2-960D-6EB1CCAFEC6B}"/>
                </a:ext>
              </a:extLst>
            </p:cNvPr>
            <p:cNvGrpSpPr/>
            <p:nvPr/>
          </p:nvGrpSpPr>
          <p:grpSpPr>
            <a:xfrm>
              <a:off x="432435" y="1191057"/>
              <a:ext cx="477690" cy="927302"/>
              <a:chOff x="432435" y="1191057"/>
              <a:chExt cx="477690" cy="927302"/>
            </a:xfrm>
          </p:grpSpPr>
          <p:sp>
            <p:nvSpPr>
              <p:cNvPr id="80" name="Rectangle: Top Corners Rounded 79">
                <a:extLst>
                  <a:ext uri="{FF2B5EF4-FFF2-40B4-BE49-F238E27FC236}">
                    <a16:creationId xmlns:a16="http://schemas.microsoft.com/office/drawing/2014/main" id="{81F4BF42-9DB4-488E-8630-9146681D2842}"/>
                  </a:ext>
                </a:extLst>
              </p:cNvPr>
              <p:cNvSpPr/>
              <p:nvPr/>
            </p:nvSpPr>
            <p:spPr>
              <a:xfrm rot="16200000">
                <a:off x="207629" y="1415863"/>
                <a:ext cx="927302" cy="477690"/>
              </a:xfrm>
              <a:prstGeom prst="round2SameRect">
                <a:avLst>
                  <a:gd name="adj1" fmla="val 8692"/>
                  <a:gd name="adj2" fmla="val 0"/>
                </a:avLst>
              </a:prstGeom>
              <a:solidFill>
                <a:srgbClr val="686C86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/>
              <a:lstStyle/>
              <a:p>
                <a:pPr algn="ctr"/>
                <a:endParaRPr lang="en-US" sz="2400" b="1" dirty="0">
                  <a:latin typeface="Montserrat" panose="00000500000000000000" pitchFamily="50" charset="0"/>
                </a:endParaRPr>
              </a:p>
            </p:txBody>
          </p:sp>
          <p:sp>
            <p:nvSpPr>
              <p:cNvPr id="81" name="Inhaltsplatzhalter 4">
                <a:extLst>
                  <a:ext uri="{FF2B5EF4-FFF2-40B4-BE49-F238E27FC236}">
                    <a16:creationId xmlns:a16="http://schemas.microsoft.com/office/drawing/2014/main" id="{827CC0C9-BDDC-4885-8EBB-F3D6BCDAE3A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61181" y="1531622"/>
                <a:ext cx="420200" cy="246173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>
                <a:lvl1pPr marL="272967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Wingdings" panose="05000000000000000000" pitchFamily="2" charset="2"/>
                  <a:buChar char="§"/>
                  <a:defRPr sz="23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1pPr>
                <a:lvl2pPr marL="807798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20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2pPr>
                <a:lvl3pPr marL="1080764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9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3pPr>
                <a:lvl4pPr marL="1436256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4pPr>
                <a:lvl5pPr marL="1793335" indent="-179335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5pPr>
                <a:lvl6pPr marL="2513847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10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72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34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00000"/>
                  </a:lnSpc>
                  <a:spcAft>
                    <a:spcPts val="0"/>
                  </a:spcAft>
                  <a:buNone/>
                </a:pPr>
                <a:r>
                  <a:rPr lang="en-US" sz="2133" b="1" dirty="0">
                    <a:latin typeface="Montserrat" panose="00000500000000000000" pitchFamily="50" charset="0"/>
                  </a:rPr>
                  <a:t>03</a:t>
                </a:r>
                <a:endParaRPr lang="en-US" sz="1600" dirty="0">
                  <a:latin typeface="Montserrat" panose="00000500000000000000" pitchFamily="50" charset="0"/>
                </a:endParaRPr>
              </a:p>
            </p:txBody>
          </p:sp>
        </p:grp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4656F2ED-D1B5-496D-99D6-357BF2F2C0D5}"/>
                </a:ext>
              </a:extLst>
            </p:cNvPr>
            <p:cNvSpPr txBox="1"/>
            <p:nvPr/>
          </p:nvSpPr>
          <p:spPr>
            <a:xfrm>
              <a:off x="991809" y="1174775"/>
              <a:ext cx="3275391" cy="981144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sz="1400" b="1" dirty="0">
                  <a:solidFill>
                    <a:srgbClr val="686C86"/>
                  </a:solidFill>
                  <a:latin typeface="Montserrat" panose="00000500000000000000" pitchFamily="50" charset="0"/>
                </a:rPr>
                <a:t>Integration with Other Systems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E.g. PLM, ERP, or CAD-Systems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Asses complexity, maintenance, security and stability of API 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Use pre-built connectors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A026A662-BA97-432C-AEE3-1DDCE7F0CAC8}"/>
              </a:ext>
            </a:extLst>
          </p:cNvPr>
          <p:cNvGrpSpPr/>
          <p:nvPr/>
        </p:nvGrpSpPr>
        <p:grpSpPr>
          <a:xfrm>
            <a:off x="894757" y="3010921"/>
            <a:ext cx="4861117" cy="1262402"/>
            <a:chOff x="432435" y="1165044"/>
            <a:chExt cx="3834765" cy="981144"/>
          </a:xfrm>
          <a:effectLst/>
        </p:grpSpPr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EE9485E5-7221-43AC-844E-4AAEF277198D}"/>
                </a:ext>
              </a:extLst>
            </p:cNvPr>
            <p:cNvGrpSpPr/>
            <p:nvPr/>
          </p:nvGrpSpPr>
          <p:grpSpPr>
            <a:xfrm>
              <a:off x="432435" y="1191057"/>
              <a:ext cx="477690" cy="927302"/>
              <a:chOff x="432435" y="1191057"/>
              <a:chExt cx="477690" cy="927302"/>
            </a:xfrm>
          </p:grpSpPr>
          <p:sp>
            <p:nvSpPr>
              <p:cNvPr id="74" name="Rectangle: Top Corners Rounded 73">
                <a:extLst>
                  <a:ext uri="{FF2B5EF4-FFF2-40B4-BE49-F238E27FC236}">
                    <a16:creationId xmlns:a16="http://schemas.microsoft.com/office/drawing/2014/main" id="{29C3F9CB-2224-46E9-9C51-9A16B70CAC31}"/>
                  </a:ext>
                </a:extLst>
              </p:cNvPr>
              <p:cNvSpPr/>
              <p:nvPr/>
            </p:nvSpPr>
            <p:spPr>
              <a:xfrm rot="16200000">
                <a:off x="207629" y="1415863"/>
                <a:ext cx="927302" cy="477690"/>
              </a:xfrm>
              <a:prstGeom prst="round2SameRect">
                <a:avLst>
                  <a:gd name="adj1" fmla="val 8692"/>
                  <a:gd name="adj2" fmla="val 0"/>
                </a:avLst>
              </a:prstGeom>
              <a:solidFill>
                <a:srgbClr val="5C8EC0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/>
              <a:lstStyle/>
              <a:p>
                <a:pPr algn="ctr"/>
                <a:endParaRPr lang="en-US" sz="2400" b="1" dirty="0">
                  <a:latin typeface="Montserrat" panose="00000500000000000000" pitchFamily="50" charset="0"/>
                </a:endParaRPr>
              </a:p>
            </p:txBody>
          </p:sp>
          <p:sp>
            <p:nvSpPr>
              <p:cNvPr id="75" name="Inhaltsplatzhalter 4">
                <a:extLst>
                  <a:ext uri="{FF2B5EF4-FFF2-40B4-BE49-F238E27FC236}">
                    <a16:creationId xmlns:a16="http://schemas.microsoft.com/office/drawing/2014/main" id="{F280053E-4896-49A3-94FF-3FE70AC059B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61181" y="1531622"/>
                <a:ext cx="420200" cy="246173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>
                <a:lvl1pPr marL="272967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Wingdings" panose="05000000000000000000" pitchFamily="2" charset="2"/>
                  <a:buChar char="§"/>
                  <a:defRPr sz="23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1pPr>
                <a:lvl2pPr marL="807798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20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2pPr>
                <a:lvl3pPr marL="1080764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9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3pPr>
                <a:lvl4pPr marL="1436256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4pPr>
                <a:lvl5pPr marL="1793335" indent="-179335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5pPr>
                <a:lvl6pPr marL="2513847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10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72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34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00000"/>
                  </a:lnSpc>
                  <a:spcAft>
                    <a:spcPts val="0"/>
                  </a:spcAft>
                  <a:buNone/>
                </a:pPr>
                <a:r>
                  <a:rPr lang="en-US" sz="2133" b="1" dirty="0">
                    <a:latin typeface="Montserrat" panose="00000500000000000000" pitchFamily="50" charset="0"/>
                  </a:rPr>
                  <a:t>02</a:t>
                </a:r>
                <a:endParaRPr lang="en-US" sz="1600" dirty="0">
                  <a:latin typeface="Montserrat" panose="00000500000000000000" pitchFamily="50" charset="0"/>
                </a:endParaRPr>
              </a:p>
            </p:txBody>
          </p:sp>
        </p:grp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06C9B1C7-2CC5-4663-BCBD-F9AFB19B67D7}"/>
                </a:ext>
              </a:extLst>
            </p:cNvPr>
            <p:cNvSpPr txBox="1"/>
            <p:nvPr/>
          </p:nvSpPr>
          <p:spPr>
            <a:xfrm>
              <a:off x="991809" y="1165044"/>
              <a:ext cx="3275391" cy="981144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sz="1400" b="1" dirty="0">
                  <a:solidFill>
                    <a:srgbClr val="5C8EC0"/>
                  </a:solidFill>
                  <a:latin typeface="Montserrat" panose="00000500000000000000" pitchFamily="50" charset="0"/>
                </a:rPr>
                <a:t>Customization and Configuration Needs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Assess needs for customization and configuration of the system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Try to limit customization to essential features and priorities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81D5A5D-AECA-48A5-9658-3AA047E97BA6}"/>
              </a:ext>
            </a:extLst>
          </p:cNvPr>
          <p:cNvGrpSpPr/>
          <p:nvPr/>
        </p:nvGrpSpPr>
        <p:grpSpPr>
          <a:xfrm>
            <a:off x="894757" y="1403972"/>
            <a:ext cx="4861117" cy="1364280"/>
            <a:chOff x="432435" y="1096892"/>
            <a:chExt cx="3834765" cy="1060327"/>
          </a:xfrm>
          <a:effectLst/>
        </p:grpSpPr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095F5AF9-80E8-4CB4-A1AA-A7664C71F50F}"/>
                </a:ext>
              </a:extLst>
            </p:cNvPr>
            <p:cNvGrpSpPr/>
            <p:nvPr/>
          </p:nvGrpSpPr>
          <p:grpSpPr>
            <a:xfrm>
              <a:off x="432435" y="1191057"/>
              <a:ext cx="477690" cy="927302"/>
              <a:chOff x="432435" y="1191057"/>
              <a:chExt cx="477690" cy="927302"/>
            </a:xfrm>
          </p:grpSpPr>
          <p:sp>
            <p:nvSpPr>
              <p:cNvPr id="68" name="Rectangle: Top Corners Rounded 67">
                <a:extLst>
                  <a:ext uri="{FF2B5EF4-FFF2-40B4-BE49-F238E27FC236}">
                    <a16:creationId xmlns:a16="http://schemas.microsoft.com/office/drawing/2014/main" id="{0F448278-F853-47B4-B51D-1729BF46C3EE}"/>
                  </a:ext>
                </a:extLst>
              </p:cNvPr>
              <p:cNvSpPr/>
              <p:nvPr/>
            </p:nvSpPr>
            <p:spPr>
              <a:xfrm rot="16200000">
                <a:off x="207629" y="1415863"/>
                <a:ext cx="927302" cy="477690"/>
              </a:xfrm>
              <a:prstGeom prst="round2SameRect">
                <a:avLst>
                  <a:gd name="adj1" fmla="val 8692"/>
                  <a:gd name="adj2" fmla="val 0"/>
                </a:avLst>
              </a:prstGeom>
              <a:solidFill>
                <a:srgbClr val="00D0CB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/>
              <a:lstStyle/>
              <a:p>
                <a:pPr algn="ctr"/>
                <a:endParaRPr lang="en-US" sz="2400" b="1" dirty="0">
                  <a:latin typeface="Montserrat" panose="00000500000000000000" pitchFamily="50" charset="0"/>
                </a:endParaRPr>
              </a:p>
            </p:txBody>
          </p:sp>
          <p:sp>
            <p:nvSpPr>
              <p:cNvPr id="69" name="Inhaltsplatzhalter 4">
                <a:extLst>
                  <a:ext uri="{FF2B5EF4-FFF2-40B4-BE49-F238E27FC236}">
                    <a16:creationId xmlns:a16="http://schemas.microsoft.com/office/drawing/2014/main" id="{BDEB7185-A4A4-4FDF-9099-8F3B581A9C9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61181" y="1531622"/>
                <a:ext cx="420200" cy="246173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>
                <a:lvl1pPr marL="272967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Wingdings" panose="05000000000000000000" pitchFamily="2" charset="2"/>
                  <a:buChar char="§"/>
                  <a:defRPr sz="23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1pPr>
                <a:lvl2pPr marL="807798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20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2pPr>
                <a:lvl3pPr marL="1080764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9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3pPr>
                <a:lvl4pPr marL="1436256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4pPr>
                <a:lvl5pPr marL="1793335" indent="-179335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5pPr>
                <a:lvl6pPr marL="2513847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10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72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34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00000"/>
                  </a:lnSpc>
                  <a:spcAft>
                    <a:spcPts val="0"/>
                  </a:spcAft>
                  <a:buNone/>
                </a:pPr>
                <a:r>
                  <a:rPr lang="en-US" sz="2133" b="1" dirty="0">
                    <a:latin typeface="Montserrat" panose="00000500000000000000" pitchFamily="50" charset="0"/>
                  </a:rPr>
                  <a:t>01</a:t>
                </a:r>
                <a:endParaRPr lang="en-US" sz="1600" dirty="0">
                  <a:latin typeface="Montserrat" panose="00000500000000000000" pitchFamily="50" charset="0"/>
                </a:endParaRPr>
              </a:p>
            </p:txBody>
          </p:sp>
        </p:grp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2A353099-2E85-4052-9AF9-A6716269D920}"/>
                </a:ext>
              </a:extLst>
            </p:cNvPr>
            <p:cNvSpPr txBox="1"/>
            <p:nvPr/>
          </p:nvSpPr>
          <p:spPr>
            <a:xfrm>
              <a:off x="991809" y="1096892"/>
              <a:ext cx="3275391" cy="1060327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>
                <a:lnSpc>
                  <a:spcPct val="110000"/>
                </a:lnSpc>
              </a:pPr>
              <a:r>
                <a:rPr lang="en-US" sz="1400" b="1" dirty="0">
                  <a:solidFill>
                    <a:srgbClr val="00D0CB"/>
                  </a:solidFill>
                  <a:latin typeface="Montserrat" panose="00000500000000000000" pitchFamily="50" charset="0"/>
                </a:rPr>
                <a:t>Project Scope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Assess size and complexity of project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Define clear objectives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Derive a timeline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Potentially start with a PoC</a:t>
              </a: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98C7825C-133D-4650-935F-80A53E620B09}"/>
              </a:ext>
            </a:extLst>
          </p:cNvPr>
          <p:cNvGrpSpPr/>
          <p:nvPr/>
        </p:nvGrpSpPr>
        <p:grpSpPr>
          <a:xfrm>
            <a:off x="6301151" y="4536432"/>
            <a:ext cx="5410685" cy="1262399"/>
            <a:chOff x="432435" y="1169907"/>
            <a:chExt cx="4268300" cy="981144"/>
          </a:xfrm>
          <a:effectLst/>
        </p:grpSpPr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89B4CF3D-BE6D-443B-A265-D299DE0C0099}"/>
                </a:ext>
              </a:extLst>
            </p:cNvPr>
            <p:cNvGrpSpPr/>
            <p:nvPr/>
          </p:nvGrpSpPr>
          <p:grpSpPr>
            <a:xfrm>
              <a:off x="432435" y="1191057"/>
              <a:ext cx="477690" cy="927302"/>
              <a:chOff x="432435" y="1191057"/>
              <a:chExt cx="477690" cy="927302"/>
            </a:xfrm>
          </p:grpSpPr>
          <p:sp>
            <p:nvSpPr>
              <p:cNvPr id="104" name="Rectangle: Top Corners Rounded 103">
                <a:extLst>
                  <a:ext uri="{FF2B5EF4-FFF2-40B4-BE49-F238E27FC236}">
                    <a16:creationId xmlns:a16="http://schemas.microsoft.com/office/drawing/2014/main" id="{DF573D6F-E08A-47A5-A86F-806C280F4A7F}"/>
                  </a:ext>
                </a:extLst>
              </p:cNvPr>
              <p:cNvSpPr/>
              <p:nvPr/>
            </p:nvSpPr>
            <p:spPr>
              <a:xfrm rot="16200000">
                <a:off x="207629" y="1415863"/>
                <a:ext cx="927302" cy="477690"/>
              </a:xfrm>
              <a:prstGeom prst="round2SameRect">
                <a:avLst>
                  <a:gd name="adj1" fmla="val 8692"/>
                  <a:gd name="adj2" fmla="val 0"/>
                </a:avLst>
              </a:prstGeom>
              <a:solidFill>
                <a:srgbClr val="345E88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/>
              <a:lstStyle/>
              <a:p>
                <a:pPr algn="ctr"/>
                <a:endParaRPr lang="en-US" sz="2400" b="1" dirty="0">
                  <a:latin typeface="Montserrat" panose="00000500000000000000" pitchFamily="50" charset="0"/>
                </a:endParaRPr>
              </a:p>
            </p:txBody>
          </p:sp>
          <p:sp>
            <p:nvSpPr>
              <p:cNvPr id="105" name="Inhaltsplatzhalter 4">
                <a:extLst>
                  <a:ext uri="{FF2B5EF4-FFF2-40B4-BE49-F238E27FC236}">
                    <a16:creationId xmlns:a16="http://schemas.microsoft.com/office/drawing/2014/main" id="{723728A7-3149-4B31-9D90-719792D2AD7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61181" y="1531622"/>
                <a:ext cx="420200" cy="246173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>
                <a:lvl1pPr marL="272967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Wingdings" panose="05000000000000000000" pitchFamily="2" charset="2"/>
                  <a:buChar char="§"/>
                  <a:defRPr sz="23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1pPr>
                <a:lvl2pPr marL="807798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20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2pPr>
                <a:lvl3pPr marL="1080764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9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3pPr>
                <a:lvl4pPr marL="1436256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4pPr>
                <a:lvl5pPr marL="1793335" indent="-179335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5pPr>
                <a:lvl6pPr marL="2513847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10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72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34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00000"/>
                  </a:lnSpc>
                  <a:spcAft>
                    <a:spcPts val="0"/>
                  </a:spcAft>
                  <a:buNone/>
                </a:pPr>
                <a:r>
                  <a:rPr lang="en-US" sz="2133" b="1" dirty="0">
                    <a:latin typeface="Montserrat" panose="00000500000000000000" pitchFamily="50" charset="0"/>
                  </a:rPr>
                  <a:t>06</a:t>
                </a:r>
                <a:endParaRPr lang="en-US" sz="1600" dirty="0">
                  <a:latin typeface="Montserrat" panose="00000500000000000000" pitchFamily="50" charset="0"/>
                </a:endParaRPr>
              </a:p>
            </p:txBody>
          </p:sp>
        </p:grp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24FAA995-55C4-444F-B80E-3DA13B233517}"/>
                </a:ext>
              </a:extLst>
            </p:cNvPr>
            <p:cNvSpPr txBox="1"/>
            <p:nvPr/>
          </p:nvSpPr>
          <p:spPr>
            <a:xfrm>
              <a:off x="991809" y="1169907"/>
              <a:ext cx="3708926" cy="981144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sz="1400" b="1" dirty="0">
                  <a:solidFill>
                    <a:srgbClr val="345E88"/>
                  </a:solidFill>
                  <a:latin typeface="Montserrat" panose="00000500000000000000" pitchFamily="50" charset="0"/>
                </a:rPr>
                <a:t>Testing and Quality Assurance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The more customized the more testing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Continuously test esp. with automated tests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Unit testing and UAT are crucial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Staging should match production</a:t>
              </a:r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603EF987-3605-4D3C-9B3E-2F5751FB6C62}"/>
              </a:ext>
            </a:extLst>
          </p:cNvPr>
          <p:cNvGrpSpPr/>
          <p:nvPr/>
        </p:nvGrpSpPr>
        <p:grpSpPr>
          <a:xfrm>
            <a:off x="6301151" y="3004650"/>
            <a:ext cx="4996093" cy="1262399"/>
            <a:chOff x="432435" y="1160173"/>
            <a:chExt cx="3941243" cy="981144"/>
          </a:xfrm>
          <a:effectLst/>
        </p:grpSpPr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ACF67EC3-E682-419F-B34D-4CAD379254D0}"/>
                </a:ext>
              </a:extLst>
            </p:cNvPr>
            <p:cNvGrpSpPr/>
            <p:nvPr/>
          </p:nvGrpSpPr>
          <p:grpSpPr>
            <a:xfrm>
              <a:off x="432435" y="1191057"/>
              <a:ext cx="477690" cy="927302"/>
              <a:chOff x="432435" y="1191057"/>
              <a:chExt cx="477690" cy="927302"/>
            </a:xfrm>
          </p:grpSpPr>
          <p:sp>
            <p:nvSpPr>
              <p:cNvPr id="110" name="Rectangle: Top Corners Rounded 109">
                <a:extLst>
                  <a:ext uri="{FF2B5EF4-FFF2-40B4-BE49-F238E27FC236}">
                    <a16:creationId xmlns:a16="http://schemas.microsoft.com/office/drawing/2014/main" id="{E65B33C1-BE12-488F-8002-B417B73F720E}"/>
                  </a:ext>
                </a:extLst>
              </p:cNvPr>
              <p:cNvSpPr/>
              <p:nvPr/>
            </p:nvSpPr>
            <p:spPr>
              <a:xfrm rot="16200000">
                <a:off x="207629" y="1415863"/>
                <a:ext cx="927302" cy="477690"/>
              </a:xfrm>
              <a:prstGeom prst="round2SameRect">
                <a:avLst>
                  <a:gd name="adj1" fmla="val 8692"/>
                  <a:gd name="adj2" fmla="val 0"/>
                </a:avLst>
              </a:prstGeom>
              <a:solidFill>
                <a:srgbClr val="0E7FBE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/>
              <a:lstStyle/>
              <a:p>
                <a:pPr algn="ctr"/>
                <a:endParaRPr lang="en-US" sz="2400" b="1" dirty="0">
                  <a:latin typeface="Montserrat" panose="00000500000000000000" pitchFamily="50" charset="0"/>
                </a:endParaRPr>
              </a:p>
            </p:txBody>
          </p:sp>
          <p:sp>
            <p:nvSpPr>
              <p:cNvPr id="111" name="Inhaltsplatzhalter 4">
                <a:extLst>
                  <a:ext uri="{FF2B5EF4-FFF2-40B4-BE49-F238E27FC236}">
                    <a16:creationId xmlns:a16="http://schemas.microsoft.com/office/drawing/2014/main" id="{3FA71E09-B9BC-4F2B-AE15-A2F7EE72A07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61181" y="1531622"/>
                <a:ext cx="420200" cy="246173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>
                <a:lvl1pPr marL="272967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Wingdings" panose="05000000000000000000" pitchFamily="2" charset="2"/>
                  <a:buChar char="§"/>
                  <a:defRPr sz="23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1pPr>
                <a:lvl2pPr marL="807798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20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2pPr>
                <a:lvl3pPr marL="1080764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9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3pPr>
                <a:lvl4pPr marL="1436256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4pPr>
                <a:lvl5pPr marL="1793335" indent="-179335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5pPr>
                <a:lvl6pPr marL="2513847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10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72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34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00000"/>
                  </a:lnSpc>
                  <a:spcAft>
                    <a:spcPts val="0"/>
                  </a:spcAft>
                  <a:buNone/>
                </a:pPr>
                <a:r>
                  <a:rPr lang="en-US" sz="2133" b="1" dirty="0">
                    <a:latin typeface="Montserrat" panose="00000500000000000000" pitchFamily="50" charset="0"/>
                  </a:rPr>
                  <a:t>05</a:t>
                </a:r>
                <a:endParaRPr lang="en-US" sz="1600" dirty="0">
                  <a:latin typeface="Montserrat" panose="00000500000000000000" pitchFamily="50" charset="0"/>
                </a:endParaRPr>
              </a:p>
            </p:txBody>
          </p:sp>
        </p:grp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3A212B7A-3523-4679-938E-21435DD11F6F}"/>
                </a:ext>
              </a:extLst>
            </p:cNvPr>
            <p:cNvSpPr txBox="1"/>
            <p:nvPr/>
          </p:nvSpPr>
          <p:spPr>
            <a:xfrm>
              <a:off x="991809" y="1160173"/>
              <a:ext cx="3381869" cy="981144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sz="1400" b="1" dirty="0">
                  <a:solidFill>
                    <a:srgbClr val="0D73AB"/>
                  </a:solidFill>
                  <a:latin typeface="Montserrat" panose="00000500000000000000" pitchFamily="50" charset="0"/>
                </a:rPr>
                <a:t>User Training and Change Management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Plan and communicate early in project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Ensure stakeholders’ requirements are met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Training and “Train the Trainer” early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Consider the use of </a:t>
              </a:r>
              <a:r>
                <a:rPr lang="en-US" sz="1400" dirty="0" err="1">
                  <a:solidFill>
                    <a:srgbClr val="063853"/>
                  </a:solidFill>
                  <a:latin typeface="Montserrat" panose="00000500000000000000" pitchFamily="50" charset="0"/>
                </a:rPr>
                <a:t>GenAI</a:t>
              </a:r>
              <a:endParaRPr lang="en-US" sz="1400" dirty="0">
                <a:solidFill>
                  <a:srgbClr val="063853"/>
                </a:solidFill>
                <a:latin typeface="Montserrat" panose="00000500000000000000" pitchFamily="50" charset="0"/>
              </a:endParaRPr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86C0EF72-A9E1-47AF-A268-972EFF83AC3B}"/>
              </a:ext>
            </a:extLst>
          </p:cNvPr>
          <p:cNvGrpSpPr/>
          <p:nvPr/>
        </p:nvGrpSpPr>
        <p:grpSpPr>
          <a:xfrm>
            <a:off x="6301151" y="1485394"/>
            <a:ext cx="4861117" cy="1262397"/>
            <a:chOff x="432435" y="1160172"/>
            <a:chExt cx="3834765" cy="981142"/>
          </a:xfrm>
          <a:effectLst/>
        </p:grpSpPr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02576AE6-54F4-411D-B8B4-C88E1F031DE2}"/>
                </a:ext>
              </a:extLst>
            </p:cNvPr>
            <p:cNvGrpSpPr/>
            <p:nvPr/>
          </p:nvGrpSpPr>
          <p:grpSpPr>
            <a:xfrm>
              <a:off x="432435" y="1191057"/>
              <a:ext cx="477690" cy="927302"/>
              <a:chOff x="432435" y="1191057"/>
              <a:chExt cx="477690" cy="927302"/>
            </a:xfrm>
          </p:grpSpPr>
          <p:sp>
            <p:nvSpPr>
              <p:cNvPr id="116" name="Rectangle: Top Corners Rounded 115">
                <a:extLst>
                  <a:ext uri="{FF2B5EF4-FFF2-40B4-BE49-F238E27FC236}">
                    <a16:creationId xmlns:a16="http://schemas.microsoft.com/office/drawing/2014/main" id="{19967B1F-ADC4-4787-B7E1-6A09F05FAAA4}"/>
                  </a:ext>
                </a:extLst>
              </p:cNvPr>
              <p:cNvSpPr/>
              <p:nvPr/>
            </p:nvSpPr>
            <p:spPr>
              <a:xfrm rot="16200000">
                <a:off x="207629" y="1415863"/>
                <a:ext cx="927302" cy="477690"/>
              </a:xfrm>
              <a:prstGeom prst="round2SameRect">
                <a:avLst>
                  <a:gd name="adj1" fmla="val 8692"/>
                  <a:gd name="adj2" fmla="val 0"/>
                </a:avLst>
              </a:prstGeom>
              <a:solidFill>
                <a:srgbClr val="084A6E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/>
              <a:lstStyle/>
              <a:p>
                <a:pPr algn="ctr"/>
                <a:endParaRPr lang="en-US" sz="2400" b="1" dirty="0">
                  <a:latin typeface="Montserrat" panose="00000500000000000000" pitchFamily="50" charset="0"/>
                </a:endParaRPr>
              </a:p>
            </p:txBody>
          </p:sp>
          <p:sp>
            <p:nvSpPr>
              <p:cNvPr id="117" name="Inhaltsplatzhalter 4">
                <a:extLst>
                  <a:ext uri="{FF2B5EF4-FFF2-40B4-BE49-F238E27FC236}">
                    <a16:creationId xmlns:a16="http://schemas.microsoft.com/office/drawing/2014/main" id="{9B0520BD-A528-4AC7-B3BA-D5408B41521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61181" y="1531622"/>
                <a:ext cx="420200" cy="246173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>
                <a:lvl1pPr marL="272967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Wingdings" panose="05000000000000000000" pitchFamily="2" charset="2"/>
                  <a:buChar char="§"/>
                  <a:defRPr sz="23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1pPr>
                <a:lvl2pPr marL="807798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20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2pPr>
                <a:lvl3pPr marL="1080764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9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3pPr>
                <a:lvl4pPr marL="1436256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4pPr>
                <a:lvl5pPr marL="1793335" indent="-179335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5pPr>
                <a:lvl6pPr marL="2513847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10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72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34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00000"/>
                  </a:lnSpc>
                  <a:spcAft>
                    <a:spcPts val="0"/>
                  </a:spcAft>
                  <a:buNone/>
                </a:pPr>
                <a:r>
                  <a:rPr lang="en-US" sz="2133" b="1" dirty="0">
                    <a:latin typeface="Montserrat" panose="00000500000000000000" pitchFamily="50" charset="0"/>
                  </a:rPr>
                  <a:t>04</a:t>
                </a:r>
                <a:endParaRPr lang="en-US" sz="1600" dirty="0">
                  <a:latin typeface="Montserrat" panose="00000500000000000000" pitchFamily="50" charset="0"/>
                </a:endParaRPr>
              </a:p>
            </p:txBody>
          </p:sp>
        </p:grp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AFD9C8E4-49A0-4B41-B421-3A65951B6E6E}"/>
                </a:ext>
              </a:extLst>
            </p:cNvPr>
            <p:cNvSpPr txBox="1"/>
            <p:nvPr/>
          </p:nvSpPr>
          <p:spPr>
            <a:xfrm>
              <a:off x="991809" y="1160172"/>
              <a:ext cx="3275391" cy="981142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sz="1400" b="1" dirty="0">
                  <a:solidFill>
                    <a:srgbClr val="084A6E"/>
                  </a:solidFill>
                  <a:latin typeface="Montserrat" panose="00000500000000000000" pitchFamily="50" charset="0"/>
                </a:rPr>
                <a:t>Data Migration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Plan migration early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Clean and map data 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Ensure quality before migration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Run data migration quality checks </a:t>
              </a: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E7C4E5F5-6307-A18B-15A8-CDF305F357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 dirty="0">
                <a:solidFill>
                  <a:srgbClr val="063853"/>
                </a:solidFill>
                <a:latin typeface="Montserrat SemiBold" panose="00000700000000000000" pitchFamily="2" charset="0"/>
                <a:ea typeface="Roboto" panose="02000000000000000000" pitchFamily="2" charset="0"/>
              </a:rPr>
              <a:t>What </a:t>
            </a:r>
            <a:r>
              <a:rPr lang="en-US" dirty="0">
                <a:solidFill>
                  <a:srgbClr val="063853"/>
                </a:solidFill>
                <a:ea typeface="Roboto" panose="02000000000000000000" pitchFamily="2" charset="0"/>
              </a:rPr>
              <a:t>T</a:t>
            </a:r>
            <a:r>
              <a:rPr lang="en-US" sz="2800" dirty="0">
                <a:solidFill>
                  <a:srgbClr val="063853"/>
                </a:solidFill>
                <a:latin typeface="Montserrat SemiBold" panose="00000700000000000000" pitchFamily="2" charset="0"/>
                <a:ea typeface="Roboto" panose="02000000000000000000" pitchFamily="2" charset="0"/>
              </a:rPr>
              <a:t>o Consider For Drafting A Projec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17826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erson touching a touch screen&#10;&#10;Description automatically generated">
            <a:extLst>
              <a:ext uri="{FF2B5EF4-FFF2-40B4-BE49-F238E27FC236}">
                <a16:creationId xmlns:a16="http://schemas.microsoft.com/office/drawing/2014/main" id="{44C5ED07-E281-20F7-B679-F0C1FD2DBF7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500"/>
          <a:stretch/>
        </p:blipFill>
        <p:spPr>
          <a:xfrm>
            <a:off x="0" y="0"/>
            <a:ext cx="457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DCB8299-EC86-0CE3-8FFC-171CCF839334}"/>
              </a:ext>
            </a:extLst>
          </p:cNvPr>
          <p:cNvSpPr/>
          <p:nvPr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rgbClr val="063853">
              <a:alpha val="5568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3" name="Picture 2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10F72D83-BDA9-B0B5-705B-B258663E328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4651" y="3039107"/>
            <a:ext cx="4724258" cy="779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9172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764DD05-9504-D533-8291-EAFDA5B821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6339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64DD05-9504-D533-8291-EAFDA5B82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6521D69-7428-A732-3A98-FB3474FDB8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The document should be used in presales and consulting phase</a:t>
            </a:r>
          </a:p>
          <a:p>
            <a:r>
              <a:rPr lang="en-US"/>
              <a:t>It should give a high-level answer to the questions: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/>
              <a:t>What needs to be done to implement </a:t>
            </a:r>
            <a:r>
              <a:rPr lang="en-US" err="1"/>
              <a:t>Polarion</a:t>
            </a:r>
            <a:r>
              <a:rPr lang="en-US"/>
              <a:t> from scratch? 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/>
              <a:t>What challenges will occur? </a:t>
            </a:r>
          </a:p>
          <a:p>
            <a:pPr marL="1257300" lvl="2" indent="-342900">
              <a:buFont typeface="+mj-lt"/>
              <a:buAutoNum type="arabicPeriod"/>
            </a:pPr>
            <a:r>
              <a:rPr lang="en-US"/>
              <a:t>Recommendation: Infrastructure</a:t>
            </a:r>
          </a:p>
          <a:p>
            <a:pPr marL="1257300" lvl="2" indent="-342900">
              <a:buFont typeface="+mj-lt"/>
              <a:buAutoNum type="arabicPeriod"/>
            </a:pPr>
            <a:r>
              <a:rPr lang="en-US"/>
              <a:t>Customizing and Configuration? Keep the core clean? What are our experiences</a:t>
            </a:r>
          </a:p>
          <a:p>
            <a:pPr marL="1257300" lvl="2" indent="-342900">
              <a:buFont typeface="+mj-lt"/>
              <a:buAutoNum type="arabicPeriod"/>
            </a:pPr>
            <a:r>
              <a:rPr lang="en-US"/>
              <a:t>Interfaces and process flow with other applications (PLM, CAD, ERP, ….) Which combination is working fine, which requires additional effort, which is not working? (</a:t>
            </a:r>
            <a:r>
              <a:rPr lang="en-US" err="1"/>
              <a:t>Polarion</a:t>
            </a:r>
            <a:r>
              <a:rPr lang="en-US"/>
              <a:t> &lt;-&gt; CATIA, </a:t>
            </a:r>
            <a:r>
              <a:rPr lang="en-US" err="1"/>
              <a:t>Polarion</a:t>
            </a:r>
            <a:r>
              <a:rPr lang="en-US"/>
              <a:t> &lt;-&gt; Windchill etc. ) </a:t>
            </a:r>
          </a:p>
          <a:p>
            <a:pPr marL="1257300" lvl="2" indent="-342900">
              <a:buFont typeface="+mj-lt"/>
              <a:buAutoNum type="arabicPeriod"/>
            </a:pPr>
            <a:r>
              <a:rPr lang="en-US"/>
              <a:t>What can be done by the internal IT (only small </a:t>
            </a:r>
            <a:r>
              <a:rPr lang="en-US" err="1"/>
              <a:t>Polarion</a:t>
            </a:r>
            <a:r>
              <a:rPr lang="en-US"/>
              <a:t> know how), which implementation steps requires experts 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/>
              <a:t>Timeline to implement </a:t>
            </a:r>
            <a:r>
              <a:rPr lang="en-US" err="1"/>
              <a:t>Polarion</a:t>
            </a:r>
            <a:r>
              <a:rPr lang="en-US"/>
              <a:t>: Which parameters are main contributors to the duration? How to control them? </a:t>
            </a:r>
          </a:p>
          <a:p>
            <a:r>
              <a:rPr lang="en-US"/>
              <a:t>We should use it as a starting point to discuss details on how to set up the project, to understand the customer requirements by guiding them through the ideal </a:t>
            </a:r>
            <a:r>
              <a:rPr lang="en-US" err="1"/>
              <a:t>polarion</a:t>
            </a:r>
            <a:r>
              <a:rPr lang="en-US"/>
              <a:t> implementation process. </a:t>
            </a:r>
          </a:p>
          <a:p>
            <a:endParaRPr lang="de-D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39DA69-1A5E-CDB4-CA67-20EFBD8521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ontent expectations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524997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2588641-E202-5571-20B7-11C2994ACF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0202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588641-E202-5571-20B7-11C2994ACF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6FD6CB78-4A87-41F4-8252-C84669C8D7D7}"/>
              </a:ext>
            </a:extLst>
          </p:cNvPr>
          <p:cNvCxnSpPr>
            <a:cxnSpLocks/>
            <a:stCxn id="90" idx="6"/>
            <a:endCxn id="108" idx="2"/>
          </p:cNvCxnSpPr>
          <p:nvPr/>
        </p:nvCxnSpPr>
        <p:spPr>
          <a:xfrm>
            <a:off x="1504879" y="3930845"/>
            <a:ext cx="9175893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Oval 30">
            <a:extLst>
              <a:ext uri="{FF2B5EF4-FFF2-40B4-BE49-F238E27FC236}">
                <a16:creationId xmlns:a16="http://schemas.microsoft.com/office/drawing/2014/main" id="{9434F215-74C6-40A5-9EA5-83FEB59400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7548" y="2051075"/>
            <a:ext cx="870221" cy="877968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18900000" scaled="1"/>
            <a:tileRect/>
          </a:gradFill>
          <a:ln w="3175" cmpd="sng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b="1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69" name="Oval 33">
            <a:extLst>
              <a:ext uri="{FF2B5EF4-FFF2-40B4-BE49-F238E27FC236}">
                <a16:creationId xmlns:a16="http://schemas.microsoft.com/office/drawing/2014/main" id="{DCAADA35-D825-4787-ADC6-A8C4D81BB0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12348" y="2051075"/>
            <a:ext cx="870221" cy="877968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18900000" scaled="1"/>
            <a:tileRect/>
          </a:gradFill>
          <a:ln w="3175" cmpd="sng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b="1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73" name="Oval 36">
            <a:extLst>
              <a:ext uri="{FF2B5EF4-FFF2-40B4-BE49-F238E27FC236}">
                <a16:creationId xmlns:a16="http://schemas.microsoft.com/office/drawing/2014/main" id="{AD025FF7-3B2A-46D2-8FC6-680B8AE572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2682" y="2051075"/>
            <a:ext cx="872805" cy="877968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18900000" scaled="1"/>
            <a:tileRect/>
          </a:gradFill>
          <a:ln w="3175" cmpd="sng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b="1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74" name="Oval 39">
            <a:extLst>
              <a:ext uri="{FF2B5EF4-FFF2-40B4-BE49-F238E27FC236}">
                <a16:creationId xmlns:a16="http://schemas.microsoft.com/office/drawing/2014/main" id="{6F2DDA66-2CA6-405B-BB85-081DB85262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55133" y="2051076"/>
            <a:ext cx="875387" cy="877965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18900000" scaled="1"/>
            <a:tileRect/>
          </a:gradFill>
          <a:ln w="3175" cmpd="sng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b="1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77" name="Oval 42">
            <a:extLst>
              <a:ext uri="{FF2B5EF4-FFF2-40B4-BE49-F238E27FC236}">
                <a16:creationId xmlns:a16="http://schemas.microsoft.com/office/drawing/2014/main" id="{7B4046A3-902A-4463-A499-DF67FAE17A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30399" y="2051075"/>
            <a:ext cx="870221" cy="877968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18900000" scaled="1"/>
            <a:tileRect/>
          </a:gradFill>
          <a:ln w="3175" cmpd="sng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b="1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78" name="Oval 45">
            <a:extLst>
              <a:ext uri="{FF2B5EF4-FFF2-40B4-BE49-F238E27FC236}">
                <a16:creationId xmlns:a16="http://schemas.microsoft.com/office/drawing/2014/main" id="{0EC871C1-AFB9-4D86-8D98-5AAAACA225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0500" y="2051076"/>
            <a:ext cx="875387" cy="877965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18900000" scaled="1"/>
            <a:tileRect/>
          </a:gradFill>
          <a:ln w="3175" cmpd="sng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b="1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79" name="Oval 48">
            <a:extLst>
              <a:ext uri="{FF2B5EF4-FFF2-40B4-BE49-F238E27FC236}">
                <a16:creationId xmlns:a16="http://schemas.microsoft.com/office/drawing/2014/main" id="{9481060A-1580-45A8-9302-A519D3FEAE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77882" y="2051075"/>
            <a:ext cx="870221" cy="877968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18900000" scaled="1"/>
            <a:tileRect/>
          </a:gradFill>
          <a:ln w="3175" cmpd="sng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b="1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7FED056-6243-47A5-B0E1-303D9B795C26}"/>
              </a:ext>
            </a:extLst>
          </p:cNvPr>
          <p:cNvGrpSpPr/>
          <p:nvPr/>
        </p:nvGrpSpPr>
        <p:grpSpPr>
          <a:xfrm>
            <a:off x="512233" y="1624341"/>
            <a:ext cx="11159067" cy="1731435"/>
            <a:chOff x="384175" y="1218256"/>
            <a:chExt cx="8369300" cy="1298576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437A8268-391C-48A4-944C-0387BEB040D0}"/>
                </a:ext>
              </a:extLst>
            </p:cNvPr>
            <p:cNvGrpSpPr/>
            <p:nvPr/>
          </p:nvGrpSpPr>
          <p:grpSpPr>
            <a:xfrm>
              <a:off x="384175" y="1218256"/>
              <a:ext cx="8369300" cy="1298576"/>
              <a:chOff x="384175" y="1984375"/>
              <a:chExt cx="8369300" cy="1298576"/>
            </a:xfrm>
          </p:grpSpPr>
          <p:sp>
            <p:nvSpPr>
              <p:cNvPr id="46" name="Freeform 29">
                <a:extLst>
                  <a:ext uri="{FF2B5EF4-FFF2-40B4-BE49-F238E27FC236}">
                    <a16:creationId xmlns:a16="http://schemas.microsoft.com/office/drawing/2014/main" id="{FD5590A8-528C-42E7-895A-6A25E40CF2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175" y="2633663"/>
                <a:ext cx="1290638" cy="649288"/>
              </a:xfrm>
              <a:custGeom>
                <a:avLst/>
                <a:gdLst>
                  <a:gd name="T0" fmla="*/ 233 w 465"/>
                  <a:gd name="T1" fmla="*/ 233 h 233"/>
                  <a:gd name="T2" fmla="*/ 0 w 465"/>
                  <a:gd name="T3" fmla="*/ 0 h 233"/>
                  <a:gd name="T4" fmla="*/ 40 w 465"/>
                  <a:gd name="T5" fmla="*/ 0 h 233"/>
                  <a:gd name="T6" fmla="*/ 233 w 465"/>
                  <a:gd name="T7" fmla="*/ 193 h 233"/>
                  <a:gd name="T8" fmla="*/ 425 w 465"/>
                  <a:gd name="T9" fmla="*/ 0 h 233"/>
                  <a:gd name="T10" fmla="*/ 465 w 465"/>
                  <a:gd name="T11" fmla="*/ 0 h 233"/>
                  <a:gd name="T12" fmla="*/ 233 w 465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5" h="233">
                    <a:moveTo>
                      <a:pt x="233" y="233"/>
                    </a:moveTo>
                    <a:cubicBezTo>
                      <a:pt x="104" y="233"/>
                      <a:pt x="0" y="128"/>
                      <a:pt x="0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0" y="106"/>
                      <a:pt x="127" y="193"/>
                      <a:pt x="233" y="193"/>
                    </a:cubicBezTo>
                    <a:cubicBezTo>
                      <a:pt x="339" y="193"/>
                      <a:pt x="425" y="106"/>
                      <a:pt x="425" y="0"/>
                    </a:cubicBezTo>
                    <a:cubicBezTo>
                      <a:pt x="465" y="0"/>
                      <a:pt x="465" y="0"/>
                      <a:pt x="465" y="0"/>
                    </a:cubicBezTo>
                    <a:cubicBezTo>
                      <a:pt x="465" y="128"/>
                      <a:pt x="361" y="233"/>
                      <a:pt x="233" y="23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9" name="Freeform 34">
                <a:extLst>
                  <a:ext uri="{FF2B5EF4-FFF2-40B4-BE49-F238E27FC236}">
                    <a16:creationId xmlns:a16="http://schemas.microsoft.com/office/drawing/2014/main" id="{3CDD2B4B-2349-457F-99C1-8B6DA1C73A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3688" y="1984375"/>
                <a:ext cx="1292225" cy="649288"/>
              </a:xfrm>
              <a:custGeom>
                <a:avLst/>
                <a:gdLst>
                  <a:gd name="T0" fmla="*/ 466 w 466"/>
                  <a:gd name="T1" fmla="*/ 233 h 233"/>
                  <a:gd name="T2" fmla="*/ 426 w 466"/>
                  <a:gd name="T3" fmla="*/ 233 h 233"/>
                  <a:gd name="T4" fmla="*/ 233 w 466"/>
                  <a:gd name="T5" fmla="*/ 40 h 233"/>
                  <a:gd name="T6" fmla="*/ 40 w 466"/>
                  <a:gd name="T7" fmla="*/ 233 h 233"/>
                  <a:gd name="T8" fmla="*/ 0 w 466"/>
                  <a:gd name="T9" fmla="*/ 233 h 233"/>
                  <a:gd name="T10" fmla="*/ 233 w 466"/>
                  <a:gd name="T11" fmla="*/ 0 h 233"/>
                  <a:gd name="T12" fmla="*/ 466 w 466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6" h="233">
                    <a:moveTo>
                      <a:pt x="466" y="233"/>
                    </a:moveTo>
                    <a:cubicBezTo>
                      <a:pt x="426" y="233"/>
                      <a:pt x="426" y="233"/>
                      <a:pt x="426" y="233"/>
                    </a:cubicBezTo>
                    <a:cubicBezTo>
                      <a:pt x="426" y="127"/>
                      <a:pt x="339" y="40"/>
                      <a:pt x="233" y="40"/>
                    </a:cubicBezTo>
                    <a:cubicBezTo>
                      <a:pt x="127" y="40"/>
                      <a:pt x="40" y="127"/>
                      <a:pt x="40" y="233"/>
                    </a:cubicBezTo>
                    <a:cubicBezTo>
                      <a:pt x="0" y="233"/>
                      <a:pt x="0" y="233"/>
                      <a:pt x="0" y="233"/>
                    </a:cubicBezTo>
                    <a:cubicBezTo>
                      <a:pt x="0" y="104"/>
                      <a:pt x="105" y="0"/>
                      <a:pt x="233" y="0"/>
                    </a:cubicBezTo>
                    <a:cubicBezTo>
                      <a:pt x="362" y="0"/>
                      <a:pt x="466" y="104"/>
                      <a:pt x="466" y="23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60" name="Freeform 35">
                <a:extLst>
                  <a:ext uri="{FF2B5EF4-FFF2-40B4-BE49-F238E27FC236}">
                    <a16:creationId xmlns:a16="http://schemas.microsoft.com/office/drawing/2014/main" id="{F5DCA8A7-FF69-4B7D-8B82-714ED64BED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4788" y="2633663"/>
                <a:ext cx="1289050" cy="649288"/>
              </a:xfrm>
              <a:custGeom>
                <a:avLst/>
                <a:gdLst>
                  <a:gd name="T0" fmla="*/ 233 w 465"/>
                  <a:gd name="T1" fmla="*/ 233 h 233"/>
                  <a:gd name="T2" fmla="*/ 0 w 465"/>
                  <a:gd name="T3" fmla="*/ 0 h 233"/>
                  <a:gd name="T4" fmla="*/ 40 w 465"/>
                  <a:gd name="T5" fmla="*/ 0 h 233"/>
                  <a:gd name="T6" fmla="*/ 233 w 465"/>
                  <a:gd name="T7" fmla="*/ 193 h 233"/>
                  <a:gd name="T8" fmla="*/ 425 w 465"/>
                  <a:gd name="T9" fmla="*/ 0 h 233"/>
                  <a:gd name="T10" fmla="*/ 465 w 465"/>
                  <a:gd name="T11" fmla="*/ 0 h 233"/>
                  <a:gd name="T12" fmla="*/ 233 w 465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5" h="233">
                    <a:moveTo>
                      <a:pt x="233" y="233"/>
                    </a:moveTo>
                    <a:cubicBezTo>
                      <a:pt x="104" y="233"/>
                      <a:pt x="0" y="128"/>
                      <a:pt x="0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0" y="106"/>
                      <a:pt x="126" y="193"/>
                      <a:pt x="233" y="193"/>
                    </a:cubicBezTo>
                    <a:cubicBezTo>
                      <a:pt x="339" y="193"/>
                      <a:pt x="425" y="106"/>
                      <a:pt x="425" y="0"/>
                    </a:cubicBezTo>
                    <a:cubicBezTo>
                      <a:pt x="465" y="0"/>
                      <a:pt x="465" y="0"/>
                      <a:pt x="465" y="0"/>
                    </a:cubicBezTo>
                    <a:cubicBezTo>
                      <a:pt x="465" y="128"/>
                      <a:pt x="361" y="233"/>
                      <a:pt x="233" y="23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61" name="Freeform 40">
                <a:extLst>
                  <a:ext uri="{FF2B5EF4-FFF2-40B4-BE49-F238E27FC236}">
                    <a16:creationId xmlns:a16="http://schemas.microsoft.com/office/drawing/2014/main" id="{FEE3347A-7FE0-49C2-AB9E-4A7EF87CEF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2713" y="1984375"/>
                <a:ext cx="1292225" cy="649288"/>
              </a:xfrm>
              <a:custGeom>
                <a:avLst/>
                <a:gdLst>
                  <a:gd name="T0" fmla="*/ 466 w 466"/>
                  <a:gd name="T1" fmla="*/ 233 h 233"/>
                  <a:gd name="T2" fmla="*/ 426 w 466"/>
                  <a:gd name="T3" fmla="*/ 233 h 233"/>
                  <a:gd name="T4" fmla="*/ 233 w 466"/>
                  <a:gd name="T5" fmla="*/ 40 h 233"/>
                  <a:gd name="T6" fmla="*/ 40 w 466"/>
                  <a:gd name="T7" fmla="*/ 233 h 233"/>
                  <a:gd name="T8" fmla="*/ 0 w 466"/>
                  <a:gd name="T9" fmla="*/ 233 h 233"/>
                  <a:gd name="T10" fmla="*/ 233 w 466"/>
                  <a:gd name="T11" fmla="*/ 0 h 233"/>
                  <a:gd name="T12" fmla="*/ 466 w 466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6" h="233">
                    <a:moveTo>
                      <a:pt x="466" y="233"/>
                    </a:moveTo>
                    <a:cubicBezTo>
                      <a:pt x="426" y="233"/>
                      <a:pt x="426" y="233"/>
                      <a:pt x="426" y="233"/>
                    </a:cubicBezTo>
                    <a:cubicBezTo>
                      <a:pt x="426" y="127"/>
                      <a:pt x="339" y="40"/>
                      <a:pt x="233" y="40"/>
                    </a:cubicBezTo>
                    <a:cubicBezTo>
                      <a:pt x="127" y="40"/>
                      <a:pt x="40" y="127"/>
                      <a:pt x="40" y="233"/>
                    </a:cubicBezTo>
                    <a:cubicBezTo>
                      <a:pt x="0" y="233"/>
                      <a:pt x="0" y="233"/>
                      <a:pt x="0" y="233"/>
                    </a:cubicBezTo>
                    <a:cubicBezTo>
                      <a:pt x="0" y="104"/>
                      <a:pt x="105" y="0"/>
                      <a:pt x="233" y="0"/>
                    </a:cubicBezTo>
                    <a:cubicBezTo>
                      <a:pt x="361" y="0"/>
                      <a:pt x="466" y="104"/>
                      <a:pt x="466" y="23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62" name="Freeform 41">
                <a:extLst>
                  <a:ext uri="{FF2B5EF4-FFF2-40B4-BE49-F238E27FC236}">
                    <a16:creationId xmlns:a16="http://schemas.microsoft.com/office/drawing/2014/main" id="{182C0295-6AA8-4150-BAB8-B8014047BF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3813" y="2633663"/>
                <a:ext cx="1290638" cy="649288"/>
              </a:xfrm>
              <a:custGeom>
                <a:avLst/>
                <a:gdLst>
                  <a:gd name="T0" fmla="*/ 233 w 465"/>
                  <a:gd name="T1" fmla="*/ 233 h 233"/>
                  <a:gd name="T2" fmla="*/ 0 w 465"/>
                  <a:gd name="T3" fmla="*/ 0 h 233"/>
                  <a:gd name="T4" fmla="*/ 40 w 465"/>
                  <a:gd name="T5" fmla="*/ 0 h 233"/>
                  <a:gd name="T6" fmla="*/ 233 w 465"/>
                  <a:gd name="T7" fmla="*/ 193 h 233"/>
                  <a:gd name="T8" fmla="*/ 425 w 465"/>
                  <a:gd name="T9" fmla="*/ 0 h 233"/>
                  <a:gd name="T10" fmla="*/ 465 w 465"/>
                  <a:gd name="T11" fmla="*/ 0 h 233"/>
                  <a:gd name="T12" fmla="*/ 233 w 465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5" h="233">
                    <a:moveTo>
                      <a:pt x="233" y="233"/>
                    </a:moveTo>
                    <a:cubicBezTo>
                      <a:pt x="104" y="233"/>
                      <a:pt x="0" y="128"/>
                      <a:pt x="0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0" y="106"/>
                      <a:pt x="126" y="193"/>
                      <a:pt x="233" y="193"/>
                    </a:cubicBezTo>
                    <a:cubicBezTo>
                      <a:pt x="339" y="193"/>
                      <a:pt x="425" y="106"/>
                      <a:pt x="425" y="0"/>
                    </a:cubicBezTo>
                    <a:cubicBezTo>
                      <a:pt x="465" y="0"/>
                      <a:pt x="465" y="0"/>
                      <a:pt x="465" y="0"/>
                    </a:cubicBezTo>
                    <a:cubicBezTo>
                      <a:pt x="465" y="128"/>
                      <a:pt x="361" y="233"/>
                      <a:pt x="233" y="23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66" name="Freeform 46">
                <a:extLst>
                  <a:ext uri="{FF2B5EF4-FFF2-40B4-BE49-F238E27FC236}">
                    <a16:creationId xmlns:a16="http://schemas.microsoft.com/office/drawing/2014/main" id="{406E5555-51FE-479A-BF32-A920665FAF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3325" y="1984375"/>
                <a:ext cx="1292225" cy="649288"/>
              </a:xfrm>
              <a:custGeom>
                <a:avLst/>
                <a:gdLst>
                  <a:gd name="T0" fmla="*/ 466 w 466"/>
                  <a:gd name="T1" fmla="*/ 233 h 233"/>
                  <a:gd name="T2" fmla="*/ 426 w 466"/>
                  <a:gd name="T3" fmla="*/ 233 h 233"/>
                  <a:gd name="T4" fmla="*/ 233 w 466"/>
                  <a:gd name="T5" fmla="*/ 40 h 233"/>
                  <a:gd name="T6" fmla="*/ 40 w 466"/>
                  <a:gd name="T7" fmla="*/ 233 h 233"/>
                  <a:gd name="T8" fmla="*/ 0 w 466"/>
                  <a:gd name="T9" fmla="*/ 233 h 233"/>
                  <a:gd name="T10" fmla="*/ 233 w 466"/>
                  <a:gd name="T11" fmla="*/ 0 h 233"/>
                  <a:gd name="T12" fmla="*/ 466 w 466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6" h="233">
                    <a:moveTo>
                      <a:pt x="466" y="233"/>
                    </a:moveTo>
                    <a:cubicBezTo>
                      <a:pt x="426" y="233"/>
                      <a:pt x="426" y="233"/>
                      <a:pt x="426" y="233"/>
                    </a:cubicBezTo>
                    <a:cubicBezTo>
                      <a:pt x="426" y="127"/>
                      <a:pt x="339" y="40"/>
                      <a:pt x="233" y="40"/>
                    </a:cubicBezTo>
                    <a:cubicBezTo>
                      <a:pt x="127" y="40"/>
                      <a:pt x="40" y="127"/>
                      <a:pt x="40" y="233"/>
                    </a:cubicBezTo>
                    <a:cubicBezTo>
                      <a:pt x="0" y="233"/>
                      <a:pt x="0" y="233"/>
                      <a:pt x="0" y="233"/>
                    </a:cubicBezTo>
                    <a:cubicBezTo>
                      <a:pt x="0" y="104"/>
                      <a:pt x="105" y="0"/>
                      <a:pt x="233" y="0"/>
                    </a:cubicBezTo>
                    <a:cubicBezTo>
                      <a:pt x="361" y="0"/>
                      <a:pt x="466" y="104"/>
                      <a:pt x="466" y="23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67" name="Freeform 47">
                <a:extLst>
                  <a:ext uri="{FF2B5EF4-FFF2-40B4-BE49-F238E27FC236}">
                    <a16:creationId xmlns:a16="http://schemas.microsoft.com/office/drawing/2014/main" id="{9F4D3ADF-4183-4BA2-A4D7-0618553DE0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64425" y="2633663"/>
                <a:ext cx="1289050" cy="649288"/>
              </a:xfrm>
              <a:custGeom>
                <a:avLst/>
                <a:gdLst>
                  <a:gd name="T0" fmla="*/ 232 w 465"/>
                  <a:gd name="T1" fmla="*/ 233 h 233"/>
                  <a:gd name="T2" fmla="*/ 0 w 465"/>
                  <a:gd name="T3" fmla="*/ 0 h 233"/>
                  <a:gd name="T4" fmla="*/ 40 w 465"/>
                  <a:gd name="T5" fmla="*/ 0 h 233"/>
                  <a:gd name="T6" fmla="*/ 232 w 465"/>
                  <a:gd name="T7" fmla="*/ 193 h 233"/>
                  <a:gd name="T8" fmla="*/ 425 w 465"/>
                  <a:gd name="T9" fmla="*/ 0 h 233"/>
                  <a:gd name="T10" fmla="*/ 465 w 465"/>
                  <a:gd name="T11" fmla="*/ 0 h 233"/>
                  <a:gd name="T12" fmla="*/ 232 w 465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5" h="233">
                    <a:moveTo>
                      <a:pt x="232" y="233"/>
                    </a:moveTo>
                    <a:cubicBezTo>
                      <a:pt x="104" y="233"/>
                      <a:pt x="0" y="128"/>
                      <a:pt x="0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0" y="106"/>
                      <a:pt x="126" y="193"/>
                      <a:pt x="232" y="193"/>
                    </a:cubicBezTo>
                    <a:cubicBezTo>
                      <a:pt x="339" y="193"/>
                      <a:pt x="425" y="106"/>
                      <a:pt x="425" y="0"/>
                    </a:cubicBezTo>
                    <a:cubicBezTo>
                      <a:pt x="465" y="0"/>
                      <a:pt x="465" y="0"/>
                      <a:pt x="465" y="0"/>
                    </a:cubicBezTo>
                    <a:cubicBezTo>
                      <a:pt x="465" y="128"/>
                      <a:pt x="361" y="233"/>
                      <a:pt x="232" y="23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216B4E5-3D85-4007-A357-56A99CC784D1}"/>
                </a:ext>
              </a:extLst>
            </p:cNvPr>
            <p:cNvGrpSpPr/>
            <p:nvPr/>
          </p:nvGrpSpPr>
          <p:grpSpPr>
            <a:xfrm>
              <a:off x="384175" y="1218256"/>
              <a:ext cx="8369300" cy="1298576"/>
              <a:chOff x="384175" y="1984375"/>
              <a:chExt cx="8369300" cy="1298576"/>
            </a:xfrm>
          </p:grpSpPr>
          <p:sp>
            <p:nvSpPr>
              <p:cNvPr id="81" name="Freeform 32">
                <a:extLst>
                  <a:ext uri="{FF2B5EF4-FFF2-40B4-BE49-F238E27FC236}">
                    <a16:creationId xmlns:a16="http://schemas.microsoft.com/office/drawing/2014/main" id="{6CBF3416-669A-4C9F-88ED-C97105156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3688" y="2633663"/>
                <a:ext cx="1292225" cy="649288"/>
              </a:xfrm>
              <a:custGeom>
                <a:avLst/>
                <a:gdLst>
                  <a:gd name="T0" fmla="*/ 233 w 466"/>
                  <a:gd name="T1" fmla="*/ 233 h 233"/>
                  <a:gd name="T2" fmla="*/ 0 w 466"/>
                  <a:gd name="T3" fmla="*/ 0 h 233"/>
                  <a:gd name="T4" fmla="*/ 40 w 466"/>
                  <a:gd name="T5" fmla="*/ 0 h 233"/>
                  <a:gd name="T6" fmla="*/ 233 w 466"/>
                  <a:gd name="T7" fmla="*/ 193 h 233"/>
                  <a:gd name="T8" fmla="*/ 426 w 466"/>
                  <a:gd name="T9" fmla="*/ 0 h 233"/>
                  <a:gd name="T10" fmla="*/ 466 w 466"/>
                  <a:gd name="T11" fmla="*/ 0 h 233"/>
                  <a:gd name="T12" fmla="*/ 233 w 466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6" h="233">
                    <a:moveTo>
                      <a:pt x="233" y="233"/>
                    </a:moveTo>
                    <a:cubicBezTo>
                      <a:pt x="105" y="233"/>
                      <a:pt x="0" y="128"/>
                      <a:pt x="0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0" y="106"/>
                      <a:pt x="127" y="193"/>
                      <a:pt x="233" y="193"/>
                    </a:cubicBezTo>
                    <a:cubicBezTo>
                      <a:pt x="339" y="193"/>
                      <a:pt x="426" y="106"/>
                      <a:pt x="426" y="0"/>
                    </a:cubicBezTo>
                    <a:cubicBezTo>
                      <a:pt x="466" y="0"/>
                      <a:pt x="466" y="0"/>
                      <a:pt x="466" y="0"/>
                    </a:cubicBezTo>
                    <a:cubicBezTo>
                      <a:pt x="466" y="128"/>
                      <a:pt x="362" y="233"/>
                      <a:pt x="233" y="233"/>
                    </a:cubicBezTo>
                    <a:close/>
                  </a:path>
                </a:pathLst>
              </a:custGeom>
              <a:solidFill>
                <a:srgbClr val="5C8EC0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82" name="Freeform 37">
                <a:extLst>
                  <a:ext uri="{FF2B5EF4-FFF2-40B4-BE49-F238E27FC236}">
                    <a16:creationId xmlns:a16="http://schemas.microsoft.com/office/drawing/2014/main" id="{97C5A1D7-5989-4117-81EE-07DF541AEA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4788" y="1984375"/>
                <a:ext cx="1289050" cy="649288"/>
              </a:xfrm>
              <a:custGeom>
                <a:avLst/>
                <a:gdLst>
                  <a:gd name="T0" fmla="*/ 465 w 465"/>
                  <a:gd name="T1" fmla="*/ 233 h 233"/>
                  <a:gd name="T2" fmla="*/ 425 w 465"/>
                  <a:gd name="T3" fmla="*/ 233 h 233"/>
                  <a:gd name="T4" fmla="*/ 233 w 465"/>
                  <a:gd name="T5" fmla="*/ 40 h 233"/>
                  <a:gd name="T6" fmla="*/ 40 w 465"/>
                  <a:gd name="T7" fmla="*/ 233 h 233"/>
                  <a:gd name="T8" fmla="*/ 0 w 465"/>
                  <a:gd name="T9" fmla="*/ 233 h 233"/>
                  <a:gd name="T10" fmla="*/ 233 w 465"/>
                  <a:gd name="T11" fmla="*/ 0 h 233"/>
                  <a:gd name="T12" fmla="*/ 465 w 465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5" h="233">
                    <a:moveTo>
                      <a:pt x="465" y="233"/>
                    </a:moveTo>
                    <a:cubicBezTo>
                      <a:pt x="425" y="233"/>
                      <a:pt x="425" y="233"/>
                      <a:pt x="425" y="233"/>
                    </a:cubicBezTo>
                    <a:cubicBezTo>
                      <a:pt x="425" y="127"/>
                      <a:pt x="339" y="40"/>
                      <a:pt x="233" y="40"/>
                    </a:cubicBezTo>
                    <a:cubicBezTo>
                      <a:pt x="126" y="40"/>
                      <a:pt x="40" y="127"/>
                      <a:pt x="40" y="233"/>
                    </a:cubicBezTo>
                    <a:cubicBezTo>
                      <a:pt x="0" y="233"/>
                      <a:pt x="0" y="233"/>
                      <a:pt x="0" y="233"/>
                    </a:cubicBezTo>
                    <a:cubicBezTo>
                      <a:pt x="0" y="104"/>
                      <a:pt x="104" y="0"/>
                      <a:pt x="233" y="0"/>
                    </a:cubicBezTo>
                    <a:cubicBezTo>
                      <a:pt x="361" y="0"/>
                      <a:pt x="465" y="104"/>
                      <a:pt x="465" y="233"/>
                    </a:cubicBezTo>
                    <a:close/>
                  </a:path>
                </a:pathLst>
              </a:custGeom>
              <a:solidFill>
                <a:srgbClr val="686C86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83" name="Freeform 38">
                <a:extLst>
                  <a:ext uri="{FF2B5EF4-FFF2-40B4-BE49-F238E27FC236}">
                    <a16:creationId xmlns:a16="http://schemas.microsoft.com/office/drawing/2014/main" id="{84BCB03A-1E39-494A-8C23-4DA3F604A6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2713" y="2633663"/>
                <a:ext cx="1292225" cy="649288"/>
              </a:xfrm>
              <a:custGeom>
                <a:avLst/>
                <a:gdLst>
                  <a:gd name="T0" fmla="*/ 233 w 466"/>
                  <a:gd name="T1" fmla="*/ 233 h 233"/>
                  <a:gd name="T2" fmla="*/ 0 w 466"/>
                  <a:gd name="T3" fmla="*/ 0 h 233"/>
                  <a:gd name="T4" fmla="*/ 40 w 466"/>
                  <a:gd name="T5" fmla="*/ 0 h 233"/>
                  <a:gd name="T6" fmla="*/ 233 w 466"/>
                  <a:gd name="T7" fmla="*/ 193 h 233"/>
                  <a:gd name="T8" fmla="*/ 426 w 466"/>
                  <a:gd name="T9" fmla="*/ 0 h 233"/>
                  <a:gd name="T10" fmla="*/ 466 w 466"/>
                  <a:gd name="T11" fmla="*/ 0 h 233"/>
                  <a:gd name="T12" fmla="*/ 233 w 466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6" h="233">
                    <a:moveTo>
                      <a:pt x="233" y="233"/>
                    </a:moveTo>
                    <a:cubicBezTo>
                      <a:pt x="105" y="233"/>
                      <a:pt x="0" y="128"/>
                      <a:pt x="0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0" y="106"/>
                      <a:pt x="127" y="193"/>
                      <a:pt x="233" y="193"/>
                    </a:cubicBezTo>
                    <a:cubicBezTo>
                      <a:pt x="339" y="193"/>
                      <a:pt x="426" y="106"/>
                      <a:pt x="426" y="0"/>
                    </a:cubicBezTo>
                    <a:cubicBezTo>
                      <a:pt x="466" y="0"/>
                      <a:pt x="466" y="0"/>
                      <a:pt x="466" y="0"/>
                    </a:cubicBezTo>
                    <a:cubicBezTo>
                      <a:pt x="466" y="128"/>
                      <a:pt x="361" y="233"/>
                      <a:pt x="233" y="233"/>
                    </a:cubicBezTo>
                    <a:close/>
                  </a:path>
                </a:pathLst>
              </a:custGeom>
              <a:solidFill>
                <a:srgbClr val="0E7FBE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84" name="Freeform 43">
                <a:extLst>
                  <a:ext uri="{FF2B5EF4-FFF2-40B4-BE49-F238E27FC236}">
                    <a16:creationId xmlns:a16="http://schemas.microsoft.com/office/drawing/2014/main" id="{A00F11F0-FC4E-454E-8FE3-DB3CB3E86B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3813" y="1984375"/>
                <a:ext cx="1290638" cy="649288"/>
              </a:xfrm>
              <a:custGeom>
                <a:avLst/>
                <a:gdLst>
                  <a:gd name="T0" fmla="*/ 465 w 465"/>
                  <a:gd name="T1" fmla="*/ 233 h 233"/>
                  <a:gd name="T2" fmla="*/ 425 w 465"/>
                  <a:gd name="T3" fmla="*/ 233 h 233"/>
                  <a:gd name="T4" fmla="*/ 233 w 465"/>
                  <a:gd name="T5" fmla="*/ 40 h 233"/>
                  <a:gd name="T6" fmla="*/ 40 w 465"/>
                  <a:gd name="T7" fmla="*/ 233 h 233"/>
                  <a:gd name="T8" fmla="*/ 0 w 465"/>
                  <a:gd name="T9" fmla="*/ 233 h 233"/>
                  <a:gd name="T10" fmla="*/ 233 w 465"/>
                  <a:gd name="T11" fmla="*/ 0 h 233"/>
                  <a:gd name="T12" fmla="*/ 465 w 465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5" h="233">
                    <a:moveTo>
                      <a:pt x="465" y="233"/>
                    </a:moveTo>
                    <a:cubicBezTo>
                      <a:pt x="425" y="233"/>
                      <a:pt x="425" y="233"/>
                      <a:pt x="425" y="233"/>
                    </a:cubicBezTo>
                    <a:cubicBezTo>
                      <a:pt x="425" y="127"/>
                      <a:pt x="339" y="40"/>
                      <a:pt x="233" y="40"/>
                    </a:cubicBezTo>
                    <a:cubicBezTo>
                      <a:pt x="126" y="40"/>
                      <a:pt x="40" y="127"/>
                      <a:pt x="40" y="233"/>
                    </a:cubicBezTo>
                    <a:cubicBezTo>
                      <a:pt x="0" y="233"/>
                      <a:pt x="0" y="233"/>
                      <a:pt x="0" y="233"/>
                    </a:cubicBezTo>
                    <a:cubicBezTo>
                      <a:pt x="0" y="104"/>
                      <a:pt x="104" y="0"/>
                      <a:pt x="233" y="0"/>
                    </a:cubicBezTo>
                    <a:cubicBezTo>
                      <a:pt x="361" y="0"/>
                      <a:pt x="465" y="104"/>
                      <a:pt x="465" y="233"/>
                    </a:cubicBezTo>
                    <a:close/>
                  </a:path>
                </a:pathLst>
              </a:custGeom>
              <a:solidFill>
                <a:srgbClr val="345E88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85" name="Freeform 44">
                <a:extLst>
                  <a:ext uri="{FF2B5EF4-FFF2-40B4-BE49-F238E27FC236}">
                    <a16:creationId xmlns:a16="http://schemas.microsoft.com/office/drawing/2014/main" id="{98711897-7CCD-4433-A262-6D9BBB4D1F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3325" y="2633663"/>
                <a:ext cx="1292225" cy="649288"/>
              </a:xfrm>
              <a:custGeom>
                <a:avLst/>
                <a:gdLst>
                  <a:gd name="T0" fmla="*/ 233 w 466"/>
                  <a:gd name="T1" fmla="*/ 233 h 233"/>
                  <a:gd name="T2" fmla="*/ 0 w 466"/>
                  <a:gd name="T3" fmla="*/ 0 h 233"/>
                  <a:gd name="T4" fmla="*/ 40 w 466"/>
                  <a:gd name="T5" fmla="*/ 0 h 233"/>
                  <a:gd name="T6" fmla="*/ 233 w 466"/>
                  <a:gd name="T7" fmla="*/ 193 h 233"/>
                  <a:gd name="T8" fmla="*/ 426 w 466"/>
                  <a:gd name="T9" fmla="*/ 0 h 233"/>
                  <a:gd name="T10" fmla="*/ 466 w 466"/>
                  <a:gd name="T11" fmla="*/ 0 h 233"/>
                  <a:gd name="T12" fmla="*/ 233 w 466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6" h="233">
                    <a:moveTo>
                      <a:pt x="233" y="233"/>
                    </a:moveTo>
                    <a:cubicBezTo>
                      <a:pt x="105" y="233"/>
                      <a:pt x="0" y="128"/>
                      <a:pt x="0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0" y="106"/>
                      <a:pt x="127" y="193"/>
                      <a:pt x="233" y="193"/>
                    </a:cubicBezTo>
                    <a:cubicBezTo>
                      <a:pt x="339" y="193"/>
                      <a:pt x="426" y="106"/>
                      <a:pt x="426" y="0"/>
                    </a:cubicBezTo>
                    <a:cubicBezTo>
                      <a:pt x="466" y="0"/>
                      <a:pt x="466" y="0"/>
                      <a:pt x="466" y="0"/>
                    </a:cubicBezTo>
                    <a:cubicBezTo>
                      <a:pt x="466" y="128"/>
                      <a:pt x="361" y="233"/>
                      <a:pt x="233" y="233"/>
                    </a:cubicBezTo>
                    <a:close/>
                  </a:path>
                </a:pathLst>
              </a:custGeom>
              <a:solidFill>
                <a:srgbClr val="084A6E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86" name="Freeform 49">
                <a:extLst>
                  <a:ext uri="{FF2B5EF4-FFF2-40B4-BE49-F238E27FC236}">
                    <a16:creationId xmlns:a16="http://schemas.microsoft.com/office/drawing/2014/main" id="{ADC3D1E4-77A9-4F34-9EC4-43AD4687CC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64425" y="1984375"/>
                <a:ext cx="1289050" cy="649288"/>
              </a:xfrm>
              <a:custGeom>
                <a:avLst/>
                <a:gdLst>
                  <a:gd name="T0" fmla="*/ 465 w 465"/>
                  <a:gd name="T1" fmla="*/ 233 h 233"/>
                  <a:gd name="T2" fmla="*/ 425 w 465"/>
                  <a:gd name="T3" fmla="*/ 233 h 233"/>
                  <a:gd name="T4" fmla="*/ 232 w 465"/>
                  <a:gd name="T5" fmla="*/ 40 h 233"/>
                  <a:gd name="T6" fmla="*/ 40 w 465"/>
                  <a:gd name="T7" fmla="*/ 233 h 233"/>
                  <a:gd name="T8" fmla="*/ 0 w 465"/>
                  <a:gd name="T9" fmla="*/ 233 h 233"/>
                  <a:gd name="T10" fmla="*/ 232 w 465"/>
                  <a:gd name="T11" fmla="*/ 0 h 233"/>
                  <a:gd name="T12" fmla="*/ 465 w 465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5" h="233">
                    <a:moveTo>
                      <a:pt x="465" y="233"/>
                    </a:moveTo>
                    <a:cubicBezTo>
                      <a:pt x="425" y="233"/>
                      <a:pt x="425" y="233"/>
                      <a:pt x="425" y="233"/>
                    </a:cubicBezTo>
                    <a:cubicBezTo>
                      <a:pt x="425" y="127"/>
                      <a:pt x="339" y="40"/>
                      <a:pt x="232" y="40"/>
                    </a:cubicBezTo>
                    <a:cubicBezTo>
                      <a:pt x="126" y="40"/>
                      <a:pt x="40" y="127"/>
                      <a:pt x="40" y="233"/>
                    </a:cubicBezTo>
                    <a:cubicBezTo>
                      <a:pt x="0" y="233"/>
                      <a:pt x="0" y="233"/>
                      <a:pt x="0" y="233"/>
                    </a:cubicBezTo>
                    <a:cubicBezTo>
                      <a:pt x="0" y="104"/>
                      <a:pt x="104" y="0"/>
                      <a:pt x="232" y="0"/>
                    </a:cubicBezTo>
                    <a:cubicBezTo>
                      <a:pt x="361" y="0"/>
                      <a:pt x="465" y="104"/>
                      <a:pt x="465" y="233"/>
                    </a:cubicBezTo>
                    <a:close/>
                  </a:path>
                </a:pathLst>
              </a:custGeom>
              <a:solidFill>
                <a:srgbClr val="063853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87" name="Freeform 31">
                <a:extLst>
                  <a:ext uri="{FF2B5EF4-FFF2-40B4-BE49-F238E27FC236}">
                    <a16:creationId xmlns:a16="http://schemas.microsoft.com/office/drawing/2014/main" id="{6E54C306-FADD-4326-8C12-A49334D894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175" y="1984375"/>
                <a:ext cx="1290638" cy="649288"/>
              </a:xfrm>
              <a:custGeom>
                <a:avLst/>
                <a:gdLst>
                  <a:gd name="T0" fmla="*/ 465 w 465"/>
                  <a:gd name="T1" fmla="*/ 233 h 233"/>
                  <a:gd name="T2" fmla="*/ 425 w 465"/>
                  <a:gd name="T3" fmla="*/ 233 h 233"/>
                  <a:gd name="T4" fmla="*/ 233 w 465"/>
                  <a:gd name="T5" fmla="*/ 40 h 233"/>
                  <a:gd name="T6" fmla="*/ 40 w 465"/>
                  <a:gd name="T7" fmla="*/ 233 h 233"/>
                  <a:gd name="T8" fmla="*/ 0 w 465"/>
                  <a:gd name="T9" fmla="*/ 233 h 233"/>
                  <a:gd name="T10" fmla="*/ 233 w 465"/>
                  <a:gd name="T11" fmla="*/ 0 h 233"/>
                  <a:gd name="T12" fmla="*/ 465 w 465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5" h="233">
                    <a:moveTo>
                      <a:pt x="465" y="233"/>
                    </a:moveTo>
                    <a:cubicBezTo>
                      <a:pt x="425" y="233"/>
                      <a:pt x="425" y="233"/>
                      <a:pt x="425" y="233"/>
                    </a:cubicBezTo>
                    <a:cubicBezTo>
                      <a:pt x="425" y="127"/>
                      <a:pt x="339" y="40"/>
                      <a:pt x="233" y="40"/>
                    </a:cubicBezTo>
                    <a:cubicBezTo>
                      <a:pt x="127" y="40"/>
                      <a:pt x="40" y="127"/>
                      <a:pt x="40" y="233"/>
                    </a:cubicBezTo>
                    <a:cubicBezTo>
                      <a:pt x="0" y="233"/>
                      <a:pt x="0" y="233"/>
                      <a:pt x="0" y="233"/>
                    </a:cubicBezTo>
                    <a:cubicBezTo>
                      <a:pt x="0" y="104"/>
                      <a:pt x="104" y="0"/>
                      <a:pt x="233" y="0"/>
                    </a:cubicBezTo>
                    <a:cubicBezTo>
                      <a:pt x="361" y="0"/>
                      <a:pt x="465" y="104"/>
                      <a:pt x="465" y="233"/>
                    </a:cubicBezTo>
                    <a:close/>
                  </a:path>
                </a:pathLst>
              </a:custGeom>
              <a:solidFill>
                <a:srgbClr val="00D0CB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5EF942B-5084-4B85-8D74-DD795C3A45FD}"/>
              </a:ext>
            </a:extLst>
          </p:cNvPr>
          <p:cNvGrpSpPr/>
          <p:nvPr/>
        </p:nvGrpSpPr>
        <p:grpSpPr>
          <a:xfrm>
            <a:off x="1125149" y="3681133"/>
            <a:ext cx="495019" cy="1122060"/>
            <a:chOff x="843862" y="2760849"/>
            <a:chExt cx="371264" cy="841545"/>
          </a:xfrm>
        </p:grpSpPr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90C6BF72-4B2D-4D6A-A91C-0A2AF2D29FB3}"/>
                </a:ext>
              </a:extLst>
            </p:cNvPr>
            <p:cNvGrpSpPr/>
            <p:nvPr/>
          </p:nvGrpSpPr>
          <p:grpSpPr>
            <a:xfrm>
              <a:off x="843862" y="2760849"/>
              <a:ext cx="371264" cy="374570"/>
              <a:chOff x="843862" y="2699215"/>
              <a:chExt cx="371264" cy="374570"/>
            </a:xfrm>
          </p:grpSpPr>
          <p:sp>
            <p:nvSpPr>
              <p:cNvPr id="89" name="Oval 30">
                <a:extLst>
                  <a:ext uri="{FF2B5EF4-FFF2-40B4-BE49-F238E27FC236}">
                    <a16:creationId xmlns:a16="http://schemas.microsoft.com/office/drawing/2014/main" id="{F91A8CC7-BB1B-4972-BB8B-733139261F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3862" y="2699215"/>
                <a:ext cx="371264" cy="374570"/>
              </a:xfrm>
              <a:prstGeom prst="ellipse">
                <a:avLst/>
              </a:prstGeom>
              <a:solidFill>
                <a:srgbClr val="00D0CB">
                  <a:alpha val="50000"/>
                </a:srgbClr>
              </a:solidFill>
              <a:ln w="11113" cap="rnd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90" name="Oval 30">
                <a:extLst>
                  <a:ext uri="{FF2B5EF4-FFF2-40B4-BE49-F238E27FC236}">
                    <a16:creationId xmlns:a16="http://schemas.microsoft.com/office/drawing/2014/main" id="{3BA5932C-1E04-48C2-9D3B-3BCFAAA8F3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0329" y="2786452"/>
                <a:ext cx="198330" cy="200096"/>
              </a:xfrm>
              <a:prstGeom prst="ellipse">
                <a:avLst/>
              </a:prstGeom>
              <a:solidFill>
                <a:srgbClr val="00D0CB"/>
              </a:solidFill>
              <a:ln w="11113" cap="rnd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F97B528C-7807-4690-A48E-C5C6CC659507}"/>
                </a:ext>
              </a:extLst>
            </p:cNvPr>
            <p:cNvCxnSpPr>
              <a:cxnSpLocks/>
            </p:cNvCxnSpPr>
            <p:nvPr/>
          </p:nvCxnSpPr>
          <p:spPr>
            <a:xfrm>
              <a:off x="1030934" y="3046772"/>
              <a:ext cx="0" cy="555622"/>
            </a:xfrm>
            <a:prstGeom prst="line">
              <a:avLst/>
            </a:prstGeom>
            <a:ln w="19050">
              <a:solidFill>
                <a:srgbClr val="00D0CB"/>
              </a:solidFill>
              <a:prstDash val="solid"/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AFD1A87-DB97-4B22-975D-99A158635070}"/>
              </a:ext>
            </a:extLst>
          </p:cNvPr>
          <p:cNvGrpSpPr/>
          <p:nvPr/>
        </p:nvGrpSpPr>
        <p:grpSpPr>
          <a:xfrm>
            <a:off x="4270840" y="3681131"/>
            <a:ext cx="496488" cy="1122061"/>
            <a:chOff x="3203130" y="2760848"/>
            <a:chExt cx="372366" cy="841546"/>
          </a:xfrm>
        </p:grpSpPr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A12A8FDE-19BA-48CB-88D7-D81699CEF9D5}"/>
                </a:ext>
              </a:extLst>
            </p:cNvPr>
            <p:cNvGrpSpPr/>
            <p:nvPr/>
          </p:nvGrpSpPr>
          <p:grpSpPr>
            <a:xfrm>
              <a:off x="3203130" y="2760848"/>
              <a:ext cx="372366" cy="374572"/>
              <a:chOff x="3203130" y="2699214"/>
              <a:chExt cx="372366" cy="374572"/>
            </a:xfrm>
          </p:grpSpPr>
          <p:sp>
            <p:nvSpPr>
              <p:cNvPr id="95" name="Oval 36">
                <a:extLst>
                  <a:ext uri="{FF2B5EF4-FFF2-40B4-BE49-F238E27FC236}">
                    <a16:creationId xmlns:a16="http://schemas.microsoft.com/office/drawing/2014/main" id="{FD8F4F7B-8465-4DC4-8609-DB74537351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03130" y="2699214"/>
                <a:ext cx="372366" cy="374572"/>
              </a:xfrm>
              <a:prstGeom prst="ellipse">
                <a:avLst/>
              </a:prstGeom>
              <a:solidFill>
                <a:srgbClr val="686C86">
                  <a:alpha val="50000"/>
                </a:srgbClr>
              </a:solidFill>
              <a:ln w="11113" cap="rnd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96" name="Oval 36">
                <a:extLst>
                  <a:ext uri="{FF2B5EF4-FFF2-40B4-BE49-F238E27FC236}">
                    <a16:creationId xmlns:a16="http://schemas.microsoft.com/office/drawing/2014/main" id="{CDD12600-5547-4B9D-8567-30A20CA061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89854" y="2786452"/>
                <a:ext cx="198918" cy="200096"/>
              </a:xfrm>
              <a:prstGeom prst="ellipse">
                <a:avLst/>
              </a:prstGeom>
              <a:solidFill>
                <a:srgbClr val="686C86"/>
              </a:solidFill>
              <a:ln w="11113" cap="rnd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101B5BF7-4BE1-40E4-8CF3-35A9F0034EAC}"/>
                </a:ext>
              </a:extLst>
            </p:cNvPr>
            <p:cNvCxnSpPr>
              <a:cxnSpLocks/>
            </p:cNvCxnSpPr>
            <p:nvPr/>
          </p:nvCxnSpPr>
          <p:spPr>
            <a:xfrm>
              <a:off x="3389313" y="3046772"/>
              <a:ext cx="0" cy="555622"/>
            </a:xfrm>
            <a:prstGeom prst="line">
              <a:avLst/>
            </a:prstGeom>
            <a:ln w="19050">
              <a:solidFill>
                <a:srgbClr val="686C86"/>
              </a:solidFill>
              <a:prstDash val="solid"/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0725EEC-D500-4737-9E0E-51D737200127}"/>
              </a:ext>
            </a:extLst>
          </p:cNvPr>
          <p:cNvGrpSpPr/>
          <p:nvPr/>
        </p:nvGrpSpPr>
        <p:grpSpPr>
          <a:xfrm>
            <a:off x="7418000" y="3681133"/>
            <a:ext cx="495019" cy="1122060"/>
            <a:chOff x="5563500" y="2760849"/>
            <a:chExt cx="371264" cy="841545"/>
          </a:xfrm>
        </p:grpSpPr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07FB4A11-065F-4EAD-A4C3-3D486DE1AD45}"/>
                </a:ext>
              </a:extLst>
            </p:cNvPr>
            <p:cNvGrpSpPr/>
            <p:nvPr/>
          </p:nvGrpSpPr>
          <p:grpSpPr>
            <a:xfrm>
              <a:off x="5563500" y="2760849"/>
              <a:ext cx="371264" cy="374570"/>
              <a:chOff x="5563500" y="2699215"/>
              <a:chExt cx="371264" cy="374570"/>
            </a:xfrm>
          </p:grpSpPr>
          <p:sp>
            <p:nvSpPr>
              <p:cNvPr id="101" name="Oval 42">
                <a:extLst>
                  <a:ext uri="{FF2B5EF4-FFF2-40B4-BE49-F238E27FC236}">
                    <a16:creationId xmlns:a16="http://schemas.microsoft.com/office/drawing/2014/main" id="{CE8E39A8-9B56-49EF-814B-B267D149AB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63500" y="2699215"/>
                <a:ext cx="371264" cy="374570"/>
              </a:xfrm>
              <a:prstGeom prst="ellipse">
                <a:avLst/>
              </a:prstGeom>
              <a:solidFill>
                <a:srgbClr val="345E88">
                  <a:alpha val="50000"/>
                </a:srgbClr>
              </a:solidFill>
              <a:ln w="11113" cap="rnd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02" name="Oval 42">
                <a:extLst>
                  <a:ext uri="{FF2B5EF4-FFF2-40B4-BE49-F238E27FC236}">
                    <a16:creationId xmlns:a16="http://schemas.microsoft.com/office/drawing/2014/main" id="{51AEBAAE-E9E3-433F-A945-EC735E0AC5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9967" y="2786452"/>
                <a:ext cx="198330" cy="200096"/>
              </a:xfrm>
              <a:prstGeom prst="ellipse">
                <a:avLst/>
              </a:prstGeom>
              <a:solidFill>
                <a:srgbClr val="345E88"/>
              </a:solidFill>
              <a:ln w="11113" cap="rnd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41C08E5-BFD8-4D8A-9D03-042CC45138C5}"/>
                </a:ext>
              </a:extLst>
            </p:cNvPr>
            <p:cNvCxnSpPr>
              <a:cxnSpLocks/>
            </p:cNvCxnSpPr>
            <p:nvPr/>
          </p:nvCxnSpPr>
          <p:spPr>
            <a:xfrm>
              <a:off x="5749132" y="3046772"/>
              <a:ext cx="0" cy="555622"/>
            </a:xfrm>
            <a:prstGeom prst="line">
              <a:avLst/>
            </a:prstGeom>
            <a:ln w="19050">
              <a:solidFill>
                <a:srgbClr val="345E88"/>
              </a:solidFill>
              <a:prstDash val="solid"/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D1BFF41-081F-4A72-8947-097A72E579E1}"/>
              </a:ext>
            </a:extLst>
          </p:cNvPr>
          <p:cNvGrpSpPr/>
          <p:nvPr/>
        </p:nvGrpSpPr>
        <p:grpSpPr>
          <a:xfrm>
            <a:off x="2699949" y="3681128"/>
            <a:ext cx="495019" cy="1858788"/>
            <a:chOff x="2024962" y="2760849"/>
            <a:chExt cx="371264" cy="1394092"/>
          </a:xfrm>
        </p:grpSpPr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D33FA044-3B1D-423A-B5DD-812E4554B314}"/>
                </a:ext>
              </a:extLst>
            </p:cNvPr>
            <p:cNvGrpSpPr/>
            <p:nvPr/>
          </p:nvGrpSpPr>
          <p:grpSpPr>
            <a:xfrm>
              <a:off x="2024962" y="2760849"/>
              <a:ext cx="371264" cy="374570"/>
              <a:chOff x="2024962" y="2699215"/>
              <a:chExt cx="371264" cy="374570"/>
            </a:xfrm>
          </p:grpSpPr>
          <p:sp>
            <p:nvSpPr>
              <p:cNvPr id="92" name="Oval 33">
                <a:extLst>
                  <a:ext uri="{FF2B5EF4-FFF2-40B4-BE49-F238E27FC236}">
                    <a16:creationId xmlns:a16="http://schemas.microsoft.com/office/drawing/2014/main" id="{041F4BBC-3FD0-4E5D-8CAE-BF4EA37144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24962" y="2699215"/>
                <a:ext cx="371264" cy="374570"/>
              </a:xfrm>
              <a:prstGeom prst="ellipse">
                <a:avLst/>
              </a:prstGeom>
              <a:solidFill>
                <a:srgbClr val="5C8EC0">
                  <a:alpha val="50000"/>
                </a:srgbClr>
              </a:solidFill>
              <a:ln w="11113" cap="rnd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93" name="Oval 33">
                <a:extLst>
                  <a:ext uri="{FF2B5EF4-FFF2-40B4-BE49-F238E27FC236}">
                    <a16:creationId xmlns:a16="http://schemas.microsoft.com/office/drawing/2014/main" id="{9FB3C1B4-8404-44A2-9F4E-28A9827385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1429" y="2786452"/>
                <a:ext cx="198330" cy="200096"/>
              </a:xfrm>
              <a:prstGeom prst="ellipse">
                <a:avLst/>
              </a:prstGeom>
              <a:solidFill>
                <a:srgbClr val="5C8EC0"/>
              </a:solidFill>
              <a:ln w="11113" cap="rnd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7E0ADF11-CB43-4967-BBA0-5163FC2C41A0}"/>
                </a:ext>
              </a:extLst>
            </p:cNvPr>
            <p:cNvCxnSpPr>
              <a:cxnSpLocks/>
              <a:stCxn id="92" idx="4"/>
            </p:cNvCxnSpPr>
            <p:nvPr/>
          </p:nvCxnSpPr>
          <p:spPr>
            <a:xfrm>
              <a:off x="2210594" y="3135419"/>
              <a:ext cx="0" cy="1019522"/>
            </a:xfrm>
            <a:prstGeom prst="line">
              <a:avLst/>
            </a:prstGeom>
            <a:ln w="19050">
              <a:solidFill>
                <a:srgbClr val="5C8EC0"/>
              </a:solidFill>
              <a:prstDash val="solid"/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2CE2FB4-8AED-4758-8088-F745D5ABAD46}"/>
              </a:ext>
            </a:extLst>
          </p:cNvPr>
          <p:cNvGrpSpPr/>
          <p:nvPr/>
        </p:nvGrpSpPr>
        <p:grpSpPr>
          <a:xfrm>
            <a:off x="5843847" y="3681136"/>
            <a:ext cx="497960" cy="1858824"/>
            <a:chOff x="4382885" y="2760849"/>
            <a:chExt cx="373470" cy="1394117"/>
          </a:xfrm>
        </p:grpSpPr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C3234487-A360-4782-B829-38DBAC34CA4A}"/>
                </a:ext>
              </a:extLst>
            </p:cNvPr>
            <p:cNvGrpSpPr/>
            <p:nvPr/>
          </p:nvGrpSpPr>
          <p:grpSpPr>
            <a:xfrm>
              <a:off x="4382885" y="2760849"/>
              <a:ext cx="373470" cy="374570"/>
              <a:chOff x="4382885" y="2699215"/>
              <a:chExt cx="373470" cy="374570"/>
            </a:xfrm>
          </p:grpSpPr>
          <p:sp>
            <p:nvSpPr>
              <p:cNvPr id="98" name="Oval 39">
                <a:extLst>
                  <a:ext uri="{FF2B5EF4-FFF2-40B4-BE49-F238E27FC236}">
                    <a16:creationId xmlns:a16="http://schemas.microsoft.com/office/drawing/2014/main" id="{5FAC393C-0F93-4D3F-97A8-3B358F3587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82885" y="2699215"/>
                <a:ext cx="373470" cy="374570"/>
              </a:xfrm>
              <a:prstGeom prst="ellipse">
                <a:avLst/>
              </a:prstGeom>
              <a:solidFill>
                <a:srgbClr val="0E7FBE">
                  <a:alpha val="50000"/>
                </a:srgbClr>
              </a:solidFill>
              <a:ln w="11113" cap="rnd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99" name="Oval 39">
                <a:extLst>
                  <a:ext uri="{FF2B5EF4-FFF2-40B4-BE49-F238E27FC236}">
                    <a16:creationId xmlns:a16="http://schemas.microsoft.com/office/drawing/2014/main" id="{483FCAFC-A7D5-450A-AF11-10FEEA3924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69866" y="2786452"/>
                <a:ext cx="199508" cy="200096"/>
              </a:xfrm>
              <a:prstGeom prst="ellipse">
                <a:avLst/>
              </a:prstGeom>
              <a:solidFill>
                <a:srgbClr val="0E7FBE"/>
              </a:solidFill>
              <a:ln w="11113" cap="rnd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480DF7B3-90D0-482D-8FA9-6364EC928386}"/>
                </a:ext>
              </a:extLst>
            </p:cNvPr>
            <p:cNvCxnSpPr>
              <a:cxnSpLocks/>
              <a:stCxn id="98" idx="4"/>
            </p:cNvCxnSpPr>
            <p:nvPr/>
          </p:nvCxnSpPr>
          <p:spPr>
            <a:xfrm>
              <a:off x="4569620" y="3135419"/>
              <a:ext cx="0" cy="1019547"/>
            </a:xfrm>
            <a:prstGeom prst="line">
              <a:avLst/>
            </a:prstGeom>
            <a:ln w="19050">
              <a:solidFill>
                <a:srgbClr val="0E7FBE"/>
              </a:solidFill>
              <a:prstDash val="solid"/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B66499D0-792D-43E9-9C5D-1306621A4A5C}"/>
              </a:ext>
            </a:extLst>
          </p:cNvPr>
          <p:cNvGrpSpPr/>
          <p:nvPr/>
        </p:nvGrpSpPr>
        <p:grpSpPr>
          <a:xfrm>
            <a:off x="8989213" y="3681136"/>
            <a:ext cx="497960" cy="1863576"/>
            <a:chOff x="6741910" y="2760849"/>
            <a:chExt cx="373470" cy="1397681"/>
          </a:xfrm>
        </p:grpSpPr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2C6E8238-92BE-4F66-8B4A-9A1A79F4A3CD}"/>
                </a:ext>
              </a:extLst>
            </p:cNvPr>
            <p:cNvGrpSpPr/>
            <p:nvPr/>
          </p:nvGrpSpPr>
          <p:grpSpPr>
            <a:xfrm>
              <a:off x="6741910" y="2760849"/>
              <a:ext cx="373470" cy="374570"/>
              <a:chOff x="6741910" y="2699215"/>
              <a:chExt cx="373470" cy="374570"/>
            </a:xfrm>
          </p:grpSpPr>
          <p:sp>
            <p:nvSpPr>
              <p:cNvPr id="104" name="Oval 45">
                <a:extLst>
                  <a:ext uri="{FF2B5EF4-FFF2-40B4-BE49-F238E27FC236}">
                    <a16:creationId xmlns:a16="http://schemas.microsoft.com/office/drawing/2014/main" id="{D940CD4B-19CA-4110-B94F-3C3839BB2D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41910" y="2699215"/>
                <a:ext cx="373470" cy="374570"/>
              </a:xfrm>
              <a:prstGeom prst="ellipse">
                <a:avLst/>
              </a:prstGeom>
              <a:solidFill>
                <a:srgbClr val="084A6E">
                  <a:alpha val="50000"/>
                </a:srgbClr>
              </a:solidFill>
              <a:ln w="11113" cap="rnd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05" name="Oval 45">
                <a:extLst>
                  <a:ext uri="{FF2B5EF4-FFF2-40B4-BE49-F238E27FC236}">
                    <a16:creationId xmlns:a16="http://schemas.microsoft.com/office/drawing/2014/main" id="{C8FFD5EF-6B3A-49F6-B88F-2C6AD4A10D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28891" y="2786452"/>
                <a:ext cx="199508" cy="200096"/>
              </a:xfrm>
              <a:prstGeom prst="ellipse">
                <a:avLst/>
              </a:prstGeom>
              <a:solidFill>
                <a:srgbClr val="084A6E"/>
              </a:solidFill>
              <a:ln w="11113" cap="rnd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C6F62FAE-A787-433D-8CA5-B22B67958DE9}"/>
                </a:ext>
              </a:extLst>
            </p:cNvPr>
            <p:cNvCxnSpPr>
              <a:cxnSpLocks/>
              <a:stCxn id="104" idx="4"/>
            </p:cNvCxnSpPr>
            <p:nvPr/>
          </p:nvCxnSpPr>
          <p:spPr>
            <a:xfrm>
              <a:off x="6928645" y="3135419"/>
              <a:ext cx="0" cy="1023111"/>
            </a:xfrm>
            <a:prstGeom prst="line">
              <a:avLst/>
            </a:prstGeom>
            <a:ln w="19050">
              <a:solidFill>
                <a:srgbClr val="084A6E"/>
              </a:solidFill>
              <a:prstDash val="solid"/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580C9F2-3101-47CA-A85F-F1BC7110772B}"/>
              </a:ext>
            </a:extLst>
          </p:cNvPr>
          <p:cNvGrpSpPr/>
          <p:nvPr/>
        </p:nvGrpSpPr>
        <p:grpSpPr>
          <a:xfrm>
            <a:off x="10565483" y="3681133"/>
            <a:ext cx="495019" cy="1122060"/>
            <a:chOff x="7924112" y="2760849"/>
            <a:chExt cx="371264" cy="841545"/>
          </a:xfrm>
        </p:grpSpPr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886D411D-8E9B-4E29-867A-D9EFE3448273}"/>
                </a:ext>
              </a:extLst>
            </p:cNvPr>
            <p:cNvGrpSpPr/>
            <p:nvPr/>
          </p:nvGrpSpPr>
          <p:grpSpPr>
            <a:xfrm>
              <a:off x="7924112" y="2760849"/>
              <a:ext cx="371264" cy="374570"/>
              <a:chOff x="7924112" y="2699215"/>
              <a:chExt cx="371264" cy="374570"/>
            </a:xfrm>
          </p:grpSpPr>
          <p:sp>
            <p:nvSpPr>
              <p:cNvPr id="107" name="Oval 48">
                <a:extLst>
                  <a:ext uri="{FF2B5EF4-FFF2-40B4-BE49-F238E27FC236}">
                    <a16:creationId xmlns:a16="http://schemas.microsoft.com/office/drawing/2014/main" id="{FE5B5F23-0355-4CF9-A991-38C471C1AA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24112" y="2699215"/>
                <a:ext cx="371264" cy="374570"/>
              </a:xfrm>
              <a:prstGeom prst="ellipse">
                <a:avLst/>
              </a:prstGeom>
              <a:solidFill>
                <a:srgbClr val="063853">
                  <a:alpha val="50000"/>
                </a:srgbClr>
              </a:solidFill>
              <a:ln w="11113" cap="rnd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08" name="Oval 48">
                <a:extLst>
                  <a:ext uri="{FF2B5EF4-FFF2-40B4-BE49-F238E27FC236}">
                    <a16:creationId xmlns:a16="http://schemas.microsoft.com/office/drawing/2014/main" id="{C6C2FA91-823B-4B0C-89E1-1754103251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10579" y="2786452"/>
                <a:ext cx="198330" cy="200096"/>
              </a:xfrm>
              <a:prstGeom prst="ellipse">
                <a:avLst/>
              </a:prstGeom>
              <a:solidFill>
                <a:srgbClr val="063853"/>
              </a:solidFill>
              <a:ln w="11113" cap="rnd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F99A03BB-31E8-44DF-A4FA-EAD4FF2E850B}"/>
                </a:ext>
              </a:extLst>
            </p:cNvPr>
            <p:cNvCxnSpPr>
              <a:cxnSpLocks/>
            </p:cNvCxnSpPr>
            <p:nvPr/>
          </p:nvCxnSpPr>
          <p:spPr>
            <a:xfrm>
              <a:off x="8109744" y="3046772"/>
              <a:ext cx="0" cy="555622"/>
            </a:xfrm>
            <a:prstGeom prst="line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D8A5CD70-B669-4224-B44F-4059FDB9C981}"/>
              </a:ext>
            </a:extLst>
          </p:cNvPr>
          <p:cNvGrpSpPr/>
          <p:nvPr/>
        </p:nvGrpSpPr>
        <p:grpSpPr>
          <a:xfrm>
            <a:off x="1118173" y="2235128"/>
            <a:ext cx="508971" cy="509861"/>
            <a:chOff x="1006475" y="3443288"/>
            <a:chExt cx="909638" cy="911225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25" name="Freeform 15">
              <a:extLst>
                <a:ext uri="{FF2B5EF4-FFF2-40B4-BE49-F238E27FC236}">
                  <a16:creationId xmlns:a16="http://schemas.microsoft.com/office/drawing/2014/main" id="{9323E87A-4F86-4CBB-8F31-0B0B3B11ED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5063" y="3670301"/>
              <a:ext cx="555625" cy="555625"/>
            </a:xfrm>
            <a:custGeom>
              <a:avLst/>
              <a:gdLst>
                <a:gd name="T0" fmla="*/ 3547 w 3675"/>
                <a:gd name="T1" fmla="*/ 1162 h 3675"/>
                <a:gd name="T2" fmla="*/ 3363 w 3675"/>
                <a:gd name="T3" fmla="*/ 1083 h 3675"/>
                <a:gd name="T4" fmla="*/ 3284 w 3675"/>
                <a:gd name="T5" fmla="*/ 1266 h 3675"/>
                <a:gd name="T6" fmla="*/ 3392 w 3675"/>
                <a:gd name="T7" fmla="*/ 1838 h 3675"/>
                <a:gd name="T8" fmla="*/ 1838 w 3675"/>
                <a:gd name="T9" fmla="*/ 3392 h 3675"/>
                <a:gd name="T10" fmla="*/ 283 w 3675"/>
                <a:gd name="T11" fmla="*/ 1838 h 3675"/>
                <a:gd name="T12" fmla="*/ 1838 w 3675"/>
                <a:gd name="T13" fmla="*/ 283 h 3675"/>
                <a:gd name="T14" fmla="*/ 2410 w 3675"/>
                <a:gd name="T15" fmla="*/ 392 h 3675"/>
                <a:gd name="T16" fmla="*/ 2594 w 3675"/>
                <a:gd name="T17" fmla="*/ 313 h 3675"/>
                <a:gd name="T18" fmla="*/ 2515 w 3675"/>
                <a:gd name="T19" fmla="*/ 129 h 3675"/>
                <a:gd name="T20" fmla="*/ 1838 w 3675"/>
                <a:gd name="T21" fmla="*/ 0 h 3675"/>
                <a:gd name="T22" fmla="*/ 0 w 3675"/>
                <a:gd name="T23" fmla="*/ 1838 h 3675"/>
                <a:gd name="T24" fmla="*/ 1838 w 3675"/>
                <a:gd name="T25" fmla="*/ 3675 h 3675"/>
                <a:gd name="T26" fmla="*/ 3675 w 3675"/>
                <a:gd name="T27" fmla="*/ 1838 h 3675"/>
                <a:gd name="T28" fmla="*/ 3547 w 3675"/>
                <a:gd name="T29" fmla="*/ 1162 h 3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75" h="3675">
                  <a:moveTo>
                    <a:pt x="3547" y="1162"/>
                  </a:moveTo>
                  <a:cubicBezTo>
                    <a:pt x="3518" y="1089"/>
                    <a:pt x="3436" y="1054"/>
                    <a:pt x="3363" y="1083"/>
                  </a:cubicBezTo>
                  <a:cubicBezTo>
                    <a:pt x="3291" y="1111"/>
                    <a:pt x="3255" y="1194"/>
                    <a:pt x="3284" y="1266"/>
                  </a:cubicBezTo>
                  <a:cubicBezTo>
                    <a:pt x="3356" y="1448"/>
                    <a:pt x="3392" y="1640"/>
                    <a:pt x="3392" y="1838"/>
                  </a:cubicBezTo>
                  <a:cubicBezTo>
                    <a:pt x="3392" y="2695"/>
                    <a:pt x="2695" y="3392"/>
                    <a:pt x="1838" y="3392"/>
                  </a:cubicBezTo>
                  <a:cubicBezTo>
                    <a:pt x="980" y="3392"/>
                    <a:pt x="283" y="2695"/>
                    <a:pt x="283" y="1838"/>
                  </a:cubicBezTo>
                  <a:cubicBezTo>
                    <a:pt x="283" y="981"/>
                    <a:pt x="980" y="283"/>
                    <a:pt x="1838" y="283"/>
                  </a:cubicBezTo>
                  <a:cubicBezTo>
                    <a:pt x="2036" y="283"/>
                    <a:pt x="2228" y="320"/>
                    <a:pt x="2410" y="392"/>
                  </a:cubicBezTo>
                  <a:cubicBezTo>
                    <a:pt x="2483" y="421"/>
                    <a:pt x="2565" y="386"/>
                    <a:pt x="2594" y="313"/>
                  </a:cubicBezTo>
                  <a:cubicBezTo>
                    <a:pt x="2623" y="241"/>
                    <a:pt x="2587" y="158"/>
                    <a:pt x="2515" y="129"/>
                  </a:cubicBezTo>
                  <a:cubicBezTo>
                    <a:pt x="2299" y="44"/>
                    <a:pt x="2072" y="0"/>
                    <a:pt x="1838" y="0"/>
                  </a:cubicBezTo>
                  <a:cubicBezTo>
                    <a:pt x="824" y="0"/>
                    <a:pt x="0" y="825"/>
                    <a:pt x="0" y="1838"/>
                  </a:cubicBezTo>
                  <a:cubicBezTo>
                    <a:pt x="0" y="2851"/>
                    <a:pt x="824" y="3675"/>
                    <a:pt x="1838" y="3675"/>
                  </a:cubicBezTo>
                  <a:cubicBezTo>
                    <a:pt x="2851" y="3675"/>
                    <a:pt x="3675" y="2851"/>
                    <a:pt x="3675" y="1838"/>
                  </a:cubicBezTo>
                  <a:cubicBezTo>
                    <a:pt x="3675" y="1605"/>
                    <a:pt x="3632" y="1377"/>
                    <a:pt x="3547" y="1162"/>
                  </a:cubicBezTo>
                  <a:close/>
                </a:path>
              </a:pathLst>
            </a:custGeom>
            <a:solidFill>
              <a:srgbClr val="00D0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6" name="Freeform 16">
              <a:extLst>
                <a:ext uri="{FF2B5EF4-FFF2-40B4-BE49-F238E27FC236}">
                  <a16:creationId xmlns:a16="http://schemas.microsoft.com/office/drawing/2014/main" id="{A885237B-DBA2-4BBB-B245-DB0F10080C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475" y="3541713"/>
              <a:ext cx="811213" cy="812800"/>
            </a:xfrm>
            <a:custGeom>
              <a:avLst/>
              <a:gdLst>
                <a:gd name="T0" fmla="*/ 5268 w 5371"/>
                <a:gd name="T1" fmla="*/ 1946 h 5371"/>
                <a:gd name="T2" fmla="*/ 5093 w 5371"/>
                <a:gd name="T3" fmla="*/ 1848 h 5371"/>
                <a:gd name="T4" fmla="*/ 4995 w 5371"/>
                <a:gd name="T5" fmla="*/ 2023 h 5371"/>
                <a:gd name="T6" fmla="*/ 5088 w 5371"/>
                <a:gd name="T7" fmla="*/ 2686 h 5371"/>
                <a:gd name="T8" fmla="*/ 2686 w 5371"/>
                <a:gd name="T9" fmla="*/ 5088 h 5371"/>
                <a:gd name="T10" fmla="*/ 283 w 5371"/>
                <a:gd name="T11" fmla="*/ 2686 h 5371"/>
                <a:gd name="T12" fmla="*/ 2686 w 5371"/>
                <a:gd name="T13" fmla="*/ 283 h 5371"/>
                <a:gd name="T14" fmla="*/ 3349 w 5371"/>
                <a:gd name="T15" fmla="*/ 376 h 5371"/>
                <a:gd name="T16" fmla="*/ 3524 w 5371"/>
                <a:gd name="T17" fmla="*/ 279 h 5371"/>
                <a:gd name="T18" fmla="*/ 3427 w 5371"/>
                <a:gd name="T19" fmla="*/ 104 h 5371"/>
                <a:gd name="T20" fmla="*/ 2686 w 5371"/>
                <a:gd name="T21" fmla="*/ 0 h 5371"/>
                <a:gd name="T22" fmla="*/ 0 w 5371"/>
                <a:gd name="T23" fmla="*/ 2686 h 5371"/>
                <a:gd name="T24" fmla="*/ 2686 w 5371"/>
                <a:gd name="T25" fmla="*/ 5371 h 5371"/>
                <a:gd name="T26" fmla="*/ 5371 w 5371"/>
                <a:gd name="T27" fmla="*/ 2686 h 5371"/>
                <a:gd name="T28" fmla="*/ 5268 w 5371"/>
                <a:gd name="T29" fmla="*/ 1946 h 5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71" h="5371">
                  <a:moveTo>
                    <a:pt x="5268" y="1946"/>
                  </a:moveTo>
                  <a:cubicBezTo>
                    <a:pt x="5246" y="1870"/>
                    <a:pt x="5168" y="1827"/>
                    <a:pt x="5093" y="1848"/>
                  </a:cubicBezTo>
                  <a:cubicBezTo>
                    <a:pt x="5017" y="1870"/>
                    <a:pt x="4974" y="1948"/>
                    <a:pt x="4995" y="2023"/>
                  </a:cubicBezTo>
                  <a:cubicBezTo>
                    <a:pt x="5057" y="2238"/>
                    <a:pt x="5088" y="2461"/>
                    <a:pt x="5088" y="2686"/>
                  </a:cubicBezTo>
                  <a:cubicBezTo>
                    <a:pt x="5088" y="4011"/>
                    <a:pt x="4010" y="5088"/>
                    <a:pt x="2686" y="5088"/>
                  </a:cubicBezTo>
                  <a:cubicBezTo>
                    <a:pt x="1361" y="5088"/>
                    <a:pt x="283" y="4011"/>
                    <a:pt x="283" y="2686"/>
                  </a:cubicBezTo>
                  <a:cubicBezTo>
                    <a:pt x="283" y="1361"/>
                    <a:pt x="1361" y="283"/>
                    <a:pt x="2686" y="283"/>
                  </a:cubicBezTo>
                  <a:cubicBezTo>
                    <a:pt x="2911" y="283"/>
                    <a:pt x="3134" y="315"/>
                    <a:pt x="3349" y="376"/>
                  </a:cubicBezTo>
                  <a:cubicBezTo>
                    <a:pt x="3424" y="398"/>
                    <a:pt x="3503" y="354"/>
                    <a:pt x="3524" y="279"/>
                  </a:cubicBezTo>
                  <a:cubicBezTo>
                    <a:pt x="3546" y="204"/>
                    <a:pt x="3502" y="126"/>
                    <a:pt x="3427" y="104"/>
                  </a:cubicBezTo>
                  <a:cubicBezTo>
                    <a:pt x="3187" y="35"/>
                    <a:pt x="2938" y="0"/>
                    <a:pt x="2686" y="0"/>
                  </a:cubicBezTo>
                  <a:cubicBezTo>
                    <a:pt x="1205" y="0"/>
                    <a:pt x="0" y="1205"/>
                    <a:pt x="0" y="2686"/>
                  </a:cubicBezTo>
                  <a:cubicBezTo>
                    <a:pt x="0" y="4167"/>
                    <a:pt x="1205" y="5371"/>
                    <a:pt x="2686" y="5371"/>
                  </a:cubicBezTo>
                  <a:cubicBezTo>
                    <a:pt x="4166" y="5371"/>
                    <a:pt x="5371" y="4167"/>
                    <a:pt x="5371" y="2686"/>
                  </a:cubicBezTo>
                  <a:cubicBezTo>
                    <a:pt x="5371" y="2434"/>
                    <a:pt x="5336" y="2185"/>
                    <a:pt x="5268" y="1946"/>
                  </a:cubicBezTo>
                  <a:close/>
                </a:path>
              </a:pathLst>
            </a:custGeom>
            <a:solidFill>
              <a:srgbClr val="00D0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7" name="Freeform 17">
              <a:extLst>
                <a:ext uri="{FF2B5EF4-FFF2-40B4-BE49-F238E27FC236}">
                  <a16:creationId xmlns:a16="http://schemas.microsoft.com/office/drawing/2014/main" id="{0D7B73AA-1A0E-4699-A016-367E50BE83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3650" y="3798888"/>
              <a:ext cx="298450" cy="298450"/>
            </a:xfrm>
            <a:custGeom>
              <a:avLst/>
              <a:gdLst>
                <a:gd name="T0" fmla="*/ 1975 w 1979"/>
                <a:gd name="T1" fmla="*/ 903 h 1979"/>
                <a:gd name="T2" fmla="*/ 1822 w 1979"/>
                <a:gd name="T3" fmla="*/ 775 h 1979"/>
                <a:gd name="T4" fmla="*/ 1693 w 1979"/>
                <a:gd name="T5" fmla="*/ 929 h 1979"/>
                <a:gd name="T6" fmla="*/ 1696 w 1979"/>
                <a:gd name="T7" fmla="*/ 990 h 1979"/>
                <a:gd name="T8" fmla="*/ 990 w 1979"/>
                <a:gd name="T9" fmla="*/ 1696 h 1979"/>
                <a:gd name="T10" fmla="*/ 283 w 1979"/>
                <a:gd name="T11" fmla="*/ 990 h 1979"/>
                <a:gd name="T12" fmla="*/ 990 w 1979"/>
                <a:gd name="T13" fmla="*/ 283 h 1979"/>
                <a:gd name="T14" fmla="*/ 1053 w 1979"/>
                <a:gd name="T15" fmla="*/ 286 h 1979"/>
                <a:gd name="T16" fmla="*/ 1207 w 1979"/>
                <a:gd name="T17" fmla="*/ 158 h 1979"/>
                <a:gd name="T18" fmla="*/ 1079 w 1979"/>
                <a:gd name="T19" fmla="*/ 4 h 1979"/>
                <a:gd name="T20" fmla="*/ 990 w 1979"/>
                <a:gd name="T21" fmla="*/ 0 h 1979"/>
                <a:gd name="T22" fmla="*/ 0 w 1979"/>
                <a:gd name="T23" fmla="*/ 990 h 1979"/>
                <a:gd name="T24" fmla="*/ 990 w 1979"/>
                <a:gd name="T25" fmla="*/ 1979 h 1979"/>
                <a:gd name="T26" fmla="*/ 1979 w 1979"/>
                <a:gd name="T27" fmla="*/ 990 h 1979"/>
                <a:gd name="T28" fmla="*/ 1975 w 1979"/>
                <a:gd name="T29" fmla="*/ 903 h 1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79" h="1979">
                  <a:moveTo>
                    <a:pt x="1975" y="903"/>
                  </a:moveTo>
                  <a:cubicBezTo>
                    <a:pt x="1968" y="825"/>
                    <a:pt x="1899" y="768"/>
                    <a:pt x="1822" y="775"/>
                  </a:cubicBezTo>
                  <a:cubicBezTo>
                    <a:pt x="1744" y="782"/>
                    <a:pt x="1686" y="851"/>
                    <a:pt x="1693" y="929"/>
                  </a:cubicBezTo>
                  <a:cubicBezTo>
                    <a:pt x="1695" y="949"/>
                    <a:pt x="1696" y="969"/>
                    <a:pt x="1696" y="990"/>
                  </a:cubicBezTo>
                  <a:cubicBezTo>
                    <a:pt x="1696" y="1379"/>
                    <a:pt x="1379" y="1696"/>
                    <a:pt x="990" y="1696"/>
                  </a:cubicBezTo>
                  <a:cubicBezTo>
                    <a:pt x="600" y="1696"/>
                    <a:pt x="283" y="1379"/>
                    <a:pt x="283" y="990"/>
                  </a:cubicBezTo>
                  <a:cubicBezTo>
                    <a:pt x="283" y="600"/>
                    <a:pt x="600" y="283"/>
                    <a:pt x="990" y="283"/>
                  </a:cubicBezTo>
                  <a:cubicBezTo>
                    <a:pt x="1011" y="283"/>
                    <a:pt x="1033" y="284"/>
                    <a:pt x="1053" y="286"/>
                  </a:cubicBezTo>
                  <a:cubicBezTo>
                    <a:pt x="1131" y="293"/>
                    <a:pt x="1200" y="236"/>
                    <a:pt x="1207" y="158"/>
                  </a:cubicBezTo>
                  <a:cubicBezTo>
                    <a:pt x="1214" y="80"/>
                    <a:pt x="1157" y="11"/>
                    <a:pt x="1079" y="4"/>
                  </a:cubicBezTo>
                  <a:cubicBezTo>
                    <a:pt x="1050" y="1"/>
                    <a:pt x="1020" y="0"/>
                    <a:pt x="990" y="0"/>
                  </a:cubicBezTo>
                  <a:cubicBezTo>
                    <a:pt x="444" y="0"/>
                    <a:pt x="0" y="444"/>
                    <a:pt x="0" y="990"/>
                  </a:cubicBezTo>
                  <a:cubicBezTo>
                    <a:pt x="0" y="1535"/>
                    <a:pt x="444" y="1979"/>
                    <a:pt x="990" y="1979"/>
                  </a:cubicBezTo>
                  <a:cubicBezTo>
                    <a:pt x="1535" y="1979"/>
                    <a:pt x="1979" y="1535"/>
                    <a:pt x="1979" y="990"/>
                  </a:cubicBezTo>
                  <a:cubicBezTo>
                    <a:pt x="1979" y="961"/>
                    <a:pt x="1978" y="932"/>
                    <a:pt x="1975" y="903"/>
                  </a:cubicBezTo>
                  <a:close/>
                </a:path>
              </a:pathLst>
            </a:custGeom>
            <a:solidFill>
              <a:srgbClr val="00D0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8" name="Freeform 18">
              <a:extLst>
                <a:ext uri="{FF2B5EF4-FFF2-40B4-BE49-F238E27FC236}">
                  <a16:creationId xmlns:a16="http://schemas.microsoft.com/office/drawing/2014/main" id="{8AF2A0A3-5FE2-4CDF-9D11-E03F5226CE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7000" y="3443288"/>
              <a:ext cx="519113" cy="517526"/>
            </a:xfrm>
            <a:custGeom>
              <a:avLst/>
              <a:gdLst>
                <a:gd name="T0" fmla="*/ 3393 w 3437"/>
                <a:gd name="T1" fmla="*/ 974 h 3424"/>
                <a:gd name="T2" fmla="*/ 3132 w 3437"/>
                <a:gd name="T3" fmla="*/ 799 h 3424"/>
                <a:gd name="T4" fmla="*/ 2638 w 3437"/>
                <a:gd name="T5" fmla="*/ 799 h 3424"/>
                <a:gd name="T6" fmla="*/ 2638 w 3437"/>
                <a:gd name="T7" fmla="*/ 306 h 3424"/>
                <a:gd name="T8" fmla="*/ 2463 w 3437"/>
                <a:gd name="T9" fmla="*/ 44 h 3424"/>
                <a:gd name="T10" fmla="*/ 2155 w 3437"/>
                <a:gd name="T11" fmla="*/ 106 h 3424"/>
                <a:gd name="T12" fmla="*/ 1330 w 3437"/>
                <a:gd name="T13" fmla="*/ 930 h 3424"/>
                <a:gd name="T14" fmla="*/ 1206 w 3437"/>
                <a:gd name="T15" fmla="*/ 1231 h 3424"/>
                <a:gd name="T16" fmla="*/ 1206 w 3437"/>
                <a:gd name="T17" fmla="*/ 2032 h 3424"/>
                <a:gd name="T18" fmla="*/ 55 w 3437"/>
                <a:gd name="T19" fmla="*/ 3182 h 3424"/>
                <a:gd name="T20" fmla="*/ 55 w 3437"/>
                <a:gd name="T21" fmla="*/ 3382 h 3424"/>
                <a:gd name="T22" fmla="*/ 155 w 3437"/>
                <a:gd name="T23" fmla="*/ 3424 h 3424"/>
                <a:gd name="T24" fmla="*/ 255 w 3437"/>
                <a:gd name="T25" fmla="*/ 3382 h 3424"/>
                <a:gd name="T26" fmla="*/ 1406 w 3437"/>
                <a:gd name="T27" fmla="*/ 2232 h 3424"/>
                <a:gd name="T28" fmla="*/ 2207 w 3437"/>
                <a:gd name="T29" fmla="*/ 2232 h 3424"/>
                <a:gd name="T30" fmla="*/ 2507 w 3437"/>
                <a:gd name="T31" fmla="*/ 2108 h 3424"/>
                <a:gd name="T32" fmla="*/ 3332 w 3437"/>
                <a:gd name="T33" fmla="*/ 1283 h 3424"/>
                <a:gd name="T34" fmla="*/ 3393 w 3437"/>
                <a:gd name="T35" fmla="*/ 974 h 3424"/>
                <a:gd name="T36" fmla="*/ 1489 w 3437"/>
                <a:gd name="T37" fmla="*/ 1231 h 3424"/>
                <a:gd name="T38" fmla="*/ 1530 w 3437"/>
                <a:gd name="T39" fmla="*/ 1131 h 3424"/>
                <a:gd name="T40" fmla="*/ 2355 w 3437"/>
                <a:gd name="T41" fmla="*/ 306 h 3424"/>
                <a:gd name="T42" fmla="*/ 2355 w 3437"/>
                <a:gd name="T43" fmla="*/ 882 h 3424"/>
                <a:gd name="T44" fmla="*/ 1489 w 3437"/>
                <a:gd name="T45" fmla="*/ 1749 h 3424"/>
                <a:gd name="T46" fmla="*/ 1489 w 3437"/>
                <a:gd name="T47" fmla="*/ 1231 h 3424"/>
                <a:gd name="T48" fmla="*/ 2307 w 3437"/>
                <a:gd name="T49" fmla="*/ 1907 h 3424"/>
                <a:gd name="T50" fmla="*/ 2207 w 3437"/>
                <a:gd name="T51" fmla="*/ 1949 h 3424"/>
                <a:gd name="T52" fmla="*/ 1689 w 3437"/>
                <a:gd name="T53" fmla="*/ 1949 h 3424"/>
                <a:gd name="T54" fmla="*/ 2555 w 3437"/>
                <a:gd name="T55" fmla="*/ 1083 h 3424"/>
                <a:gd name="T56" fmla="*/ 3132 w 3437"/>
                <a:gd name="T57" fmla="*/ 1083 h 3424"/>
                <a:gd name="T58" fmla="*/ 2307 w 3437"/>
                <a:gd name="T59" fmla="*/ 1907 h 3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37" h="3424">
                  <a:moveTo>
                    <a:pt x="3393" y="974"/>
                  </a:moveTo>
                  <a:cubicBezTo>
                    <a:pt x="3349" y="868"/>
                    <a:pt x="3247" y="799"/>
                    <a:pt x="3132" y="799"/>
                  </a:cubicBezTo>
                  <a:cubicBezTo>
                    <a:pt x="2638" y="799"/>
                    <a:pt x="2638" y="799"/>
                    <a:pt x="2638" y="799"/>
                  </a:cubicBezTo>
                  <a:cubicBezTo>
                    <a:pt x="2638" y="306"/>
                    <a:pt x="2638" y="306"/>
                    <a:pt x="2638" y="306"/>
                  </a:cubicBezTo>
                  <a:cubicBezTo>
                    <a:pt x="2638" y="191"/>
                    <a:pt x="2569" y="88"/>
                    <a:pt x="2463" y="44"/>
                  </a:cubicBezTo>
                  <a:cubicBezTo>
                    <a:pt x="2357" y="0"/>
                    <a:pt x="2236" y="24"/>
                    <a:pt x="2155" y="106"/>
                  </a:cubicBezTo>
                  <a:cubicBezTo>
                    <a:pt x="1330" y="930"/>
                    <a:pt x="1330" y="930"/>
                    <a:pt x="1330" y="930"/>
                  </a:cubicBezTo>
                  <a:cubicBezTo>
                    <a:pt x="1250" y="1011"/>
                    <a:pt x="1206" y="1117"/>
                    <a:pt x="1206" y="1231"/>
                  </a:cubicBezTo>
                  <a:cubicBezTo>
                    <a:pt x="1206" y="2032"/>
                    <a:pt x="1206" y="2032"/>
                    <a:pt x="1206" y="2032"/>
                  </a:cubicBezTo>
                  <a:cubicBezTo>
                    <a:pt x="55" y="3182"/>
                    <a:pt x="55" y="3182"/>
                    <a:pt x="55" y="3182"/>
                  </a:cubicBezTo>
                  <a:cubicBezTo>
                    <a:pt x="0" y="3237"/>
                    <a:pt x="0" y="3327"/>
                    <a:pt x="55" y="3382"/>
                  </a:cubicBezTo>
                  <a:cubicBezTo>
                    <a:pt x="83" y="3410"/>
                    <a:pt x="119" y="3424"/>
                    <a:pt x="155" y="3424"/>
                  </a:cubicBezTo>
                  <a:cubicBezTo>
                    <a:pt x="192" y="3424"/>
                    <a:pt x="228" y="3410"/>
                    <a:pt x="255" y="3382"/>
                  </a:cubicBezTo>
                  <a:cubicBezTo>
                    <a:pt x="1406" y="2232"/>
                    <a:pt x="1406" y="2232"/>
                    <a:pt x="1406" y="2232"/>
                  </a:cubicBezTo>
                  <a:cubicBezTo>
                    <a:pt x="2207" y="2232"/>
                    <a:pt x="2207" y="2232"/>
                    <a:pt x="2207" y="2232"/>
                  </a:cubicBezTo>
                  <a:cubicBezTo>
                    <a:pt x="2320" y="2232"/>
                    <a:pt x="2427" y="2188"/>
                    <a:pt x="2507" y="2108"/>
                  </a:cubicBezTo>
                  <a:cubicBezTo>
                    <a:pt x="3332" y="1283"/>
                    <a:pt x="3332" y="1283"/>
                    <a:pt x="3332" y="1283"/>
                  </a:cubicBezTo>
                  <a:cubicBezTo>
                    <a:pt x="3413" y="1202"/>
                    <a:pt x="3437" y="1080"/>
                    <a:pt x="3393" y="974"/>
                  </a:cubicBezTo>
                  <a:close/>
                  <a:moveTo>
                    <a:pt x="1489" y="1231"/>
                  </a:moveTo>
                  <a:cubicBezTo>
                    <a:pt x="1489" y="1193"/>
                    <a:pt x="1504" y="1157"/>
                    <a:pt x="1530" y="1131"/>
                  </a:cubicBezTo>
                  <a:cubicBezTo>
                    <a:pt x="2355" y="306"/>
                    <a:pt x="2355" y="306"/>
                    <a:pt x="2355" y="306"/>
                  </a:cubicBezTo>
                  <a:cubicBezTo>
                    <a:pt x="2355" y="882"/>
                    <a:pt x="2355" y="882"/>
                    <a:pt x="2355" y="882"/>
                  </a:cubicBezTo>
                  <a:cubicBezTo>
                    <a:pt x="1489" y="1749"/>
                    <a:pt x="1489" y="1749"/>
                    <a:pt x="1489" y="1749"/>
                  </a:cubicBezTo>
                  <a:cubicBezTo>
                    <a:pt x="1489" y="1231"/>
                    <a:pt x="1489" y="1231"/>
                    <a:pt x="1489" y="1231"/>
                  </a:cubicBezTo>
                  <a:close/>
                  <a:moveTo>
                    <a:pt x="2307" y="1907"/>
                  </a:moveTo>
                  <a:cubicBezTo>
                    <a:pt x="2281" y="1934"/>
                    <a:pt x="2244" y="1949"/>
                    <a:pt x="2207" y="1949"/>
                  </a:cubicBezTo>
                  <a:cubicBezTo>
                    <a:pt x="1689" y="1949"/>
                    <a:pt x="1689" y="1949"/>
                    <a:pt x="1689" y="1949"/>
                  </a:cubicBezTo>
                  <a:cubicBezTo>
                    <a:pt x="2555" y="1083"/>
                    <a:pt x="2555" y="1083"/>
                    <a:pt x="2555" y="1083"/>
                  </a:cubicBezTo>
                  <a:cubicBezTo>
                    <a:pt x="3132" y="1083"/>
                    <a:pt x="3132" y="1083"/>
                    <a:pt x="3132" y="1083"/>
                  </a:cubicBezTo>
                  <a:lnTo>
                    <a:pt x="2307" y="1907"/>
                  </a:lnTo>
                  <a:close/>
                </a:path>
              </a:pathLst>
            </a:custGeom>
            <a:solidFill>
              <a:srgbClr val="00D0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F503B0B5-B548-4685-8207-38B668A0DC97}"/>
              </a:ext>
            </a:extLst>
          </p:cNvPr>
          <p:cNvGrpSpPr/>
          <p:nvPr/>
        </p:nvGrpSpPr>
        <p:grpSpPr>
          <a:xfrm>
            <a:off x="10565731" y="2241685"/>
            <a:ext cx="494523" cy="496747"/>
            <a:chOff x="-1682750" y="3551238"/>
            <a:chExt cx="706437" cy="709612"/>
          </a:xfrm>
          <a:solidFill>
            <a:srgbClr val="063853"/>
          </a:solidFill>
        </p:grpSpPr>
        <p:sp>
          <p:nvSpPr>
            <p:cNvPr id="130" name="Freeform 5">
              <a:extLst>
                <a:ext uri="{FF2B5EF4-FFF2-40B4-BE49-F238E27FC236}">
                  <a16:creationId xmlns:a16="http://schemas.microsoft.com/office/drawing/2014/main" id="{81F8993C-E8A5-4606-B637-25D6A88ADE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682750" y="3551238"/>
              <a:ext cx="706437" cy="709612"/>
            </a:xfrm>
            <a:custGeom>
              <a:avLst/>
              <a:gdLst>
                <a:gd name="T0" fmla="*/ 5625 w 6000"/>
                <a:gd name="T1" fmla="*/ 875 h 6000"/>
                <a:gd name="T2" fmla="*/ 5125 w 6000"/>
                <a:gd name="T3" fmla="*/ 1125 h 6000"/>
                <a:gd name="T4" fmla="*/ 5750 w 6000"/>
                <a:gd name="T5" fmla="*/ 1250 h 6000"/>
                <a:gd name="T6" fmla="*/ 5127 w 6000"/>
                <a:gd name="T7" fmla="*/ 3963 h 6000"/>
                <a:gd name="T8" fmla="*/ 4875 w 6000"/>
                <a:gd name="T9" fmla="*/ 2267 h 6000"/>
                <a:gd name="T10" fmla="*/ 4750 w 6000"/>
                <a:gd name="T11" fmla="*/ 0 h 6000"/>
                <a:gd name="T12" fmla="*/ 2105 w 6000"/>
                <a:gd name="T13" fmla="*/ 2 h 6000"/>
                <a:gd name="T14" fmla="*/ 2095 w 6000"/>
                <a:gd name="T15" fmla="*/ 4 h 6000"/>
                <a:gd name="T16" fmla="*/ 2085 w 6000"/>
                <a:gd name="T17" fmla="*/ 7 h 6000"/>
                <a:gd name="T18" fmla="*/ 2074 w 6000"/>
                <a:gd name="T19" fmla="*/ 11 h 6000"/>
                <a:gd name="T20" fmla="*/ 2064 w 6000"/>
                <a:gd name="T21" fmla="*/ 16 h 6000"/>
                <a:gd name="T22" fmla="*/ 2052 w 6000"/>
                <a:gd name="T23" fmla="*/ 24 h 6000"/>
                <a:gd name="T24" fmla="*/ 2037 w 6000"/>
                <a:gd name="T25" fmla="*/ 37 h 6000"/>
                <a:gd name="T26" fmla="*/ 1125 w 6000"/>
                <a:gd name="T27" fmla="*/ 1000 h 6000"/>
                <a:gd name="T28" fmla="*/ 875 w 6000"/>
                <a:gd name="T29" fmla="*/ 3500 h 6000"/>
                <a:gd name="T30" fmla="*/ 1250 w 6000"/>
                <a:gd name="T31" fmla="*/ 3750 h 6000"/>
                <a:gd name="T32" fmla="*/ 2582 w 6000"/>
                <a:gd name="T33" fmla="*/ 3750 h 6000"/>
                <a:gd name="T34" fmla="*/ 4589 w 6000"/>
                <a:gd name="T35" fmla="*/ 4501 h 6000"/>
                <a:gd name="T36" fmla="*/ 375 w 6000"/>
                <a:gd name="T37" fmla="*/ 4875 h 6000"/>
                <a:gd name="T38" fmla="*/ 250 w 6000"/>
                <a:gd name="T39" fmla="*/ 1250 h 6000"/>
                <a:gd name="T40" fmla="*/ 875 w 6000"/>
                <a:gd name="T41" fmla="*/ 1125 h 6000"/>
                <a:gd name="T42" fmla="*/ 375 w 6000"/>
                <a:gd name="T43" fmla="*/ 875 h 6000"/>
                <a:gd name="T44" fmla="*/ 0 w 6000"/>
                <a:gd name="T45" fmla="*/ 4750 h 6000"/>
                <a:gd name="T46" fmla="*/ 2181 w 6000"/>
                <a:gd name="T47" fmla="*/ 5125 h 6000"/>
                <a:gd name="T48" fmla="*/ 1437 w 6000"/>
                <a:gd name="T49" fmla="*/ 5875 h 6000"/>
                <a:gd name="T50" fmla="*/ 4437 w 6000"/>
                <a:gd name="T51" fmla="*/ 6000 h 6000"/>
                <a:gd name="T52" fmla="*/ 4437 w 6000"/>
                <a:gd name="T53" fmla="*/ 5750 h 6000"/>
                <a:gd name="T54" fmla="*/ 5212 w 6000"/>
                <a:gd name="T55" fmla="*/ 5125 h 6000"/>
                <a:gd name="T56" fmla="*/ 5619 w 6000"/>
                <a:gd name="T57" fmla="*/ 5375 h 6000"/>
                <a:gd name="T58" fmla="*/ 5999 w 6000"/>
                <a:gd name="T59" fmla="*/ 5000 h 6000"/>
                <a:gd name="T60" fmla="*/ 6000 w 6000"/>
                <a:gd name="T61" fmla="*/ 1250 h 6000"/>
                <a:gd name="T62" fmla="*/ 2164 w 6000"/>
                <a:gd name="T63" fmla="*/ 5750 h 6000"/>
                <a:gd name="T64" fmla="*/ 3562 w 6000"/>
                <a:gd name="T65" fmla="*/ 5125 h 6000"/>
                <a:gd name="T66" fmla="*/ 1375 w 6000"/>
                <a:gd name="T67" fmla="*/ 3500 h 6000"/>
                <a:gd name="T68" fmla="*/ 2000 w 6000"/>
                <a:gd name="T69" fmla="*/ 427 h 6000"/>
                <a:gd name="T70" fmla="*/ 1750 w 6000"/>
                <a:gd name="T71" fmla="*/ 875 h 6000"/>
                <a:gd name="T72" fmla="*/ 2125 w 6000"/>
                <a:gd name="T73" fmla="*/ 1125 h 6000"/>
                <a:gd name="T74" fmla="*/ 2250 w 6000"/>
                <a:gd name="T75" fmla="*/ 250 h 6000"/>
                <a:gd name="T76" fmla="*/ 4625 w 6000"/>
                <a:gd name="T77" fmla="*/ 2075 h 6000"/>
                <a:gd name="T78" fmla="*/ 3323 w 6000"/>
                <a:gd name="T79" fmla="*/ 2000 h 6000"/>
                <a:gd name="T80" fmla="*/ 1750 w 6000"/>
                <a:gd name="T81" fmla="*/ 2250 h 6000"/>
                <a:gd name="T82" fmla="*/ 2661 w 6000"/>
                <a:gd name="T83" fmla="*/ 2625 h 6000"/>
                <a:gd name="T84" fmla="*/ 1750 w 6000"/>
                <a:gd name="T85" fmla="*/ 2875 h 6000"/>
                <a:gd name="T86" fmla="*/ 2500 w 6000"/>
                <a:gd name="T87" fmla="*/ 3278 h 6000"/>
                <a:gd name="T88" fmla="*/ 1375 w 6000"/>
                <a:gd name="T89" fmla="*/ 3500 h 6000"/>
                <a:gd name="T90" fmla="*/ 3903 w 6000"/>
                <a:gd name="T91" fmla="*/ 2125 h 6000"/>
                <a:gd name="T92" fmla="*/ 5056 w 6000"/>
                <a:gd name="T93" fmla="*/ 3278 h 6000"/>
                <a:gd name="T94" fmla="*/ 4713 w 6000"/>
                <a:gd name="T95" fmla="*/ 4098 h 6000"/>
                <a:gd name="T96" fmla="*/ 2750 w 6000"/>
                <a:gd name="T97" fmla="*/ 3278 h 6000"/>
                <a:gd name="T98" fmla="*/ 5171 w 6000"/>
                <a:gd name="T99" fmla="*/ 4362 h 6000"/>
                <a:gd name="T100" fmla="*/ 4802 w 6000"/>
                <a:gd name="T101" fmla="*/ 4363 h 6000"/>
                <a:gd name="T102" fmla="*/ 5527 w 6000"/>
                <a:gd name="T103" fmla="*/ 5087 h 6000"/>
                <a:gd name="T104" fmla="*/ 5348 w 6000"/>
                <a:gd name="T105" fmla="*/ 4539 h 6000"/>
                <a:gd name="T106" fmla="*/ 5750 w 6000"/>
                <a:gd name="T107" fmla="*/ 4995 h 6000"/>
                <a:gd name="T108" fmla="*/ 5712 w 6000"/>
                <a:gd name="T109" fmla="*/ 5087 h 6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000" h="6000">
                  <a:moveTo>
                    <a:pt x="6000" y="1250"/>
                  </a:moveTo>
                  <a:cubicBezTo>
                    <a:pt x="6000" y="1043"/>
                    <a:pt x="5832" y="875"/>
                    <a:pt x="5625" y="875"/>
                  </a:cubicBezTo>
                  <a:cubicBezTo>
                    <a:pt x="5125" y="875"/>
                    <a:pt x="5125" y="875"/>
                    <a:pt x="5125" y="875"/>
                  </a:cubicBezTo>
                  <a:cubicBezTo>
                    <a:pt x="5125" y="1125"/>
                    <a:pt x="5125" y="1125"/>
                    <a:pt x="5125" y="1125"/>
                  </a:cubicBezTo>
                  <a:cubicBezTo>
                    <a:pt x="5625" y="1125"/>
                    <a:pt x="5625" y="1125"/>
                    <a:pt x="5625" y="1125"/>
                  </a:cubicBezTo>
                  <a:cubicBezTo>
                    <a:pt x="5694" y="1125"/>
                    <a:pt x="5750" y="1181"/>
                    <a:pt x="5750" y="1250"/>
                  </a:cubicBezTo>
                  <a:cubicBezTo>
                    <a:pt x="5750" y="4586"/>
                    <a:pt x="5750" y="4586"/>
                    <a:pt x="5750" y="4586"/>
                  </a:cubicBezTo>
                  <a:cubicBezTo>
                    <a:pt x="5127" y="3963"/>
                    <a:pt x="5127" y="3963"/>
                    <a:pt x="5127" y="3963"/>
                  </a:cubicBezTo>
                  <a:cubicBezTo>
                    <a:pt x="5426" y="3429"/>
                    <a:pt x="5349" y="2740"/>
                    <a:pt x="4895" y="2286"/>
                  </a:cubicBezTo>
                  <a:cubicBezTo>
                    <a:pt x="4888" y="2279"/>
                    <a:pt x="4882" y="2273"/>
                    <a:pt x="4875" y="2267"/>
                  </a:cubicBezTo>
                  <a:cubicBezTo>
                    <a:pt x="4875" y="125"/>
                    <a:pt x="4875" y="125"/>
                    <a:pt x="4875" y="125"/>
                  </a:cubicBezTo>
                  <a:cubicBezTo>
                    <a:pt x="4875" y="56"/>
                    <a:pt x="4819" y="0"/>
                    <a:pt x="4750" y="0"/>
                  </a:cubicBezTo>
                  <a:cubicBezTo>
                    <a:pt x="2125" y="0"/>
                    <a:pt x="2125" y="0"/>
                    <a:pt x="2125" y="0"/>
                  </a:cubicBezTo>
                  <a:cubicBezTo>
                    <a:pt x="2118" y="0"/>
                    <a:pt x="2112" y="1"/>
                    <a:pt x="2105" y="2"/>
                  </a:cubicBezTo>
                  <a:cubicBezTo>
                    <a:pt x="2104" y="2"/>
                    <a:pt x="2102" y="2"/>
                    <a:pt x="2101" y="2"/>
                  </a:cubicBezTo>
                  <a:cubicBezTo>
                    <a:pt x="2099" y="3"/>
                    <a:pt x="2097" y="3"/>
                    <a:pt x="2095" y="4"/>
                  </a:cubicBezTo>
                  <a:cubicBezTo>
                    <a:pt x="2093" y="4"/>
                    <a:pt x="2091" y="5"/>
                    <a:pt x="2089" y="5"/>
                  </a:cubicBezTo>
                  <a:cubicBezTo>
                    <a:pt x="2088" y="6"/>
                    <a:pt x="2086" y="6"/>
                    <a:pt x="2085" y="7"/>
                  </a:cubicBezTo>
                  <a:cubicBezTo>
                    <a:pt x="2082" y="8"/>
                    <a:pt x="2080" y="8"/>
                    <a:pt x="2077" y="9"/>
                  </a:cubicBezTo>
                  <a:cubicBezTo>
                    <a:pt x="2076" y="10"/>
                    <a:pt x="2075" y="10"/>
                    <a:pt x="2074" y="11"/>
                  </a:cubicBezTo>
                  <a:cubicBezTo>
                    <a:pt x="2072" y="12"/>
                    <a:pt x="2069" y="13"/>
                    <a:pt x="2066" y="15"/>
                  </a:cubicBezTo>
                  <a:cubicBezTo>
                    <a:pt x="2065" y="15"/>
                    <a:pt x="2065" y="16"/>
                    <a:pt x="2064" y="16"/>
                  </a:cubicBezTo>
                  <a:cubicBezTo>
                    <a:pt x="2061" y="18"/>
                    <a:pt x="2058" y="19"/>
                    <a:pt x="2056" y="21"/>
                  </a:cubicBezTo>
                  <a:cubicBezTo>
                    <a:pt x="2054" y="22"/>
                    <a:pt x="2053" y="23"/>
                    <a:pt x="2052" y="24"/>
                  </a:cubicBezTo>
                  <a:cubicBezTo>
                    <a:pt x="2050" y="25"/>
                    <a:pt x="2048" y="27"/>
                    <a:pt x="2046" y="28"/>
                  </a:cubicBezTo>
                  <a:cubicBezTo>
                    <a:pt x="2043" y="31"/>
                    <a:pt x="2040" y="34"/>
                    <a:pt x="2037" y="37"/>
                  </a:cubicBezTo>
                  <a:cubicBezTo>
                    <a:pt x="1162" y="912"/>
                    <a:pt x="1162" y="912"/>
                    <a:pt x="1162" y="912"/>
                  </a:cubicBezTo>
                  <a:cubicBezTo>
                    <a:pt x="1138" y="935"/>
                    <a:pt x="1125" y="967"/>
                    <a:pt x="1125" y="1000"/>
                  </a:cubicBezTo>
                  <a:cubicBezTo>
                    <a:pt x="1125" y="3500"/>
                    <a:pt x="1125" y="3500"/>
                    <a:pt x="1125" y="3500"/>
                  </a:cubicBezTo>
                  <a:cubicBezTo>
                    <a:pt x="875" y="3500"/>
                    <a:pt x="875" y="3500"/>
                    <a:pt x="875" y="3500"/>
                  </a:cubicBezTo>
                  <a:cubicBezTo>
                    <a:pt x="875" y="3750"/>
                    <a:pt x="875" y="3750"/>
                    <a:pt x="875" y="3750"/>
                  </a:cubicBezTo>
                  <a:cubicBezTo>
                    <a:pt x="1250" y="3750"/>
                    <a:pt x="1250" y="3750"/>
                    <a:pt x="1250" y="3750"/>
                  </a:cubicBezTo>
                  <a:cubicBezTo>
                    <a:pt x="1375" y="3750"/>
                    <a:pt x="1375" y="3750"/>
                    <a:pt x="1375" y="3750"/>
                  </a:cubicBezTo>
                  <a:cubicBezTo>
                    <a:pt x="2582" y="3750"/>
                    <a:pt x="2582" y="3750"/>
                    <a:pt x="2582" y="3750"/>
                  </a:cubicBezTo>
                  <a:cubicBezTo>
                    <a:pt x="2775" y="4292"/>
                    <a:pt x="3294" y="4681"/>
                    <a:pt x="3903" y="4681"/>
                  </a:cubicBezTo>
                  <a:cubicBezTo>
                    <a:pt x="4145" y="4680"/>
                    <a:pt x="4381" y="4618"/>
                    <a:pt x="4589" y="4501"/>
                  </a:cubicBezTo>
                  <a:cubicBezTo>
                    <a:pt x="4962" y="4875"/>
                    <a:pt x="4962" y="4875"/>
                    <a:pt x="4962" y="4875"/>
                  </a:cubicBezTo>
                  <a:cubicBezTo>
                    <a:pt x="375" y="4875"/>
                    <a:pt x="375" y="4875"/>
                    <a:pt x="375" y="4875"/>
                  </a:cubicBezTo>
                  <a:cubicBezTo>
                    <a:pt x="306" y="4875"/>
                    <a:pt x="250" y="4819"/>
                    <a:pt x="250" y="4750"/>
                  </a:cubicBezTo>
                  <a:cubicBezTo>
                    <a:pt x="250" y="1250"/>
                    <a:pt x="250" y="1250"/>
                    <a:pt x="250" y="1250"/>
                  </a:cubicBezTo>
                  <a:cubicBezTo>
                    <a:pt x="250" y="1181"/>
                    <a:pt x="306" y="1125"/>
                    <a:pt x="375" y="1125"/>
                  </a:cubicBezTo>
                  <a:cubicBezTo>
                    <a:pt x="875" y="1125"/>
                    <a:pt x="875" y="1125"/>
                    <a:pt x="875" y="1125"/>
                  </a:cubicBezTo>
                  <a:cubicBezTo>
                    <a:pt x="875" y="875"/>
                    <a:pt x="875" y="875"/>
                    <a:pt x="875" y="875"/>
                  </a:cubicBezTo>
                  <a:cubicBezTo>
                    <a:pt x="375" y="875"/>
                    <a:pt x="375" y="875"/>
                    <a:pt x="375" y="875"/>
                  </a:cubicBezTo>
                  <a:cubicBezTo>
                    <a:pt x="168" y="875"/>
                    <a:pt x="0" y="1043"/>
                    <a:pt x="0" y="1250"/>
                  </a:cubicBezTo>
                  <a:cubicBezTo>
                    <a:pt x="0" y="4750"/>
                    <a:pt x="0" y="4750"/>
                    <a:pt x="0" y="4750"/>
                  </a:cubicBezTo>
                  <a:cubicBezTo>
                    <a:pt x="0" y="4957"/>
                    <a:pt x="168" y="5125"/>
                    <a:pt x="375" y="5125"/>
                  </a:cubicBezTo>
                  <a:cubicBezTo>
                    <a:pt x="2181" y="5125"/>
                    <a:pt x="2181" y="5125"/>
                    <a:pt x="2181" y="5125"/>
                  </a:cubicBezTo>
                  <a:cubicBezTo>
                    <a:pt x="2121" y="5726"/>
                    <a:pt x="1622" y="5749"/>
                    <a:pt x="1562" y="5750"/>
                  </a:cubicBezTo>
                  <a:cubicBezTo>
                    <a:pt x="1493" y="5750"/>
                    <a:pt x="1437" y="5806"/>
                    <a:pt x="1437" y="5875"/>
                  </a:cubicBezTo>
                  <a:cubicBezTo>
                    <a:pt x="1437" y="5944"/>
                    <a:pt x="1493" y="6000"/>
                    <a:pt x="1562" y="6000"/>
                  </a:cubicBezTo>
                  <a:cubicBezTo>
                    <a:pt x="4437" y="6000"/>
                    <a:pt x="4437" y="6000"/>
                    <a:pt x="4437" y="6000"/>
                  </a:cubicBezTo>
                  <a:cubicBezTo>
                    <a:pt x="4507" y="6000"/>
                    <a:pt x="4562" y="5944"/>
                    <a:pt x="4562" y="5875"/>
                  </a:cubicBezTo>
                  <a:cubicBezTo>
                    <a:pt x="4562" y="5806"/>
                    <a:pt x="4507" y="5750"/>
                    <a:pt x="4437" y="5750"/>
                  </a:cubicBezTo>
                  <a:cubicBezTo>
                    <a:pt x="4414" y="5750"/>
                    <a:pt x="3882" y="5742"/>
                    <a:pt x="3819" y="5125"/>
                  </a:cubicBezTo>
                  <a:cubicBezTo>
                    <a:pt x="5212" y="5125"/>
                    <a:pt x="5212" y="5125"/>
                    <a:pt x="5212" y="5125"/>
                  </a:cubicBezTo>
                  <a:cubicBezTo>
                    <a:pt x="5350" y="5264"/>
                    <a:pt x="5350" y="5264"/>
                    <a:pt x="5350" y="5264"/>
                  </a:cubicBezTo>
                  <a:cubicBezTo>
                    <a:pt x="5422" y="5335"/>
                    <a:pt x="5519" y="5375"/>
                    <a:pt x="5619" y="5375"/>
                  </a:cubicBezTo>
                  <a:cubicBezTo>
                    <a:pt x="5720" y="5375"/>
                    <a:pt x="5817" y="5334"/>
                    <a:pt x="5888" y="5263"/>
                  </a:cubicBezTo>
                  <a:cubicBezTo>
                    <a:pt x="5961" y="5190"/>
                    <a:pt x="5998" y="5095"/>
                    <a:pt x="5999" y="5000"/>
                  </a:cubicBezTo>
                  <a:cubicBezTo>
                    <a:pt x="6000" y="5000"/>
                    <a:pt x="6000" y="5000"/>
                    <a:pt x="6000" y="5000"/>
                  </a:cubicBezTo>
                  <a:lnTo>
                    <a:pt x="6000" y="1250"/>
                  </a:lnTo>
                  <a:close/>
                  <a:moveTo>
                    <a:pt x="3836" y="5750"/>
                  </a:moveTo>
                  <a:cubicBezTo>
                    <a:pt x="2164" y="5750"/>
                    <a:pt x="2164" y="5750"/>
                    <a:pt x="2164" y="5750"/>
                  </a:cubicBezTo>
                  <a:cubicBezTo>
                    <a:pt x="2327" y="5580"/>
                    <a:pt x="2424" y="5358"/>
                    <a:pt x="2438" y="5125"/>
                  </a:cubicBezTo>
                  <a:cubicBezTo>
                    <a:pt x="3562" y="5125"/>
                    <a:pt x="3562" y="5125"/>
                    <a:pt x="3562" y="5125"/>
                  </a:cubicBezTo>
                  <a:cubicBezTo>
                    <a:pt x="3576" y="5358"/>
                    <a:pt x="3673" y="5580"/>
                    <a:pt x="3836" y="5750"/>
                  </a:cubicBezTo>
                  <a:close/>
                  <a:moveTo>
                    <a:pt x="1375" y="3500"/>
                  </a:moveTo>
                  <a:cubicBezTo>
                    <a:pt x="1375" y="1052"/>
                    <a:pt x="1375" y="1052"/>
                    <a:pt x="1375" y="1052"/>
                  </a:cubicBezTo>
                  <a:cubicBezTo>
                    <a:pt x="2000" y="427"/>
                    <a:pt x="2000" y="427"/>
                    <a:pt x="2000" y="427"/>
                  </a:cubicBezTo>
                  <a:cubicBezTo>
                    <a:pt x="2000" y="875"/>
                    <a:pt x="2000" y="875"/>
                    <a:pt x="2000" y="875"/>
                  </a:cubicBezTo>
                  <a:cubicBezTo>
                    <a:pt x="1750" y="875"/>
                    <a:pt x="1750" y="875"/>
                    <a:pt x="1750" y="875"/>
                  </a:cubicBezTo>
                  <a:cubicBezTo>
                    <a:pt x="1750" y="1125"/>
                    <a:pt x="1750" y="1125"/>
                    <a:pt x="1750" y="1125"/>
                  </a:cubicBezTo>
                  <a:cubicBezTo>
                    <a:pt x="2125" y="1125"/>
                    <a:pt x="2125" y="1125"/>
                    <a:pt x="2125" y="1125"/>
                  </a:cubicBezTo>
                  <a:cubicBezTo>
                    <a:pt x="2194" y="1125"/>
                    <a:pt x="2250" y="1069"/>
                    <a:pt x="2250" y="1000"/>
                  </a:cubicBezTo>
                  <a:cubicBezTo>
                    <a:pt x="2250" y="250"/>
                    <a:pt x="2250" y="250"/>
                    <a:pt x="2250" y="250"/>
                  </a:cubicBezTo>
                  <a:cubicBezTo>
                    <a:pt x="4625" y="250"/>
                    <a:pt x="4625" y="250"/>
                    <a:pt x="4625" y="250"/>
                  </a:cubicBezTo>
                  <a:cubicBezTo>
                    <a:pt x="4625" y="2075"/>
                    <a:pt x="4625" y="2075"/>
                    <a:pt x="4625" y="2075"/>
                  </a:cubicBezTo>
                  <a:cubicBezTo>
                    <a:pt x="4409" y="1945"/>
                    <a:pt x="4159" y="1875"/>
                    <a:pt x="3903" y="1875"/>
                  </a:cubicBezTo>
                  <a:cubicBezTo>
                    <a:pt x="3696" y="1875"/>
                    <a:pt x="3500" y="1920"/>
                    <a:pt x="3323" y="2000"/>
                  </a:cubicBezTo>
                  <a:cubicBezTo>
                    <a:pt x="1750" y="2000"/>
                    <a:pt x="1750" y="2000"/>
                    <a:pt x="1750" y="2000"/>
                  </a:cubicBezTo>
                  <a:cubicBezTo>
                    <a:pt x="1750" y="2250"/>
                    <a:pt x="1750" y="2250"/>
                    <a:pt x="1750" y="2250"/>
                  </a:cubicBezTo>
                  <a:cubicBezTo>
                    <a:pt x="2948" y="2250"/>
                    <a:pt x="2948" y="2250"/>
                    <a:pt x="2948" y="2250"/>
                  </a:cubicBezTo>
                  <a:cubicBezTo>
                    <a:pt x="2833" y="2357"/>
                    <a:pt x="2735" y="2484"/>
                    <a:pt x="2661" y="2625"/>
                  </a:cubicBezTo>
                  <a:cubicBezTo>
                    <a:pt x="1750" y="2625"/>
                    <a:pt x="1750" y="2625"/>
                    <a:pt x="1750" y="2625"/>
                  </a:cubicBezTo>
                  <a:cubicBezTo>
                    <a:pt x="1750" y="2875"/>
                    <a:pt x="1750" y="2875"/>
                    <a:pt x="1750" y="2875"/>
                  </a:cubicBezTo>
                  <a:cubicBezTo>
                    <a:pt x="2559" y="2875"/>
                    <a:pt x="2559" y="2875"/>
                    <a:pt x="2559" y="2875"/>
                  </a:cubicBezTo>
                  <a:cubicBezTo>
                    <a:pt x="2521" y="3003"/>
                    <a:pt x="2500" y="3138"/>
                    <a:pt x="2500" y="3278"/>
                  </a:cubicBezTo>
                  <a:cubicBezTo>
                    <a:pt x="2500" y="3353"/>
                    <a:pt x="2506" y="3428"/>
                    <a:pt x="2518" y="3500"/>
                  </a:cubicBezTo>
                  <a:cubicBezTo>
                    <a:pt x="1375" y="3500"/>
                    <a:pt x="1375" y="3500"/>
                    <a:pt x="1375" y="3500"/>
                  </a:cubicBezTo>
                  <a:close/>
                  <a:moveTo>
                    <a:pt x="2750" y="3278"/>
                  </a:moveTo>
                  <a:cubicBezTo>
                    <a:pt x="2750" y="2641"/>
                    <a:pt x="3266" y="2125"/>
                    <a:pt x="3903" y="2125"/>
                  </a:cubicBezTo>
                  <a:cubicBezTo>
                    <a:pt x="4209" y="2124"/>
                    <a:pt x="4502" y="2246"/>
                    <a:pt x="4718" y="2462"/>
                  </a:cubicBezTo>
                  <a:cubicBezTo>
                    <a:pt x="4934" y="2679"/>
                    <a:pt x="5056" y="2972"/>
                    <a:pt x="5056" y="3278"/>
                  </a:cubicBezTo>
                  <a:cubicBezTo>
                    <a:pt x="5056" y="3593"/>
                    <a:pt x="4929" y="3879"/>
                    <a:pt x="4723" y="4088"/>
                  </a:cubicBezTo>
                  <a:cubicBezTo>
                    <a:pt x="4713" y="4098"/>
                    <a:pt x="4713" y="4098"/>
                    <a:pt x="4713" y="4098"/>
                  </a:cubicBezTo>
                  <a:cubicBezTo>
                    <a:pt x="4504" y="4304"/>
                    <a:pt x="4219" y="4430"/>
                    <a:pt x="3903" y="4430"/>
                  </a:cubicBezTo>
                  <a:cubicBezTo>
                    <a:pt x="3266" y="4431"/>
                    <a:pt x="2750" y="3915"/>
                    <a:pt x="2750" y="3278"/>
                  </a:cubicBezTo>
                  <a:close/>
                  <a:moveTo>
                    <a:pt x="4987" y="4178"/>
                  </a:moveTo>
                  <a:cubicBezTo>
                    <a:pt x="5171" y="4362"/>
                    <a:pt x="5171" y="4362"/>
                    <a:pt x="5171" y="4362"/>
                  </a:cubicBezTo>
                  <a:cubicBezTo>
                    <a:pt x="4987" y="4547"/>
                    <a:pt x="4987" y="4547"/>
                    <a:pt x="4987" y="4547"/>
                  </a:cubicBezTo>
                  <a:cubicBezTo>
                    <a:pt x="4802" y="4363"/>
                    <a:pt x="4802" y="4363"/>
                    <a:pt x="4802" y="4363"/>
                  </a:cubicBezTo>
                  <a:lnTo>
                    <a:pt x="4987" y="4178"/>
                  </a:lnTo>
                  <a:close/>
                  <a:moveTo>
                    <a:pt x="5527" y="5087"/>
                  </a:moveTo>
                  <a:cubicBezTo>
                    <a:pt x="5163" y="4724"/>
                    <a:pt x="5163" y="4724"/>
                    <a:pt x="5163" y="4724"/>
                  </a:cubicBezTo>
                  <a:cubicBezTo>
                    <a:pt x="5348" y="4539"/>
                    <a:pt x="5348" y="4539"/>
                    <a:pt x="5348" y="4539"/>
                  </a:cubicBezTo>
                  <a:cubicBezTo>
                    <a:pt x="5712" y="4903"/>
                    <a:pt x="5712" y="4903"/>
                    <a:pt x="5712" y="4903"/>
                  </a:cubicBezTo>
                  <a:cubicBezTo>
                    <a:pt x="5737" y="4928"/>
                    <a:pt x="5750" y="4961"/>
                    <a:pt x="5750" y="4995"/>
                  </a:cubicBezTo>
                  <a:cubicBezTo>
                    <a:pt x="5750" y="4996"/>
                    <a:pt x="5750" y="4996"/>
                    <a:pt x="5750" y="4996"/>
                  </a:cubicBezTo>
                  <a:cubicBezTo>
                    <a:pt x="5750" y="5029"/>
                    <a:pt x="5737" y="5062"/>
                    <a:pt x="5712" y="5087"/>
                  </a:cubicBezTo>
                  <a:cubicBezTo>
                    <a:pt x="5661" y="5138"/>
                    <a:pt x="5578" y="5138"/>
                    <a:pt x="5527" y="50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1" name="Freeform 6">
              <a:extLst>
                <a:ext uri="{FF2B5EF4-FFF2-40B4-BE49-F238E27FC236}">
                  <a16:creationId xmlns:a16="http://schemas.microsoft.com/office/drawing/2014/main" id="{6E4434C3-80A7-4FB6-B34E-1AC7D5C9D36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96988" y="3822700"/>
              <a:ext cx="147637" cy="63500"/>
            </a:xfrm>
            <a:custGeom>
              <a:avLst/>
              <a:gdLst>
                <a:gd name="T0" fmla="*/ 0 w 1261"/>
                <a:gd name="T1" fmla="*/ 347 h 524"/>
                <a:gd name="T2" fmla="*/ 177 w 1261"/>
                <a:gd name="T3" fmla="*/ 524 h 524"/>
                <a:gd name="T4" fmla="*/ 1085 w 1261"/>
                <a:gd name="T5" fmla="*/ 524 h 524"/>
                <a:gd name="T6" fmla="*/ 1261 w 1261"/>
                <a:gd name="T7" fmla="*/ 347 h 524"/>
                <a:gd name="T8" fmla="*/ 0 w 1261"/>
                <a:gd name="T9" fmla="*/ 347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1" h="524">
                  <a:moveTo>
                    <a:pt x="0" y="347"/>
                  </a:moveTo>
                  <a:cubicBezTo>
                    <a:pt x="177" y="524"/>
                    <a:pt x="177" y="524"/>
                    <a:pt x="177" y="524"/>
                  </a:cubicBezTo>
                  <a:cubicBezTo>
                    <a:pt x="428" y="274"/>
                    <a:pt x="834" y="274"/>
                    <a:pt x="1085" y="524"/>
                  </a:cubicBezTo>
                  <a:cubicBezTo>
                    <a:pt x="1261" y="347"/>
                    <a:pt x="1261" y="347"/>
                    <a:pt x="1261" y="347"/>
                  </a:cubicBezTo>
                  <a:cubicBezTo>
                    <a:pt x="913" y="0"/>
                    <a:pt x="349" y="0"/>
                    <a:pt x="0" y="3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2" name="Freeform 7">
              <a:extLst>
                <a:ext uri="{FF2B5EF4-FFF2-40B4-BE49-F238E27FC236}">
                  <a16:creationId xmlns:a16="http://schemas.microsoft.com/office/drawing/2014/main" id="{FCDBA920-6357-49E1-9AEA-1B94C678C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24013" y="4024313"/>
              <a:ext cx="74612" cy="74612"/>
            </a:xfrm>
            <a:custGeom>
              <a:avLst/>
              <a:gdLst>
                <a:gd name="T0" fmla="*/ 0 w 625"/>
                <a:gd name="T1" fmla="*/ 0 h 625"/>
                <a:gd name="T2" fmla="*/ 0 w 625"/>
                <a:gd name="T3" fmla="*/ 500 h 625"/>
                <a:gd name="T4" fmla="*/ 125 w 625"/>
                <a:gd name="T5" fmla="*/ 625 h 625"/>
                <a:gd name="T6" fmla="*/ 625 w 625"/>
                <a:gd name="T7" fmla="*/ 625 h 625"/>
                <a:gd name="T8" fmla="*/ 625 w 625"/>
                <a:gd name="T9" fmla="*/ 375 h 625"/>
                <a:gd name="T10" fmla="*/ 250 w 625"/>
                <a:gd name="T11" fmla="*/ 375 h 625"/>
                <a:gd name="T12" fmla="*/ 250 w 625"/>
                <a:gd name="T13" fmla="*/ 0 h 625"/>
                <a:gd name="T14" fmla="*/ 0 w 625"/>
                <a:gd name="T15" fmla="*/ 0 h 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5" h="625">
                  <a:moveTo>
                    <a:pt x="0" y="0"/>
                  </a:moveTo>
                  <a:cubicBezTo>
                    <a:pt x="0" y="500"/>
                    <a:pt x="0" y="500"/>
                    <a:pt x="0" y="500"/>
                  </a:cubicBezTo>
                  <a:cubicBezTo>
                    <a:pt x="0" y="569"/>
                    <a:pt x="56" y="625"/>
                    <a:pt x="125" y="625"/>
                  </a:cubicBezTo>
                  <a:cubicBezTo>
                    <a:pt x="625" y="625"/>
                    <a:pt x="625" y="625"/>
                    <a:pt x="625" y="625"/>
                  </a:cubicBezTo>
                  <a:cubicBezTo>
                    <a:pt x="625" y="375"/>
                    <a:pt x="625" y="375"/>
                    <a:pt x="625" y="375"/>
                  </a:cubicBezTo>
                  <a:cubicBezTo>
                    <a:pt x="250" y="375"/>
                    <a:pt x="250" y="375"/>
                    <a:pt x="250" y="375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3" name="Rectangle 8">
              <a:extLst>
                <a:ext uri="{FF2B5EF4-FFF2-40B4-BE49-F238E27FC236}">
                  <a16:creationId xmlns:a16="http://schemas.microsoft.com/office/drawing/2014/main" id="{496F7C93-6093-401D-AEFD-27BF98CC8B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20825" y="4068763"/>
              <a:ext cx="30162" cy="301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4" name="Rectangle 9">
              <a:extLst>
                <a:ext uri="{FF2B5EF4-FFF2-40B4-BE49-F238E27FC236}">
                  <a16:creationId xmlns:a16="http://schemas.microsoft.com/office/drawing/2014/main" id="{CB966B91-85B0-4FE1-B714-3136FBD81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476375" y="3714750"/>
              <a:ext cx="293687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4CBC16A9-C91D-40AE-9F9C-C1E1F5E794DA}"/>
              </a:ext>
            </a:extLst>
          </p:cNvPr>
          <p:cNvGrpSpPr/>
          <p:nvPr/>
        </p:nvGrpSpPr>
        <p:grpSpPr>
          <a:xfrm>
            <a:off x="5847149" y="2244381"/>
            <a:ext cx="491355" cy="491355"/>
            <a:chOff x="-1090613" y="3879850"/>
            <a:chExt cx="915988" cy="915988"/>
          </a:xfrm>
          <a:solidFill>
            <a:srgbClr val="0E7FBE"/>
          </a:solidFill>
        </p:grpSpPr>
        <p:sp>
          <p:nvSpPr>
            <p:cNvPr id="136" name="Freeform 41">
              <a:extLst>
                <a:ext uri="{FF2B5EF4-FFF2-40B4-BE49-F238E27FC236}">
                  <a16:creationId xmlns:a16="http://schemas.microsoft.com/office/drawing/2014/main" id="{36966160-4448-4BF3-B85D-482A480B26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917575" y="3879850"/>
              <a:ext cx="569913" cy="915988"/>
            </a:xfrm>
            <a:custGeom>
              <a:avLst/>
              <a:gdLst>
                <a:gd name="T0" fmla="*/ 638 w 1276"/>
                <a:gd name="T1" fmla="*/ 0 h 2048"/>
                <a:gd name="T2" fmla="*/ 0 w 1276"/>
                <a:gd name="T3" fmla="*/ 638 h 2048"/>
                <a:gd name="T4" fmla="*/ 257 w 1276"/>
                <a:gd name="T5" fmla="*/ 1150 h 2048"/>
                <a:gd name="T6" fmla="*/ 257 w 1276"/>
                <a:gd name="T7" fmla="*/ 1204 h 2048"/>
                <a:gd name="T8" fmla="*/ 192 w 1276"/>
                <a:gd name="T9" fmla="*/ 1345 h 2048"/>
                <a:gd name="T10" fmla="*/ 243 w 1276"/>
                <a:gd name="T11" fmla="*/ 1474 h 2048"/>
                <a:gd name="T12" fmla="*/ 192 w 1276"/>
                <a:gd name="T13" fmla="*/ 1602 h 2048"/>
                <a:gd name="T14" fmla="*/ 325 w 1276"/>
                <a:gd name="T15" fmla="*/ 1783 h 2048"/>
                <a:gd name="T16" fmla="*/ 638 w 1276"/>
                <a:gd name="T17" fmla="*/ 2048 h 2048"/>
                <a:gd name="T18" fmla="*/ 951 w 1276"/>
                <a:gd name="T19" fmla="*/ 1783 h 2048"/>
                <a:gd name="T20" fmla="*/ 1084 w 1276"/>
                <a:gd name="T21" fmla="*/ 1602 h 2048"/>
                <a:gd name="T22" fmla="*/ 1033 w 1276"/>
                <a:gd name="T23" fmla="*/ 1474 h 2048"/>
                <a:gd name="T24" fmla="*/ 1084 w 1276"/>
                <a:gd name="T25" fmla="*/ 1345 h 2048"/>
                <a:gd name="T26" fmla="*/ 1019 w 1276"/>
                <a:gd name="T27" fmla="*/ 1204 h 2048"/>
                <a:gd name="T28" fmla="*/ 1019 w 1276"/>
                <a:gd name="T29" fmla="*/ 1150 h 2048"/>
                <a:gd name="T30" fmla="*/ 1276 w 1276"/>
                <a:gd name="T31" fmla="*/ 638 h 2048"/>
                <a:gd name="T32" fmla="*/ 638 w 1276"/>
                <a:gd name="T33" fmla="*/ 0 h 2048"/>
                <a:gd name="T34" fmla="*/ 895 w 1276"/>
                <a:gd name="T35" fmla="*/ 1277 h 2048"/>
                <a:gd name="T36" fmla="*/ 964 w 1276"/>
                <a:gd name="T37" fmla="*/ 1345 h 2048"/>
                <a:gd name="T38" fmla="*/ 895 w 1276"/>
                <a:gd name="T39" fmla="*/ 1414 h 2048"/>
                <a:gd name="T40" fmla="*/ 381 w 1276"/>
                <a:gd name="T41" fmla="*/ 1414 h 2048"/>
                <a:gd name="T42" fmla="*/ 312 w 1276"/>
                <a:gd name="T43" fmla="*/ 1345 h 2048"/>
                <a:gd name="T44" fmla="*/ 381 w 1276"/>
                <a:gd name="T45" fmla="*/ 1277 h 2048"/>
                <a:gd name="T46" fmla="*/ 895 w 1276"/>
                <a:gd name="T47" fmla="*/ 1277 h 2048"/>
                <a:gd name="T48" fmla="*/ 638 w 1276"/>
                <a:gd name="T49" fmla="*/ 1928 h 2048"/>
                <a:gd name="T50" fmla="*/ 450 w 1276"/>
                <a:gd name="T51" fmla="*/ 1791 h 2048"/>
                <a:gd name="T52" fmla="*/ 826 w 1276"/>
                <a:gd name="T53" fmla="*/ 1791 h 2048"/>
                <a:gd name="T54" fmla="*/ 638 w 1276"/>
                <a:gd name="T55" fmla="*/ 1928 h 2048"/>
                <a:gd name="T56" fmla="*/ 895 w 1276"/>
                <a:gd name="T57" fmla="*/ 1671 h 2048"/>
                <a:gd name="T58" fmla="*/ 381 w 1276"/>
                <a:gd name="T59" fmla="*/ 1671 h 2048"/>
                <a:gd name="T60" fmla="*/ 312 w 1276"/>
                <a:gd name="T61" fmla="*/ 1602 h 2048"/>
                <a:gd name="T62" fmla="*/ 381 w 1276"/>
                <a:gd name="T63" fmla="*/ 1534 h 2048"/>
                <a:gd name="T64" fmla="*/ 895 w 1276"/>
                <a:gd name="T65" fmla="*/ 1534 h 2048"/>
                <a:gd name="T66" fmla="*/ 964 w 1276"/>
                <a:gd name="T67" fmla="*/ 1602 h 2048"/>
                <a:gd name="T68" fmla="*/ 895 w 1276"/>
                <a:gd name="T69" fmla="*/ 1671 h 2048"/>
                <a:gd name="T70" fmla="*/ 926 w 1276"/>
                <a:gd name="T71" fmla="*/ 1070 h 2048"/>
                <a:gd name="T72" fmla="*/ 899 w 1276"/>
                <a:gd name="T73" fmla="*/ 1119 h 2048"/>
                <a:gd name="T74" fmla="*/ 899 w 1276"/>
                <a:gd name="T75" fmla="*/ 1157 h 2048"/>
                <a:gd name="T76" fmla="*/ 895 w 1276"/>
                <a:gd name="T77" fmla="*/ 1157 h 2048"/>
                <a:gd name="T78" fmla="*/ 827 w 1276"/>
                <a:gd name="T79" fmla="*/ 1157 h 2048"/>
                <a:gd name="T80" fmla="*/ 827 w 1276"/>
                <a:gd name="T81" fmla="*/ 920 h 2048"/>
                <a:gd name="T82" fmla="*/ 913 w 1276"/>
                <a:gd name="T83" fmla="*/ 834 h 2048"/>
                <a:gd name="T84" fmla="*/ 913 w 1276"/>
                <a:gd name="T85" fmla="*/ 749 h 2048"/>
                <a:gd name="T86" fmla="*/ 828 w 1276"/>
                <a:gd name="T87" fmla="*/ 749 h 2048"/>
                <a:gd name="T88" fmla="*/ 724 w 1276"/>
                <a:gd name="T89" fmla="*/ 853 h 2048"/>
                <a:gd name="T90" fmla="*/ 707 w 1276"/>
                <a:gd name="T91" fmla="*/ 895 h 2048"/>
                <a:gd name="T92" fmla="*/ 707 w 1276"/>
                <a:gd name="T93" fmla="*/ 1157 h 2048"/>
                <a:gd name="T94" fmla="*/ 569 w 1276"/>
                <a:gd name="T95" fmla="*/ 1157 h 2048"/>
                <a:gd name="T96" fmla="*/ 569 w 1276"/>
                <a:gd name="T97" fmla="*/ 895 h 2048"/>
                <a:gd name="T98" fmla="*/ 552 w 1276"/>
                <a:gd name="T99" fmla="*/ 853 h 2048"/>
                <a:gd name="T100" fmla="*/ 448 w 1276"/>
                <a:gd name="T101" fmla="*/ 749 h 2048"/>
                <a:gd name="T102" fmla="*/ 363 w 1276"/>
                <a:gd name="T103" fmla="*/ 749 h 2048"/>
                <a:gd name="T104" fmla="*/ 363 w 1276"/>
                <a:gd name="T105" fmla="*/ 834 h 2048"/>
                <a:gd name="T106" fmla="*/ 449 w 1276"/>
                <a:gd name="T107" fmla="*/ 920 h 2048"/>
                <a:gd name="T108" fmla="*/ 449 w 1276"/>
                <a:gd name="T109" fmla="*/ 1157 h 2048"/>
                <a:gd name="T110" fmla="*/ 381 w 1276"/>
                <a:gd name="T111" fmla="*/ 1157 h 2048"/>
                <a:gd name="T112" fmla="*/ 377 w 1276"/>
                <a:gd name="T113" fmla="*/ 1157 h 2048"/>
                <a:gd name="T114" fmla="*/ 377 w 1276"/>
                <a:gd name="T115" fmla="*/ 1119 h 2048"/>
                <a:gd name="T116" fmla="*/ 350 w 1276"/>
                <a:gd name="T117" fmla="*/ 1070 h 2048"/>
                <a:gd name="T118" fmla="*/ 120 w 1276"/>
                <a:gd name="T119" fmla="*/ 638 h 2048"/>
                <a:gd name="T120" fmla="*/ 638 w 1276"/>
                <a:gd name="T121" fmla="*/ 120 h 2048"/>
                <a:gd name="T122" fmla="*/ 1156 w 1276"/>
                <a:gd name="T123" fmla="*/ 638 h 2048"/>
                <a:gd name="T124" fmla="*/ 926 w 1276"/>
                <a:gd name="T125" fmla="*/ 1070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76" h="2048">
                  <a:moveTo>
                    <a:pt x="638" y="0"/>
                  </a:moveTo>
                  <a:cubicBezTo>
                    <a:pt x="286" y="0"/>
                    <a:pt x="0" y="286"/>
                    <a:pt x="0" y="638"/>
                  </a:cubicBezTo>
                  <a:cubicBezTo>
                    <a:pt x="0" y="841"/>
                    <a:pt x="95" y="1030"/>
                    <a:pt x="257" y="1150"/>
                  </a:cubicBezTo>
                  <a:cubicBezTo>
                    <a:pt x="257" y="1204"/>
                    <a:pt x="257" y="1204"/>
                    <a:pt x="257" y="1204"/>
                  </a:cubicBezTo>
                  <a:cubicBezTo>
                    <a:pt x="217" y="1238"/>
                    <a:pt x="192" y="1289"/>
                    <a:pt x="192" y="1345"/>
                  </a:cubicBezTo>
                  <a:cubicBezTo>
                    <a:pt x="192" y="1395"/>
                    <a:pt x="212" y="1440"/>
                    <a:pt x="243" y="1474"/>
                  </a:cubicBezTo>
                  <a:cubicBezTo>
                    <a:pt x="212" y="1508"/>
                    <a:pt x="192" y="1553"/>
                    <a:pt x="192" y="1602"/>
                  </a:cubicBezTo>
                  <a:cubicBezTo>
                    <a:pt x="192" y="1687"/>
                    <a:pt x="248" y="1759"/>
                    <a:pt x="325" y="1783"/>
                  </a:cubicBezTo>
                  <a:cubicBezTo>
                    <a:pt x="350" y="1933"/>
                    <a:pt x="481" y="2048"/>
                    <a:pt x="638" y="2048"/>
                  </a:cubicBezTo>
                  <a:cubicBezTo>
                    <a:pt x="795" y="2048"/>
                    <a:pt x="926" y="1933"/>
                    <a:pt x="951" y="1783"/>
                  </a:cubicBezTo>
                  <a:cubicBezTo>
                    <a:pt x="1028" y="1759"/>
                    <a:pt x="1084" y="1687"/>
                    <a:pt x="1084" y="1602"/>
                  </a:cubicBezTo>
                  <a:cubicBezTo>
                    <a:pt x="1084" y="1553"/>
                    <a:pt x="1064" y="1508"/>
                    <a:pt x="1033" y="1474"/>
                  </a:cubicBezTo>
                  <a:cubicBezTo>
                    <a:pt x="1064" y="1440"/>
                    <a:pt x="1084" y="1395"/>
                    <a:pt x="1084" y="1345"/>
                  </a:cubicBezTo>
                  <a:cubicBezTo>
                    <a:pt x="1084" y="1289"/>
                    <a:pt x="1059" y="1238"/>
                    <a:pt x="1019" y="1204"/>
                  </a:cubicBezTo>
                  <a:cubicBezTo>
                    <a:pt x="1019" y="1150"/>
                    <a:pt x="1019" y="1150"/>
                    <a:pt x="1019" y="1150"/>
                  </a:cubicBezTo>
                  <a:cubicBezTo>
                    <a:pt x="1181" y="1030"/>
                    <a:pt x="1276" y="841"/>
                    <a:pt x="1276" y="638"/>
                  </a:cubicBezTo>
                  <a:cubicBezTo>
                    <a:pt x="1276" y="286"/>
                    <a:pt x="990" y="0"/>
                    <a:pt x="638" y="0"/>
                  </a:cubicBezTo>
                  <a:close/>
                  <a:moveTo>
                    <a:pt x="895" y="1277"/>
                  </a:moveTo>
                  <a:cubicBezTo>
                    <a:pt x="933" y="1277"/>
                    <a:pt x="964" y="1308"/>
                    <a:pt x="964" y="1345"/>
                  </a:cubicBezTo>
                  <a:cubicBezTo>
                    <a:pt x="964" y="1383"/>
                    <a:pt x="933" y="1414"/>
                    <a:pt x="895" y="1414"/>
                  </a:cubicBezTo>
                  <a:cubicBezTo>
                    <a:pt x="381" y="1414"/>
                    <a:pt x="381" y="1414"/>
                    <a:pt x="381" y="1414"/>
                  </a:cubicBezTo>
                  <a:cubicBezTo>
                    <a:pt x="343" y="1414"/>
                    <a:pt x="312" y="1383"/>
                    <a:pt x="312" y="1345"/>
                  </a:cubicBezTo>
                  <a:cubicBezTo>
                    <a:pt x="312" y="1308"/>
                    <a:pt x="343" y="1277"/>
                    <a:pt x="381" y="1277"/>
                  </a:cubicBezTo>
                  <a:lnTo>
                    <a:pt x="895" y="1277"/>
                  </a:lnTo>
                  <a:close/>
                  <a:moveTo>
                    <a:pt x="638" y="1928"/>
                  </a:moveTo>
                  <a:cubicBezTo>
                    <a:pt x="550" y="1928"/>
                    <a:pt x="476" y="1870"/>
                    <a:pt x="450" y="1791"/>
                  </a:cubicBezTo>
                  <a:cubicBezTo>
                    <a:pt x="826" y="1791"/>
                    <a:pt x="826" y="1791"/>
                    <a:pt x="826" y="1791"/>
                  </a:cubicBezTo>
                  <a:cubicBezTo>
                    <a:pt x="800" y="1870"/>
                    <a:pt x="726" y="1928"/>
                    <a:pt x="638" y="1928"/>
                  </a:cubicBezTo>
                  <a:close/>
                  <a:moveTo>
                    <a:pt x="895" y="1671"/>
                  </a:moveTo>
                  <a:cubicBezTo>
                    <a:pt x="381" y="1671"/>
                    <a:pt x="381" y="1671"/>
                    <a:pt x="381" y="1671"/>
                  </a:cubicBezTo>
                  <a:cubicBezTo>
                    <a:pt x="343" y="1671"/>
                    <a:pt x="312" y="1640"/>
                    <a:pt x="312" y="1602"/>
                  </a:cubicBezTo>
                  <a:cubicBezTo>
                    <a:pt x="312" y="1565"/>
                    <a:pt x="343" y="1534"/>
                    <a:pt x="381" y="1534"/>
                  </a:cubicBezTo>
                  <a:cubicBezTo>
                    <a:pt x="895" y="1534"/>
                    <a:pt x="895" y="1534"/>
                    <a:pt x="895" y="1534"/>
                  </a:cubicBezTo>
                  <a:cubicBezTo>
                    <a:pt x="933" y="1534"/>
                    <a:pt x="964" y="1565"/>
                    <a:pt x="964" y="1602"/>
                  </a:cubicBezTo>
                  <a:cubicBezTo>
                    <a:pt x="964" y="1640"/>
                    <a:pt x="933" y="1671"/>
                    <a:pt x="895" y="1671"/>
                  </a:cubicBezTo>
                  <a:close/>
                  <a:moveTo>
                    <a:pt x="926" y="1070"/>
                  </a:moveTo>
                  <a:cubicBezTo>
                    <a:pt x="909" y="1081"/>
                    <a:pt x="899" y="1099"/>
                    <a:pt x="899" y="1119"/>
                  </a:cubicBezTo>
                  <a:cubicBezTo>
                    <a:pt x="899" y="1157"/>
                    <a:pt x="899" y="1157"/>
                    <a:pt x="899" y="1157"/>
                  </a:cubicBezTo>
                  <a:cubicBezTo>
                    <a:pt x="898" y="1157"/>
                    <a:pt x="897" y="1157"/>
                    <a:pt x="895" y="1157"/>
                  </a:cubicBezTo>
                  <a:cubicBezTo>
                    <a:pt x="827" y="1157"/>
                    <a:pt x="827" y="1157"/>
                    <a:pt x="827" y="1157"/>
                  </a:cubicBezTo>
                  <a:cubicBezTo>
                    <a:pt x="827" y="920"/>
                    <a:pt x="827" y="920"/>
                    <a:pt x="827" y="920"/>
                  </a:cubicBezTo>
                  <a:cubicBezTo>
                    <a:pt x="913" y="834"/>
                    <a:pt x="913" y="834"/>
                    <a:pt x="913" y="834"/>
                  </a:cubicBezTo>
                  <a:cubicBezTo>
                    <a:pt x="936" y="811"/>
                    <a:pt x="936" y="773"/>
                    <a:pt x="913" y="749"/>
                  </a:cubicBezTo>
                  <a:cubicBezTo>
                    <a:pt x="889" y="726"/>
                    <a:pt x="851" y="726"/>
                    <a:pt x="828" y="749"/>
                  </a:cubicBezTo>
                  <a:cubicBezTo>
                    <a:pt x="724" y="853"/>
                    <a:pt x="724" y="853"/>
                    <a:pt x="724" y="853"/>
                  </a:cubicBezTo>
                  <a:cubicBezTo>
                    <a:pt x="713" y="864"/>
                    <a:pt x="707" y="880"/>
                    <a:pt x="707" y="895"/>
                  </a:cubicBezTo>
                  <a:cubicBezTo>
                    <a:pt x="707" y="1157"/>
                    <a:pt x="707" y="1157"/>
                    <a:pt x="707" y="1157"/>
                  </a:cubicBezTo>
                  <a:cubicBezTo>
                    <a:pt x="569" y="1157"/>
                    <a:pt x="569" y="1157"/>
                    <a:pt x="569" y="1157"/>
                  </a:cubicBezTo>
                  <a:cubicBezTo>
                    <a:pt x="569" y="895"/>
                    <a:pt x="569" y="895"/>
                    <a:pt x="569" y="895"/>
                  </a:cubicBezTo>
                  <a:cubicBezTo>
                    <a:pt x="569" y="880"/>
                    <a:pt x="563" y="864"/>
                    <a:pt x="552" y="853"/>
                  </a:cubicBezTo>
                  <a:cubicBezTo>
                    <a:pt x="448" y="749"/>
                    <a:pt x="448" y="749"/>
                    <a:pt x="448" y="749"/>
                  </a:cubicBezTo>
                  <a:cubicBezTo>
                    <a:pt x="425" y="726"/>
                    <a:pt x="387" y="726"/>
                    <a:pt x="363" y="749"/>
                  </a:cubicBezTo>
                  <a:cubicBezTo>
                    <a:pt x="340" y="773"/>
                    <a:pt x="340" y="811"/>
                    <a:pt x="363" y="834"/>
                  </a:cubicBezTo>
                  <a:cubicBezTo>
                    <a:pt x="449" y="920"/>
                    <a:pt x="449" y="920"/>
                    <a:pt x="449" y="920"/>
                  </a:cubicBezTo>
                  <a:cubicBezTo>
                    <a:pt x="449" y="1157"/>
                    <a:pt x="449" y="1157"/>
                    <a:pt x="449" y="1157"/>
                  </a:cubicBezTo>
                  <a:cubicBezTo>
                    <a:pt x="381" y="1157"/>
                    <a:pt x="381" y="1157"/>
                    <a:pt x="381" y="1157"/>
                  </a:cubicBezTo>
                  <a:cubicBezTo>
                    <a:pt x="380" y="1157"/>
                    <a:pt x="378" y="1157"/>
                    <a:pt x="377" y="1157"/>
                  </a:cubicBezTo>
                  <a:cubicBezTo>
                    <a:pt x="377" y="1119"/>
                    <a:pt x="377" y="1119"/>
                    <a:pt x="377" y="1119"/>
                  </a:cubicBezTo>
                  <a:cubicBezTo>
                    <a:pt x="377" y="1099"/>
                    <a:pt x="367" y="1081"/>
                    <a:pt x="350" y="1070"/>
                  </a:cubicBezTo>
                  <a:cubicBezTo>
                    <a:pt x="206" y="973"/>
                    <a:pt x="120" y="812"/>
                    <a:pt x="120" y="638"/>
                  </a:cubicBezTo>
                  <a:cubicBezTo>
                    <a:pt x="120" y="353"/>
                    <a:pt x="352" y="120"/>
                    <a:pt x="638" y="120"/>
                  </a:cubicBezTo>
                  <a:cubicBezTo>
                    <a:pt x="924" y="120"/>
                    <a:pt x="1156" y="353"/>
                    <a:pt x="1156" y="638"/>
                  </a:cubicBezTo>
                  <a:cubicBezTo>
                    <a:pt x="1156" y="812"/>
                    <a:pt x="1070" y="973"/>
                    <a:pt x="926" y="10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7" name="Freeform 42">
              <a:extLst>
                <a:ext uri="{FF2B5EF4-FFF2-40B4-BE49-F238E27FC236}">
                  <a16:creationId xmlns:a16="http://schemas.microsoft.com/office/drawing/2014/main" id="{BCACF114-DBB4-4D9A-9C69-7E8D48FFB25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90613" y="4138613"/>
              <a:ext cx="111125" cy="53975"/>
            </a:xfrm>
            <a:custGeom>
              <a:avLst/>
              <a:gdLst>
                <a:gd name="T0" fmla="*/ 249 w 249"/>
                <a:gd name="T1" fmla="*/ 60 h 120"/>
                <a:gd name="T2" fmla="*/ 189 w 249"/>
                <a:gd name="T3" fmla="*/ 0 h 120"/>
                <a:gd name="T4" fmla="*/ 60 w 249"/>
                <a:gd name="T5" fmla="*/ 0 h 120"/>
                <a:gd name="T6" fmla="*/ 0 w 249"/>
                <a:gd name="T7" fmla="*/ 60 h 120"/>
                <a:gd name="T8" fmla="*/ 60 w 249"/>
                <a:gd name="T9" fmla="*/ 120 h 120"/>
                <a:gd name="T10" fmla="*/ 189 w 249"/>
                <a:gd name="T11" fmla="*/ 120 h 120"/>
                <a:gd name="T12" fmla="*/ 249 w 249"/>
                <a:gd name="T13" fmla="*/ 6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" h="120">
                  <a:moveTo>
                    <a:pt x="249" y="60"/>
                  </a:moveTo>
                  <a:cubicBezTo>
                    <a:pt x="249" y="27"/>
                    <a:pt x="222" y="0"/>
                    <a:pt x="189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27" y="0"/>
                    <a:pt x="0" y="27"/>
                    <a:pt x="0" y="60"/>
                  </a:cubicBezTo>
                  <a:cubicBezTo>
                    <a:pt x="0" y="94"/>
                    <a:pt x="27" y="120"/>
                    <a:pt x="60" y="120"/>
                  </a:cubicBezTo>
                  <a:cubicBezTo>
                    <a:pt x="189" y="120"/>
                    <a:pt x="189" y="120"/>
                    <a:pt x="189" y="120"/>
                  </a:cubicBezTo>
                  <a:cubicBezTo>
                    <a:pt x="222" y="120"/>
                    <a:pt x="249" y="94"/>
                    <a:pt x="249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8" name="Freeform 43">
              <a:extLst>
                <a:ext uri="{FF2B5EF4-FFF2-40B4-BE49-F238E27FC236}">
                  <a16:creationId xmlns:a16="http://schemas.microsoft.com/office/drawing/2014/main" id="{DD58A9D7-2F02-4B37-8D39-897B0704B2D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85750" y="4138613"/>
              <a:ext cx="111125" cy="53975"/>
            </a:xfrm>
            <a:custGeom>
              <a:avLst/>
              <a:gdLst>
                <a:gd name="T0" fmla="*/ 189 w 249"/>
                <a:gd name="T1" fmla="*/ 0 h 120"/>
                <a:gd name="T2" fmla="*/ 60 w 249"/>
                <a:gd name="T3" fmla="*/ 0 h 120"/>
                <a:gd name="T4" fmla="*/ 0 w 249"/>
                <a:gd name="T5" fmla="*/ 60 h 120"/>
                <a:gd name="T6" fmla="*/ 60 w 249"/>
                <a:gd name="T7" fmla="*/ 120 h 120"/>
                <a:gd name="T8" fmla="*/ 189 w 249"/>
                <a:gd name="T9" fmla="*/ 120 h 120"/>
                <a:gd name="T10" fmla="*/ 249 w 249"/>
                <a:gd name="T11" fmla="*/ 60 h 120"/>
                <a:gd name="T12" fmla="*/ 189 w 249"/>
                <a:gd name="T13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" h="120">
                  <a:moveTo>
                    <a:pt x="189" y="0"/>
                  </a:moveTo>
                  <a:cubicBezTo>
                    <a:pt x="60" y="0"/>
                    <a:pt x="60" y="0"/>
                    <a:pt x="60" y="0"/>
                  </a:cubicBezTo>
                  <a:cubicBezTo>
                    <a:pt x="27" y="0"/>
                    <a:pt x="0" y="27"/>
                    <a:pt x="0" y="60"/>
                  </a:cubicBezTo>
                  <a:cubicBezTo>
                    <a:pt x="0" y="94"/>
                    <a:pt x="27" y="120"/>
                    <a:pt x="60" y="120"/>
                  </a:cubicBezTo>
                  <a:cubicBezTo>
                    <a:pt x="189" y="120"/>
                    <a:pt x="189" y="120"/>
                    <a:pt x="189" y="120"/>
                  </a:cubicBezTo>
                  <a:cubicBezTo>
                    <a:pt x="222" y="120"/>
                    <a:pt x="249" y="94"/>
                    <a:pt x="249" y="60"/>
                  </a:cubicBezTo>
                  <a:cubicBezTo>
                    <a:pt x="249" y="27"/>
                    <a:pt x="222" y="0"/>
                    <a:pt x="18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9" name="Freeform 44">
              <a:extLst>
                <a:ext uri="{FF2B5EF4-FFF2-40B4-BE49-F238E27FC236}">
                  <a16:creationId xmlns:a16="http://schemas.microsoft.com/office/drawing/2014/main" id="{006D2B1D-8D02-460D-9291-4C20D3D5915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36638" y="4321175"/>
              <a:ext cx="111125" cy="85725"/>
            </a:xfrm>
            <a:custGeom>
              <a:avLst/>
              <a:gdLst>
                <a:gd name="T0" fmla="*/ 149 w 248"/>
                <a:gd name="T1" fmla="*/ 16 h 192"/>
                <a:gd name="T2" fmla="*/ 38 w 248"/>
                <a:gd name="T3" fmla="*/ 80 h 192"/>
                <a:gd name="T4" fmla="*/ 16 w 248"/>
                <a:gd name="T5" fmla="*/ 162 h 192"/>
                <a:gd name="T6" fmla="*/ 68 w 248"/>
                <a:gd name="T7" fmla="*/ 192 h 192"/>
                <a:gd name="T8" fmla="*/ 98 w 248"/>
                <a:gd name="T9" fmla="*/ 184 h 192"/>
                <a:gd name="T10" fmla="*/ 209 w 248"/>
                <a:gd name="T11" fmla="*/ 120 h 192"/>
                <a:gd name="T12" fmla="*/ 231 w 248"/>
                <a:gd name="T13" fmla="*/ 38 h 192"/>
                <a:gd name="T14" fmla="*/ 149 w 248"/>
                <a:gd name="T15" fmla="*/ 16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8" h="192">
                  <a:moveTo>
                    <a:pt x="149" y="16"/>
                  </a:moveTo>
                  <a:cubicBezTo>
                    <a:pt x="38" y="80"/>
                    <a:pt x="38" y="80"/>
                    <a:pt x="38" y="80"/>
                  </a:cubicBezTo>
                  <a:cubicBezTo>
                    <a:pt x="9" y="97"/>
                    <a:pt x="0" y="134"/>
                    <a:pt x="16" y="162"/>
                  </a:cubicBezTo>
                  <a:cubicBezTo>
                    <a:pt x="27" y="182"/>
                    <a:pt x="47" y="192"/>
                    <a:pt x="68" y="192"/>
                  </a:cubicBezTo>
                  <a:cubicBezTo>
                    <a:pt x="78" y="192"/>
                    <a:pt x="89" y="190"/>
                    <a:pt x="98" y="184"/>
                  </a:cubicBezTo>
                  <a:cubicBezTo>
                    <a:pt x="209" y="120"/>
                    <a:pt x="209" y="120"/>
                    <a:pt x="209" y="120"/>
                  </a:cubicBezTo>
                  <a:cubicBezTo>
                    <a:pt x="238" y="104"/>
                    <a:pt x="248" y="67"/>
                    <a:pt x="231" y="38"/>
                  </a:cubicBezTo>
                  <a:cubicBezTo>
                    <a:pt x="215" y="9"/>
                    <a:pt x="178" y="0"/>
                    <a:pt x="14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0" name="Freeform 45">
              <a:extLst>
                <a:ext uri="{FF2B5EF4-FFF2-40B4-BE49-F238E27FC236}">
                  <a16:creationId xmlns:a16="http://schemas.microsoft.com/office/drawing/2014/main" id="{3128B73A-9ACF-425D-B600-2C6A2D84F20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9725" y="3919538"/>
              <a:ext cx="111125" cy="85725"/>
            </a:xfrm>
            <a:custGeom>
              <a:avLst/>
              <a:gdLst>
                <a:gd name="T0" fmla="*/ 69 w 248"/>
                <a:gd name="T1" fmla="*/ 193 h 193"/>
                <a:gd name="T2" fmla="*/ 99 w 248"/>
                <a:gd name="T3" fmla="*/ 185 h 193"/>
                <a:gd name="T4" fmla="*/ 210 w 248"/>
                <a:gd name="T5" fmla="*/ 120 h 193"/>
                <a:gd name="T6" fmla="*/ 232 w 248"/>
                <a:gd name="T7" fmla="*/ 38 h 193"/>
                <a:gd name="T8" fmla="*/ 150 w 248"/>
                <a:gd name="T9" fmla="*/ 16 h 193"/>
                <a:gd name="T10" fmla="*/ 39 w 248"/>
                <a:gd name="T11" fmla="*/ 81 h 193"/>
                <a:gd name="T12" fmla="*/ 17 w 248"/>
                <a:gd name="T13" fmla="*/ 163 h 193"/>
                <a:gd name="T14" fmla="*/ 69 w 248"/>
                <a:gd name="T15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8" h="193">
                  <a:moveTo>
                    <a:pt x="69" y="193"/>
                  </a:moveTo>
                  <a:cubicBezTo>
                    <a:pt x="79" y="193"/>
                    <a:pt x="89" y="190"/>
                    <a:pt x="99" y="185"/>
                  </a:cubicBezTo>
                  <a:cubicBezTo>
                    <a:pt x="210" y="120"/>
                    <a:pt x="210" y="120"/>
                    <a:pt x="210" y="120"/>
                  </a:cubicBezTo>
                  <a:cubicBezTo>
                    <a:pt x="239" y="104"/>
                    <a:pt x="248" y="67"/>
                    <a:pt x="232" y="38"/>
                  </a:cubicBezTo>
                  <a:cubicBezTo>
                    <a:pt x="215" y="10"/>
                    <a:pt x="179" y="0"/>
                    <a:pt x="150" y="16"/>
                  </a:cubicBezTo>
                  <a:cubicBezTo>
                    <a:pt x="39" y="81"/>
                    <a:pt x="39" y="81"/>
                    <a:pt x="39" y="81"/>
                  </a:cubicBezTo>
                  <a:cubicBezTo>
                    <a:pt x="10" y="97"/>
                    <a:pt x="0" y="134"/>
                    <a:pt x="17" y="163"/>
                  </a:cubicBezTo>
                  <a:cubicBezTo>
                    <a:pt x="28" y="182"/>
                    <a:pt x="48" y="193"/>
                    <a:pt x="69" y="1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1" name="Freeform 46">
              <a:extLst>
                <a:ext uri="{FF2B5EF4-FFF2-40B4-BE49-F238E27FC236}">
                  <a16:creationId xmlns:a16="http://schemas.microsoft.com/office/drawing/2014/main" id="{F462DB5E-133D-4FB1-820E-E0DDE6EF03E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9725" y="4321175"/>
              <a:ext cx="111125" cy="85725"/>
            </a:xfrm>
            <a:custGeom>
              <a:avLst/>
              <a:gdLst>
                <a:gd name="T0" fmla="*/ 210 w 248"/>
                <a:gd name="T1" fmla="*/ 80 h 192"/>
                <a:gd name="T2" fmla="*/ 99 w 248"/>
                <a:gd name="T3" fmla="*/ 16 h 192"/>
                <a:gd name="T4" fmla="*/ 17 w 248"/>
                <a:gd name="T5" fmla="*/ 38 h 192"/>
                <a:gd name="T6" fmla="*/ 39 w 248"/>
                <a:gd name="T7" fmla="*/ 120 h 192"/>
                <a:gd name="T8" fmla="*/ 150 w 248"/>
                <a:gd name="T9" fmla="*/ 184 h 192"/>
                <a:gd name="T10" fmla="*/ 180 w 248"/>
                <a:gd name="T11" fmla="*/ 192 h 192"/>
                <a:gd name="T12" fmla="*/ 232 w 248"/>
                <a:gd name="T13" fmla="*/ 162 h 192"/>
                <a:gd name="T14" fmla="*/ 210 w 248"/>
                <a:gd name="T15" fmla="*/ 8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8" h="192">
                  <a:moveTo>
                    <a:pt x="210" y="80"/>
                  </a:moveTo>
                  <a:cubicBezTo>
                    <a:pt x="99" y="16"/>
                    <a:pt x="99" y="16"/>
                    <a:pt x="99" y="16"/>
                  </a:cubicBezTo>
                  <a:cubicBezTo>
                    <a:pt x="70" y="0"/>
                    <a:pt x="33" y="9"/>
                    <a:pt x="17" y="38"/>
                  </a:cubicBezTo>
                  <a:cubicBezTo>
                    <a:pt x="0" y="67"/>
                    <a:pt x="10" y="104"/>
                    <a:pt x="39" y="120"/>
                  </a:cubicBezTo>
                  <a:cubicBezTo>
                    <a:pt x="150" y="184"/>
                    <a:pt x="150" y="184"/>
                    <a:pt x="150" y="184"/>
                  </a:cubicBezTo>
                  <a:cubicBezTo>
                    <a:pt x="159" y="190"/>
                    <a:pt x="170" y="192"/>
                    <a:pt x="180" y="192"/>
                  </a:cubicBezTo>
                  <a:cubicBezTo>
                    <a:pt x="201" y="192"/>
                    <a:pt x="221" y="182"/>
                    <a:pt x="232" y="162"/>
                  </a:cubicBezTo>
                  <a:cubicBezTo>
                    <a:pt x="248" y="134"/>
                    <a:pt x="239" y="97"/>
                    <a:pt x="210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2" name="Freeform 47">
              <a:extLst>
                <a:ext uri="{FF2B5EF4-FFF2-40B4-BE49-F238E27FC236}">
                  <a16:creationId xmlns:a16="http://schemas.microsoft.com/office/drawing/2014/main" id="{E3EBF3ED-2736-48AE-90F3-AFC326FA51B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36638" y="3919538"/>
              <a:ext cx="111125" cy="85725"/>
            </a:xfrm>
            <a:custGeom>
              <a:avLst/>
              <a:gdLst>
                <a:gd name="T0" fmla="*/ 209 w 248"/>
                <a:gd name="T1" fmla="*/ 81 h 193"/>
                <a:gd name="T2" fmla="*/ 98 w 248"/>
                <a:gd name="T3" fmla="*/ 16 h 193"/>
                <a:gd name="T4" fmla="*/ 16 w 248"/>
                <a:gd name="T5" fmla="*/ 38 h 193"/>
                <a:gd name="T6" fmla="*/ 38 w 248"/>
                <a:gd name="T7" fmla="*/ 120 h 193"/>
                <a:gd name="T8" fmla="*/ 149 w 248"/>
                <a:gd name="T9" fmla="*/ 185 h 193"/>
                <a:gd name="T10" fmla="*/ 179 w 248"/>
                <a:gd name="T11" fmla="*/ 193 h 193"/>
                <a:gd name="T12" fmla="*/ 231 w 248"/>
                <a:gd name="T13" fmla="*/ 163 h 193"/>
                <a:gd name="T14" fmla="*/ 209 w 248"/>
                <a:gd name="T15" fmla="*/ 81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8" h="193">
                  <a:moveTo>
                    <a:pt x="209" y="81"/>
                  </a:moveTo>
                  <a:cubicBezTo>
                    <a:pt x="98" y="16"/>
                    <a:pt x="98" y="16"/>
                    <a:pt x="98" y="16"/>
                  </a:cubicBezTo>
                  <a:cubicBezTo>
                    <a:pt x="69" y="0"/>
                    <a:pt x="33" y="10"/>
                    <a:pt x="16" y="38"/>
                  </a:cubicBezTo>
                  <a:cubicBezTo>
                    <a:pt x="0" y="67"/>
                    <a:pt x="9" y="104"/>
                    <a:pt x="38" y="120"/>
                  </a:cubicBezTo>
                  <a:cubicBezTo>
                    <a:pt x="149" y="185"/>
                    <a:pt x="149" y="185"/>
                    <a:pt x="149" y="185"/>
                  </a:cubicBezTo>
                  <a:cubicBezTo>
                    <a:pt x="159" y="190"/>
                    <a:pt x="169" y="193"/>
                    <a:pt x="179" y="193"/>
                  </a:cubicBezTo>
                  <a:cubicBezTo>
                    <a:pt x="200" y="193"/>
                    <a:pt x="220" y="182"/>
                    <a:pt x="231" y="163"/>
                  </a:cubicBezTo>
                  <a:cubicBezTo>
                    <a:pt x="248" y="134"/>
                    <a:pt x="238" y="97"/>
                    <a:pt x="20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DC070C5C-D35D-4308-B288-A6D892155622}"/>
              </a:ext>
            </a:extLst>
          </p:cNvPr>
          <p:cNvGrpSpPr/>
          <p:nvPr/>
        </p:nvGrpSpPr>
        <p:grpSpPr>
          <a:xfrm>
            <a:off x="7453527" y="2220147"/>
            <a:ext cx="423965" cy="539824"/>
            <a:chOff x="4776788" y="1939925"/>
            <a:chExt cx="528637" cy="673100"/>
          </a:xfrm>
          <a:solidFill>
            <a:srgbClr val="345E88"/>
          </a:solidFill>
        </p:grpSpPr>
        <p:sp>
          <p:nvSpPr>
            <p:cNvPr id="144" name="Freeform 5">
              <a:extLst>
                <a:ext uri="{FF2B5EF4-FFF2-40B4-BE49-F238E27FC236}">
                  <a16:creationId xmlns:a16="http://schemas.microsoft.com/office/drawing/2014/main" id="{FA77AF41-F7A9-40E6-A904-7AD6B862F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7613" y="2533650"/>
              <a:ext cx="26987" cy="26988"/>
            </a:xfrm>
            <a:custGeom>
              <a:avLst/>
              <a:gdLst>
                <a:gd name="T0" fmla="*/ 40 w 80"/>
                <a:gd name="T1" fmla="*/ 0 h 80"/>
                <a:gd name="T2" fmla="*/ 12 w 80"/>
                <a:gd name="T3" fmla="*/ 12 h 80"/>
                <a:gd name="T4" fmla="*/ 0 w 80"/>
                <a:gd name="T5" fmla="*/ 40 h 80"/>
                <a:gd name="T6" fmla="*/ 12 w 80"/>
                <a:gd name="T7" fmla="*/ 68 h 80"/>
                <a:gd name="T8" fmla="*/ 40 w 80"/>
                <a:gd name="T9" fmla="*/ 80 h 80"/>
                <a:gd name="T10" fmla="*/ 68 w 80"/>
                <a:gd name="T11" fmla="*/ 68 h 80"/>
                <a:gd name="T12" fmla="*/ 80 w 80"/>
                <a:gd name="T13" fmla="*/ 40 h 80"/>
                <a:gd name="T14" fmla="*/ 68 w 80"/>
                <a:gd name="T15" fmla="*/ 12 h 80"/>
                <a:gd name="T16" fmla="*/ 40 w 80"/>
                <a:gd name="T1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80">
                  <a:moveTo>
                    <a:pt x="40" y="0"/>
                  </a:moveTo>
                  <a:cubicBezTo>
                    <a:pt x="29" y="0"/>
                    <a:pt x="19" y="4"/>
                    <a:pt x="12" y="12"/>
                  </a:cubicBezTo>
                  <a:cubicBezTo>
                    <a:pt x="4" y="19"/>
                    <a:pt x="0" y="29"/>
                    <a:pt x="0" y="40"/>
                  </a:cubicBezTo>
                  <a:cubicBezTo>
                    <a:pt x="0" y="51"/>
                    <a:pt x="4" y="61"/>
                    <a:pt x="12" y="68"/>
                  </a:cubicBezTo>
                  <a:cubicBezTo>
                    <a:pt x="19" y="76"/>
                    <a:pt x="29" y="80"/>
                    <a:pt x="40" y="80"/>
                  </a:cubicBezTo>
                  <a:cubicBezTo>
                    <a:pt x="51" y="80"/>
                    <a:pt x="61" y="76"/>
                    <a:pt x="68" y="68"/>
                  </a:cubicBezTo>
                  <a:cubicBezTo>
                    <a:pt x="76" y="61"/>
                    <a:pt x="80" y="51"/>
                    <a:pt x="80" y="40"/>
                  </a:cubicBezTo>
                  <a:cubicBezTo>
                    <a:pt x="80" y="29"/>
                    <a:pt x="76" y="19"/>
                    <a:pt x="68" y="12"/>
                  </a:cubicBezTo>
                  <a:cubicBezTo>
                    <a:pt x="61" y="4"/>
                    <a:pt x="51" y="0"/>
                    <a:pt x="4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chemeClr val="bg1"/>
                </a:solidFill>
              </a:endParaRPr>
            </a:p>
          </p:txBody>
        </p:sp>
        <p:sp>
          <p:nvSpPr>
            <p:cNvPr id="145" name="Freeform 6">
              <a:extLst>
                <a:ext uri="{FF2B5EF4-FFF2-40B4-BE49-F238E27FC236}">
                  <a16:creationId xmlns:a16="http://schemas.microsoft.com/office/drawing/2014/main" id="{1F5A374D-06F3-4269-AE52-2091302204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1088" y="2097088"/>
              <a:ext cx="120650" cy="111125"/>
            </a:xfrm>
            <a:custGeom>
              <a:avLst/>
              <a:gdLst>
                <a:gd name="T0" fmla="*/ 328 w 368"/>
                <a:gd name="T1" fmla="*/ 0 h 336"/>
                <a:gd name="T2" fmla="*/ 40 w 368"/>
                <a:gd name="T3" fmla="*/ 0 h 336"/>
                <a:gd name="T4" fmla="*/ 0 w 368"/>
                <a:gd name="T5" fmla="*/ 40 h 336"/>
                <a:gd name="T6" fmla="*/ 0 w 368"/>
                <a:gd name="T7" fmla="*/ 296 h 336"/>
                <a:gd name="T8" fmla="*/ 40 w 368"/>
                <a:gd name="T9" fmla="*/ 336 h 336"/>
                <a:gd name="T10" fmla="*/ 328 w 368"/>
                <a:gd name="T11" fmla="*/ 336 h 336"/>
                <a:gd name="T12" fmla="*/ 368 w 368"/>
                <a:gd name="T13" fmla="*/ 296 h 336"/>
                <a:gd name="T14" fmla="*/ 368 w 368"/>
                <a:gd name="T15" fmla="*/ 40 h 336"/>
                <a:gd name="T16" fmla="*/ 328 w 368"/>
                <a:gd name="T17" fmla="*/ 0 h 336"/>
                <a:gd name="T18" fmla="*/ 288 w 368"/>
                <a:gd name="T19" fmla="*/ 256 h 336"/>
                <a:gd name="T20" fmla="*/ 80 w 368"/>
                <a:gd name="T21" fmla="*/ 256 h 336"/>
                <a:gd name="T22" fmla="*/ 80 w 368"/>
                <a:gd name="T23" fmla="*/ 80 h 336"/>
                <a:gd name="T24" fmla="*/ 288 w 368"/>
                <a:gd name="T25" fmla="*/ 80 h 336"/>
                <a:gd name="T26" fmla="*/ 288 w 368"/>
                <a:gd name="T27" fmla="*/ 25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8" h="336">
                  <a:moveTo>
                    <a:pt x="328" y="0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296"/>
                    <a:pt x="0" y="296"/>
                    <a:pt x="0" y="296"/>
                  </a:cubicBezTo>
                  <a:cubicBezTo>
                    <a:pt x="0" y="318"/>
                    <a:pt x="18" y="336"/>
                    <a:pt x="40" y="336"/>
                  </a:cubicBezTo>
                  <a:cubicBezTo>
                    <a:pt x="328" y="336"/>
                    <a:pt x="328" y="336"/>
                    <a:pt x="328" y="336"/>
                  </a:cubicBezTo>
                  <a:cubicBezTo>
                    <a:pt x="350" y="336"/>
                    <a:pt x="368" y="318"/>
                    <a:pt x="368" y="296"/>
                  </a:cubicBezTo>
                  <a:cubicBezTo>
                    <a:pt x="368" y="40"/>
                    <a:pt x="368" y="40"/>
                    <a:pt x="368" y="40"/>
                  </a:cubicBezTo>
                  <a:cubicBezTo>
                    <a:pt x="368" y="18"/>
                    <a:pt x="350" y="0"/>
                    <a:pt x="328" y="0"/>
                  </a:cubicBezTo>
                  <a:close/>
                  <a:moveTo>
                    <a:pt x="288" y="256"/>
                  </a:moveTo>
                  <a:cubicBezTo>
                    <a:pt x="80" y="256"/>
                    <a:pt x="80" y="256"/>
                    <a:pt x="80" y="256"/>
                  </a:cubicBezTo>
                  <a:cubicBezTo>
                    <a:pt x="80" y="80"/>
                    <a:pt x="80" y="80"/>
                    <a:pt x="80" y="80"/>
                  </a:cubicBezTo>
                  <a:cubicBezTo>
                    <a:pt x="288" y="80"/>
                    <a:pt x="288" y="80"/>
                    <a:pt x="288" y="80"/>
                  </a:cubicBezTo>
                  <a:lnTo>
                    <a:pt x="28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chemeClr val="bg1"/>
                </a:solidFill>
              </a:endParaRPr>
            </a:p>
          </p:txBody>
        </p:sp>
        <p:sp>
          <p:nvSpPr>
            <p:cNvPr id="146" name="Freeform 7">
              <a:extLst>
                <a:ext uri="{FF2B5EF4-FFF2-40B4-BE49-F238E27FC236}">
                  <a16:creationId xmlns:a16="http://schemas.microsoft.com/office/drawing/2014/main" id="{45EF9E90-BD23-41AA-8005-3D3AFA0E40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1088" y="2241550"/>
              <a:ext cx="120650" cy="111125"/>
            </a:xfrm>
            <a:custGeom>
              <a:avLst/>
              <a:gdLst>
                <a:gd name="T0" fmla="*/ 328 w 368"/>
                <a:gd name="T1" fmla="*/ 0 h 336"/>
                <a:gd name="T2" fmla="*/ 40 w 368"/>
                <a:gd name="T3" fmla="*/ 0 h 336"/>
                <a:gd name="T4" fmla="*/ 0 w 368"/>
                <a:gd name="T5" fmla="*/ 40 h 336"/>
                <a:gd name="T6" fmla="*/ 0 w 368"/>
                <a:gd name="T7" fmla="*/ 296 h 336"/>
                <a:gd name="T8" fmla="*/ 40 w 368"/>
                <a:gd name="T9" fmla="*/ 336 h 336"/>
                <a:gd name="T10" fmla="*/ 328 w 368"/>
                <a:gd name="T11" fmla="*/ 336 h 336"/>
                <a:gd name="T12" fmla="*/ 368 w 368"/>
                <a:gd name="T13" fmla="*/ 296 h 336"/>
                <a:gd name="T14" fmla="*/ 368 w 368"/>
                <a:gd name="T15" fmla="*/ 40 h 336"/>
                <a:gd name="T16" fmla="*/ 328 w 368"/>
                <a:gd name="T17" fmla="*/ 0 h 336"/>
                <a:gd name="T18" fmla="*/ 288 w 368"/>
                <a:gd name="T19" fmla="*/ 256 h 336"/>
                <a:gd name="T20" fmla="*/ 80 w 368"/>
                <a:gd name="T21" fmla="*/ 256 h 336"/>
                <a:gd name="T22" fmla="*/ 80 w 368"/>
                <a:gd name="T23" fmla="*/ 80 h 336"/>
                <a:gd name="T24" fmla="*/ 288 w 368"/>
                <a:gd name="T25" fmla="*/ 80 h 336"/>
                <a:gd name="T26" fmla="*/ 288 w 368"/>
                <a:gd name="T27" fmla="*/ 25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8" h="336">
                  <a:moveTo>
                    <a:pt x="328" y="0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296"/>
                    <a:pt x="0" y="296"/>
                    <a:pt x="0" y="296"/>
                  </a:cubicBezTo>
                  <a:cubicBezTo>
                    <a:pt x="0" y="318"/>
                    <a:pt x="18" y="336"/>
                    <a:pt x="40" y="336"/>
                  </a:cubicBezTo>
                  <a:cubicBezTo>
                    <a:pt x="328" y="336"/>
                    <a:pt x="328" y="336"/>
                    <a:pt x="328" y="336"/>
                  </a:cubicBezTo>
                  <a:cubicBezTo>
                    <a:pt x="350" y="336"/>
                    <a:pt x="368" y="318"/>
                    <a:pt x="368" y="296"/>
                  </a:cubicBezTo>
                  <a:cubicBezTo>
                    <a:pt x="368" y="40"/>
                    <a:pt x="368" y="40"/>
                    <a:pt x="368" y="40"/>
                  </a:cubicBezTo>
                  <a:cubicBezTo>
                    <a:pt x="368" y="18"/>
                    <a:pt x="350" y="0"/>
                    <a:pt x="328" y="0"/>
                  </a:cubicBezTo>
                  <a:close/>
                  <a:moveTo>
                    <a:pt x="288" y="256"/>
                  </a:moveTo>
                  <a:cubicBezTo>
                    <a:pt x="80" y="256"/>
                    <a:pt x="80" y="256"/>
                    <a:pt x="80" y="256"/>
                  </a:cubicBezTo>
                  <a:cubicBezTo>
                    <a:pt x="80" y="80"/>
                    <a:pt x="80" y="80"/>
                    <a:pt x="80" y="80"/>
                  </a:cubicBezTo>
                  <a:cubicBezTo>
                    <a:pt x="288" y="80"/>
                    <a:pt x="288" y="80"/>
                    <a:pt x="288" y="80"/>
                  </a:cubicBezTo>
                  <a:lnTo>
                    <a:pt x="28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chemeClr val="bg1"/>
                </a:solidFill>
              </a:endParaRPr>
            </a:p>
          </p:txBody>
        </p:sp>
        <p:sp>
          <p:nvSpPr>
            <p:cNvPr id="147" name="Freeform 8">
              <a:extLst>
                <a:ext uri="{FF2B5EF4-FFF2-40B4-BE49-F238E27FC236}">
                  <a16:creationId xmlns:a16="http://schemas.microsoft.com/office/drawing/2014/main" id="{55FD84D3-B987-41B5-B445-EF9C0442B0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1088" y="2386013"/>
              <a:ext cx="120650" cy="111125"/>
            </a:xfrm>
            <a:custGeom>
              <a:avLst/>
              <a:gdLst>
                <a:gd name="T0" fmla="*/ 328 w 368"/>
                <a:gd name="T1" fmla="*/ 0 h 336"/>
                <a:gd name="T2" fmla="*/ 40 w 368"/>
                <a:gd name="T3" fmla="*/ 0 h 336"/>
                <a:gd name="T4" fmla="*/ 0 w 368"/>
                <a:gd name="T5" fmla="*/ 40 h 336"/>
                <a:gd name="T6" fmla="*/ 0 w 368"/>
                <a:gd name="T7" fmla="*/ 296 h 336"/>
                <a:gd name="T8" fmla="*/ 40 w 368"/>
                <a:gd name="T9" fmla="*/ 336 h 336"/>
                <a:gd name="T10" fmla="*/ 328 w 368"/>
                <a:gd name="T11" fmla="*/ 336 h 336"/>
                <a:gd name="T12" fmla="*/ 368 w 368"/>
                <a:gd name="T13" fmla="*/ 296 h 336"/>
                <a:gd name="T14" fmla="*/ 368 w 368"/>
                <a:gd name="T15" fmla="*/ 40 h 336"/>
                <a:gd name="T16" fmla="*/ 328 w 368"/>
                <a:gd name="T17" fmla="*/ 0 h 336"/>
                <a:gd name="T18" fmla="*/ 288 w 368"/>
                <a:gd name="T19" fmla="*/ 256 h 336"/>
                <a:gd name="T20" fmla="*/ 80 w 368"/>
                <a:gd name="T21" fmla="*/ 256 h 336"/>
                <a:gd name="T22" fmla="*/ 80 w 368"/>
                <a:gd name="T23" fmla="*/ 80 h 336"/>
                <a:gd name="T24" fmla="*/ 288 w 368"/>
                <a:gd name="T25" fmla="*/ 80 h 336"/>
                <a:gd name="T26" fmla="*/ 288 w 368"/>
                <a:gd name="T27" fmla="*/ 25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8" h="336">
                  <a:moveTo>
                    <a:pt x="328" y="0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296"/>
                    <a:pt x="0" y="296"/>
                    <a:pt x="0" y="296"/>
                  </a:cubicBezTo>
                  <a:cubicBezTo>
                    <a:pt x="0" y="318"/>
                    <a:pt x="18" y="336"/>
                    <a:pt x="40" y="336"/>
                  </a:cubicBezTo>
                  <a:cubicBezTo>
                    <a:pt x="328" y="336"/>
                    <a:pt x="328" y="336"/>
                    <a:pt x="328" y="336"/>
                  </a:cubicBezTo>
                  <a:cubicBezTo>
                    <a:pt x="350" y="336"/>
                    <a:pt x="368" y="318"/>
                    <a:pt x="368" y="296"/>
                  </a:cubicBezTo>
                  <a:cubicBezTo>
                    <a:pt x="368" y="40"/>
                    <a:pt x="368" y="40"/>
                    <a:pt x="368" y="40"/>
                  </a:cubicBezTo>
                  <a:cubicBezTo>
                    <a:pt x="368" y="18"/>
                    <a:pt x="350" y="0"/>
                    <a:pt x="328" y="0"/>
                  </a:cubicBezTo>
                  <a:close/>
                  <a:moveTo>
                    <a:pt x="288" y="256"/>
                  </a:moveTo>
                  <a:cubicBezTo>
                    <a:pt x="80" y="256"/>
                    <a:pt x="80" y="256"/>
                    <a:pt x="80" y="256"/>
                  </a:cubicBezTo>
                  <a:cubicBezTo>
                    <a:pt x="80" y="80"/>
                    <a:pt x="80" y="80"/>
                    <a:pt x="80" y="80"/>
                  </a:cubicBezTo>
                  <a:cubicBezTo>
                    <a:pt x="288" y="80"/>
                    <a:pt x="288" y="80"/>
                    <a:pt x="288" y="80"/>
                  </a:cubicBezTo>
                  <a:lnTo>
                    <a:pt x="28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chemeClr val="bg1"/>
                </a:solidFill>
              </a:endParaRPr>
            </a:p>
          </p:txBody>
        </p:sp>
        <p:sp>
          <p:nvSpPr>
            <p:cNvPr id="148" name="Freeform 9">
              <a:extLst>
                <a:ext uri="{FF2B5EF4-FFF2-40B4-BE49-F238E27FC236}">
                  <a16:creationId xmlns:a16="http://schemas.microsoft.com/office/drawing/2014/main" id="{4F74FDAD-3BC3-4915-9DE3-F9281CC531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4125" y="2108200"/>
              <a:ext cx="115887" cy="87313"/>
            </a:xfrm>
            <a:custGeom>
              <a:avLst/>
              <a:gdLst>
                <a:gd name="T0" fmla="*/ 104 w 357"/>
                <a:gd name="T1" fmla="*/ 253 h 264"/>
                <a:gd name="T2" fmla="*/ 133 w 357"/>
                <a:gd name="T3" fmla="*/ 264 h 264"/>
                <a:gd name="T4" fmla="*/ 161 w 357"/>
                <a:gd name="T5" fmla="*/ 253 h 264"/>
                <a:gd name="T6" fmla="*/ 341 w 357"/>
                <a:gd name="T7" fmla="*/ 72 h 264"/>
                <a:gd name="T8" fmla="*/ 341 w 357"/>
                <a:gd name="T9" fmla="*/ 15 h 264"/>
                <a:gd name="T10" fmla="*/ 285 w 357"/>
                <a:gd name="T11" fmla="*/ 15 h 264"/>
                <a:gd name="T12" fmla="*/ 133 w 357"/>
                <a:gd name="T13" fmla="*/ 168 h 264"/>
                <a:gd name="T14" fmla="*/ 72 w 357"/>
                <a:gd name="T15" fmla="*/ 107 h 264"/>
                <a:gd name="T16" fmla="*/ 15 w 357"/>
                <a:gd name="T17" fmla="*/ 107 h 264"/>
                <a:gd name="T18" fmla="*/ 15 w 357"/>
                <a:gd name="T19" fmla="*/ 164 h 264"/>
                <a:gd name="T20" fmla="*/ 104 w 357"/>
                <a:gd name="T21" fmla="*/ 253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7" h="264">
                  <a:moveTo>
                    <a:pt x="104" y="253"/>
                  </a:moveTo>
                  <a:cubicBezTo>
                    <a:pt x="112" y="260"/>
                    <a:pt x="122" y="264"/>
                    <a:pt x="133" y="264"/>
                  </a:cubicBezTo>
                  <a:cubicBezTo>
                    <a:pt x="143" y="264"/>
                    <a:pt x="153" y="260"/>
                    <a:pt x="161" y="253"/>
                  </a:cubicBezTo>
                  <a:cubicBezTo>
                    <a:pt x="341" y="72"/>
                    <a:pt x="341" y="72"/>
                    <a:pt x="341" y="72"/>
                  </a:cubicBezTo>
                  <a:cubicBezTo>
                    <a:pt x="357" y="56"/>
                    <a:pt x="357" y="31"/>
                    <a:pt x="341" y="15"/>
                  </a:cubicBezTo>
                  <a:cubicBezTo>
                    <a:pt x="326" y="0"/>
                    <a:pt x="301" y="0"/>
                    <a:pt x="285" y="15"/>
                  </a:cubicBezTo>
                  <a:cubicBezTo>
                    <a:pt x="133" y="168"/>
                    <a:pt x="133" y="168"/>
                    <a:pt x="133" y="168"/>
                  </a:cubicBezTo>
                  <a:cubicBezTo>
                    <a:pt x="72" y="107"/>
                    <a:pt x="72" y="107"/>
                    <a:pt x="72" y="107"/>
                  </a:cubicBezTo>
                  <a:cubicBezTo>
                    <a:pt x="56" y="91"/>
                    <a:pt x="31" y="91"/>
                    <a:pt x="15" y="107"/>
                  </a:cubicBezTo>
                  <a:cubicBezTo>
                    <a:pt x="0" y="123"/>
                    <a:pt x="0" y="148"/>
                    <a:pt x="15" y="164"/>
                  </a:cubicBezTo>
                  <a:lnTo>
                    <a:pt x="104" y="2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chemeClr val="bg1"/>
                </a:solidFill>
              </a:endParaRPr>
            </a:p>
          </p:txBody>
        </p:sp>
        <p:sp>
          <p:nvSpPr>
            <p:cNvPr id="149" name="Freeform 10">
              <a:extLst>
                <a:ext uri="{FF2B5EF4-FFF2-40B4-BE49-F238E27FC236}">
                  <a16:creationId xmlns:a16="http://schemas.microsoft.com/office/drawing/2014/main" id="{3AF5ACDE-C74D-4016-9E98-2D2AB1B393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4125" y="2252663"/>
              <a:ext cx="115887" cy="87313"/>
            </a:xfrm>
            <a:custGeom>
              <a:avLst/>
              <a:gdLst>
                <a:gd name="T0" fmla="*/ 133 w 357"/>
                <a:gd name="T1" fmla="*/ 264 h 264"/>
                <a:gd name="T2" fmla="*/ 161 w 357"/>
                <a:gd name="T3" fmla="*/ 253 h 264"/>
                <a:gd name="T4" fmla="*/ 341 w 357"/>
                <a:gd name="T5" fmla="*/ 72 h 264"/>
                <a:gd name="T6" fmla="*/ 341 w 357"/>
                <a:gd name="T7" fmla="*/ 15 h 264"/>
                <a:gd name="T8" fmla="*/ 285 w 357"/>
                <a:gd name="T9" fmla="*/ 15 h 264"/>
                <a:gd name="T10" fmla="*/ 133 w 357"/>
                <a:gd name="T11" fmla="*/ 168 h 264"/>
                <a:gd name="T12" fmla="*/ 72 w 357"/>
                <a:gd name="T13" fmla="*/ 107 h 264"/>
                <a:gd name="T14" fmla="*/ 15 w 357"/>
                <a:gd name="T15" fmla="*/ 107 h 264"/>
                <a:gd name="T16" fmla="*/ 15 w 357"/>
                <a:gd name="T17" fmla="*/ 164 h 264"/>
                <a:gd name="T18" fmla="*/ 104 w 357"/>
                <a:gd name="T19" fmla="*/ 253 h 264"/>
                <a:gd name="T20" fmla="*/ 133 w 357"/>
                <a:gd name="T21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7" h="264">
                  <a:moveTo>
                    <a:pt x="133" y="264"/>
                  </a:moveTo>
                  <a:cubicBezTo>
                    <a:pt x="143" y="264"/>
                    <a:pt x="153" y="260"/>
                    <a:pt x="161" y="253"/>
                  </a:cubicBezTo>
                  <a:cubicBezTo>
                    <a:pt x="341" y="72"/>
                    <a:pt x="341" y="72"/>
                    <a:pt x="341" y="72"/>
                  </a:cubicBezTo>
                  <a:cubicBezTo>
                    <a:pt x="357" y="56"/>
                    <a:pt x="357" y="31"/>
                    <a:pt x="341" y="15"/>
                  </a:cubicBezTo>
                  <a:cubicBezTo>
                    <a:pt x="326" y="0"/>
                    <a:pt x="301" y="0"/>
                    <a:pt x="285" y="15"/>
                  </a:cubicBezTo>
                  <a:cubicBezTo>
                    <a:pt x="133" y="168"/>
                    <a:pt x="133" y="168"/>
                    <a:pt x="133" y="168"/>
                  </a:cubicBezTo>
                  <a:cubicBezTo>
                    <a:pt x="72" y="107"/>
                    <a:pt x="72" y="107"/>
                    <a:pt x="72" y="107"/>
                  </a:cubicBezTo>
                  <a:cubicBezTo>
                    <a:pt x="56" y="91"/>
                    <a:pt x="31" y="91"/>
                    <a:pt x="15" y="107"/>
                  </a:cubicBezTo>
                  <a:cubicBezTo>
                    <a:pt x="0" y="123"/>
                    <a:pt x="0" y="148"/>
                    <a:pt x="15" y="164"/>
                  </a:cubicBezTo>
                  <a:cubicBezTo>
                    <a:pt x="104" y="253"/>
                    <a:pt x="104" y="253"/>
                    <a:pt x="104" y="253"/>
                  </a:cubicBezTo>
                  <a:cubicBezTo>
                    <a:pt x="112" y="260"/>
                    <a:pt x="122" y="264"/>
                    <a:pt x="133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chemeClr val="bg1"/>
                </a:solidFill>
              </a:endParaRPr>
            </a:p>
          </p:txBody>
        </p:sp>
        <p:sp>
          <p:nvSpPr>
            <p:cNvPr id="150" name="Freeform 11">
              <a:extLst>
                <a:ext uri="{FF2B5EF4-FFF2-40B4-BE49-F238E27FC236}">
                  <a16:creationId xmlns:a16="http://schemas.microsoft.com/office/drawing/2014/main" id="{BDD23073-9915-422D-8521-3B147CA612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8413" y="2398713"/>
              <a:ext cx="87312" cy="85725"/>
            </a:xfrm>
            <a:custGeom>
              <a:avLst/>
              <a:gdLst>
                <a:gd name="T0" fmla="*/ 16 w 269"/>
                <a:gd name="T1" fmla="*/ 253 h 264"/>
                <a:gd name="T2" fmla="*/ 44 w 269"/>
                <a:gd name="T3" fmla="*/ 264 h 264"/>
                <a:gd name="T4" fmla="*/ 72 w 269"/>
                <a:gd name="T5" fmla="*/ 253 h 264"/>
                <a:gd name="T6" fmla="*/ 134 w 269"/>
                <a:gd name="T7" fmla="*/ 191 h 264"/>
                <a:gd name="T8" fmla="*/ 196 w 269"/>
                <a:gd name="T9" fmla="*/ 253 h 264"/>
                <a:gd name="T10" fmla="*/ 225 w 269"/>
                <a:gd name="T11" fmla="*/ 264 h 264"/>
                <a:gd name="T12" fmla="*/ 253 w 269"/>
                <a:gd name="T13" fmla="*/ 253 h 264"/>
                <a:gd name="T14" fmla="*/ 253 w 269"/>
                <a:gd name="T15" fmla="*/ 196 h 264"/>
                <a:gd name="T16" fmla="*/ 191 w 269"/>
                <a:gd name="T17" fmla="*/ 134 h 264"/>
                <a:gd name="T18" fmla="*/ 253 w 269"/>
                <a:gd name="T19" fmla="*/ 72 h 264"/>
                <a:gd name="T20" fmla="*/ 253 w 269"/>
                <a:gd name="T21" fmla="*/ 15 h 264"/>
                <a:gd name="T22" fmla="*/ 196 w 269"/>
                <a:gd name="T23" fmla="*/ 15 h 264"/>
                <a:gd name="T24" fmla="*/ 134 w 269"/>
                <a:gd name="T25" fmla="*/ 77 h 264"/>
                <a:gd name="T26" fmla="*/ 72 w 269"/>
                <a:gd name="T27" fmla="*/ 15 h 264"/>
                <a:gd name="T28" fmla="*/ 16 w 269"/>
                <a:gd name="T29" fmla="*/ 15 h 264"/>
                <a:gd name="T30" fmla="*/ 16 w 269"/>
                <a:gd name="T31" fmla="*/ 72 h 264"/>
                <a:gd name="T32" fmla="*/ 78 w 269"/>
                <a:gd name="T33" fmla="*/ 134 h 264"/>
                <a:gd name="T34" fmla="*/ 16 w 269"/>
                <a:gd name="T35" fmla="*/ 196 h 264"/>
                <a:gd name="T36" fmla="*/ 16 w 269"/>
                <a:gd name="T37" fmla="*/ 253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9" h="264">
                  <a:moveTo>
                    <a:pt x="16" y="253"/>
                  </a:moveTo>
                  <a:cubicBezTo>
                    <a:pt x="24" y="260"/>
                    <a:pt x="34" y="264"/>
                    <a:pt x="44" y="264"/>
                  </a:cubicBezTo>
                  <a:cubicBezTo>
                    <a:pt x="54" y="264"/>
                    <a:pt x="65" y="260"/>
                    <a:pt x="72" y="253"/>
                  </a:cubicBezTo>
                  <a:cubicBezTo>
                    <a:pt x="134" y="191"/>
                    <a:pt x="134" y="191"/>
                    <a:pt x="134" y="191"/>
                  </a:cubicBezTo>
                  <a:cubicBezTo>
                    <a:pt x="196" y="253"/>
                    <a:pt x="196" y="253"/>
                    <a:pt x="196" y="253"/>
                  </a:cubicBezTo>
                  <a:cubicBezTo>
                    <a:pt x="204" y="260"/>
                    <a:pt x="214" y="264"/>
                    <a:pt x="225" y="264"/>
                  </a:cubicBezTo>
                  <a:cubicBezTo>
                    <a:pt x="235" y="264"/>
                    <a:pt x="245" y="260"/>
                    <a:pt x="253" y="253"/>
                  </a:cubicBezTo>
                  <a:cubicBezTo>
                    <a:pt x="269" y="237"/>
                    <a:pt x="269" y="212"/>
                    <a:pt x="253" y="196"/>
                  </a:cubicBezTo>
                  <a:cubicBezTo>
                    <a:pt x="191" y="134"/>
                    <a:pt x="191" y="134"/>
                    <a:pt x="191" y="134"/>
                  </a:cubicBezTo>
                  <a:cubicBezTo>
                    <a:pt x="253" y="72"/>
                    <a:pt x="253" y="72"/>
                    <a:pt x="253" y="72"/>
                  </a:cubicBezTo>
                  <a:cubicBezTo>
                    <a:pt x="269" y="56"/>
                    <a:pt x="269" y="31"/>
                    <a:pt x="253" y="15"/>
                  </a:cubicBezTo>
                  <a:cubicBezTo>
                    <a:pt x="237" y="0"/>
                    <a:pt x="212" y="0"/>
                    <a:pt x="196" y="15"/>
                  </a:cubicBezTo>
                  <a:cubicBezTo>
                    <a:pt x="134" y="77"/>
                    <a:pt x="134" y="77"/>
                    <a:pt x="134" y="77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57" y="0"/>
                    <a:pt x="31" y="0"/>
                    <a:pt x="16" y="15"/>
                  </a:cubicBezTo>
                  <a:cubicBezTo>
                    <a:pt x="0" y="31"/>
                    <a:pt x="0" y="56"/>
                    <a:pt x="16" y="72"/>
                  </a:cubicBezTo>
                  <a:cubicBezTo>
                    <a:pt x="78" y="134"/>
                    <a:pt x="78" y="134"/>
                    <a:pt x="78" y="134"/>
                  </a:cubicBezTo>
                  <a:cubicBezTo>
                    <a:pt x="16" y="196"/>
                    <a:pt x="16" y="196"/>
                    <a:pt x="16" y="196"/>
                  </a:cubicBezTo>
                  <a:cubicBezTo>
                    <a:pt x="0" y="212"/>
                    <a:pt x="0" y="237"/>
                    <a:pt x="16" y="2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chemeClr val="bg1"/>
                </a:solidFill>
              </a:endParaRPr>
            </a:p>
          </p:txBody>
        </p:sp>
        <p:sp>
          <p:nvSpPr>
            <p:cNvPr id="151" name="Freeform 12">
              <a:extLst>
                <a:ext uri="{FF2B5EF4-FFF2-40B4-BE49-F238E27FC236}">
                  <a16:creationId xmlns:a16="http://schemas.microsoft.com/office/drawing/2014/main" id="{0A556530-2CB4-4669-AFFA-C00F777FA6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76788" y="1939925"/>
              <a:ext cx="528637" cy="673100"/>
            </a:xfrm>
            <a:custGeom>
              <a:avLst/>
              <a:gdLst>
                <a:gd name="T0" fmla="*/ 1480 w 1616"/>
                <a:gd name="T1" fmla="*/ 0 h 2048"/>
                <a:gd name="T2" fmla="*/ 136 w 1616"/>
                <a:gd name="T3" fmla="*/ 0 h 2048"/>
                <a:gd name="T4" fmla="*/ 0 w 1616"/>
                <a:gd name="T5" fmla="*/ 136 h 2048"/>
                <a:gd name="T6" fmla="*/ 0 w 1616"/>
                <a:gd name="T7" fmla="*/ 1912 h 2048"/>
                <a:gd name="T8" fmla="*/ 136 w 1616"/>
                <a:gd name="T9" fmla="*/ 2048 h 2048"/>
                <a:gd name="T10" fmla="*/ 1480 w 1616"/>
                <a:gd name="T11" fmla="*/ 2048 h 2048"/>
                <a:gd name="T12" fmla="*/ 1616 w 1616"/>
                <a:gd name="T13" fmla="*/ 1912 h 2048"/>
                <a:gd name="T14" fmla="*/ 1616 w 1616"/>
                <a:gd name="T15" fmla="*/ 1480 h 2048"/>
                <a:gd name="T16" fmla="*/ 1616 w 1616"/>
                <a:gd name="T17" fmla="*/ 1398 h 2048"/>
                <a:gd name="T18" fmla="*/ 1616 w 1616"/>
                <a:gd name="T19" fmla="*/ 136 h 2048"/>
                <a:gd name="T20" fmla="*/ 1480 w 1616"/>
                <a:gd name="T21" fmla="*/ 0 h 2048"/>
                <a:gd name="T22" fmla="*/ 547 w 1616"/>
                <a:gd name="T23" fmla="*/ 80 h 2048"/>
                <a:gd name="T24" fmla="*/ 1069 w 1616"/>
                <a:gd name="T25" fmla="*/ 80 h 2048"/>
                <a:gd name="T26" fmla="*/ 1069 w 1616"/>
                <a:gd name="T27" fmla="*/ 243 h 2048"/>
                <a:gd name="T28" fmla="*/ 1024 w 1616"/>
                <a:gd name="T29" fmla="*/ 288 h 2048"/>
                <a:gd name="T30" fmla="*/ 592 w 1616"/>
                <a:gd name="T31" fmla="*/ 288 h 2048"/>
                <a:gd name="T32" fmla="*/ 547 w 1616"/>
                <a:gd name="T33" fmla="*/ 243 h 2048"/>
                <a:gd name="T34" fmla="*/ 547 w 1616"/>
                <a:gd name="T35" fmla="*/ 80 h 2048"/>
                <a:gd name="T36" fmla="*/ 1536 w 1616"/>
                <a:gd name="T37" fmla="*/ 1480 h 2048"/>
                <a:gd name="T38" fmla="*/ 1536 w 1616"/>
                <a:gd name="T39" fmla="*/ 1912 h 2048"/>
                <a:gd name="T40" fmla="*/ 1480 w 1616"/>
                <a:gd name="T41" fmla="*/ 1968 h 2048"/>
                <a:gd name="T42" fmla="*/ 136 w 1616"/>
                <a:gd name="T43" fmla="*/ 1968 h 2048"/>
                <a:gd name="T44" fmla="*/ 80 w 1616"/>
                <a:gd name="T45" fmla="*/ 1912 h 2048"/>
                <a:gd name="T46" fmla="*/ 80 w 1616"/>
                <a:gd name="T47" fmla="*/ 136 h 2048"/>
                <a:gd name="T48" fmla="*/ 136 w 1616"/>
                <a:gd name="T49" fmla="*/ 80 h 2048"/>
                <a:gd name="T50" fmla="*/ 467 w 1616"/>
                <a:gd name="T51" fmla="*/ 80 h 2048"/>
                <a:gd name="T52" fmla="*/ 467 w 1616"/>
                <a:gd name="T53" fmla="*/ 160 h 2048"/>
                <a:gd name="T54" fmla="*/ 200 w 1616"/>
                <a:gd name="T55" fmla="*/ 160 h 2048"/>
                <a:gd name="T56" fmla="*/ 160 w 1616"/>
                <a:gd name="T57" fmla="*/ 200 h 2048"/>
                <a:gd name="T58" fmla="*/ 160 w 1616"/>
                <a:gd name="T59" fmla="*/ 1848 h 2048"/>
                <a:gd name="T60" fmla="*/ 200 w 1616"/>
                <a:gd name="T61" fmla="*/ 1888 h 2048"/>
                <a:gd name="T62" fmla="*/ 648 w 1616"/>
                <a:gd name="T63" fmla="*/ 1888 h 2048"/>
                <a:gd name="T64" fmla="*/ 688 w 1616"/>
                <a:gd name="T65" fmla="*/ 1848 h 2048"/>
                <a:gd name="T66" fmla="*/ 648 w 1616"/>
                <a:gd name="T67" fmla="*/ 1808 h 2048"/>
                <a:gd name="T68" fmla="*/ 240 w 1616"/>
                <a:gd name="T69" fmla="*/ 1808 h 2048"/>
                <a:gd name="T70" fmla="*/ 240 w 1616"/>
                <a:gd name="T71" fmla="*/ 240 h 2048"/>
                <a:gd name="T72" fmla="*/ 467 w 1616"/>
                <a:gd name="T73" fmla="*/ 240 h 2048"/>
                <a:gd name="T74" fmla="*/ 467 w 1616"/>
                <a:gd name="T75" fmla="*/ 243 h 2048"/>
                <a:gd name="T76" fmla="*/ 592 w 1616"/>
                <a:gd name="T77" fmla="*/ 368 h 2048"/>
                <a:gd name="T78" fmla="*/ 1024 w 1616"/>
                <a:gd name="T79" fmla="*/ 368 h 2048"/>
                <a:gd name="T80" fmla="*/ 1149 w 1616"/>
                <a:gd name="T81" fmla="*/ 243 h 2048"/>
                <a:gd name="T82" fmla="*/ 1149 w 1616"/>
                <a:gd name="T83" fmla="*/ 240 h 2048"/>
                <a:gd name="T84" fmla="*/ 1376 w 1616"/>
                <a:gd name="T85" fmla="*/ 240 h 2048"/>
                <a:gd name="T86" fmla="*/ 1376 w 1616"/>
                <a:gd name="T87" fmla="*/ 1398 h 2048"/>
                <a:gd name="T88" fmla="*/ 1376 w 1616"/>
                <a:gd name="T89" fmla="*/ 1480 h 2048"/>
                <a:gd name="T90" fmla="*/ 1376 w 1616"/>
                <a:gd name="T91" fmla="*/ 1808 h 2048"/>
                <a:gd name="T92" fmla="*/ 968 w 1616"/>
                <a:gd name="T93" fmla="*/ 1808 h 2048"/>
                <a:gd name="T94" fmla="*/ 928 w 1616"/>
                <a:gd name="T95" fmla="*/ 1848 h 2048"/>
                <a:gd name="T96" fmla="*/ 968 w 1616"/>
                <a:gd name="T97" fmla="*/ 1888 h 2048"/>
                <a:gd name="T98" fmla="*/ 1416 w 1616"/>
                <a:gd name="T99" fmla="*/ 1888 h 2048"/>
                <a:gd name="T100" fmla="*/ 1456 w 1616"/>
                <a:gd name="T101" fmla="*/ 1848 h 2048"/>
                <a:gd name="T102" fmla="*/ 1456 w 1616"/>
                <a:gd name="T103" fmla="*/ 1480 h 2048"/>
                <a:gd name="T104" fmla="*/ 1456 w 1616"/>
                <a:gd name="T105" fmla="*/ 1398 h 2048"/>
                <a:gd name="T106" fmla="*/ 1456 w 1616"/>
                <a:gd name="T107" fmla="*/ 200 h 2048"/>
                <a:gd name="T108" fmla="*/ 1416 w 1616"/>
                <a:gd name="T109" fmla="*/ 160 h 2048"/>
                <a:gd name="T110" fmla="*/ 1149 w 1616"/>
                <a:gd name="T111" fmla="*/ 160 h 2048"/>
                <a:gd name="T112" fmla="*/ 1149 w 1616"/>
                <a:gd name="T113" fmla="*/ 80 h 2048"/>
                <a:gd name="T114" fmla="*/ 1480 w 1616"/>
                <a:gd name="T115" fmla="*/ 80 h 2048"/>
                <a:gd name="T116" fmla="*/ 1536 w 1616"/>
                <a:gd name="T117" fmla="*/ 136 h 2048"/>
                <a:gd name="T118" fmla="*/ 1536 w 1616"/>
                <a:gd name="T119" fmla="*/ 1398 h 2048"/>
                <a:gd name="T120" fmla="*/ 1536 w 1616"/>
                <a:gd name="T121" fmla="*/ 1480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16" h="2048">
                  <a:moveTo>
                    <a:pt x="1480" y="0"/>
                  </a:moveTo>
                  <a:cubicBezTo>
                    <a:pt x="136" y="0"/>
                    <a:pt x="136" y="0"/>
                    <a:pt x="136" y="0"/>
                  </a:cubicBezTo>
                  <a:cubicBezTo>
                    <a:pt x="61" y="0"/>
                    <a:pt x="0" y="61"/>
                    <a:pt x="0" y="136"/>
                  </a:cubicBezTo>
                  <a:cubicBezTo>
                    <a:pt x="0" y="1912"/>
                    <a:pt x="0" y="1912"/>
                    <a:pt x="0" y="1912"/>
                  </a:cubicBezTo>
                  <a:cubicBezTo>
                    <a:pt x="0" y="1987"/>
                    <a:pt x="61" y="2048"/>
                    <a:pt x="136" y="2048"/>
                  </a:cubicBezTo>
                  <a:cubicBezTo>
                    <a:pt x="1480" y="2048"/>
                    <a:pt x="1480" y="2048"/>
                    <a:pt x="1480" y="2048"/>
                  </a:cubicBezTo>
                  <a:cubicBezTo>
                    <a:pt x="1555" y="2048"/>
                    <a:pt x="1616" y="1987"/>
                    <a:pt x="1616" y="1912"/>
                  </a:cubicBezTo>
                  <a:cubicBezTo>
                    <a:pt x="1616" y="1480"/>
                    <a:pt x="1616" y="1480"/>
                    <a:pt x="1616" y="1480"/>
                  </a:cubicBezTo>
                  <a:cubicBezTo>
                    <a:pt x="1616" y="1398"/>
                    <a:pt x="1616" y="1398"/>
                    <a:pt x="1616" y="1398"/>
                  </a:cubicBezTo>
                  <a:cubicBezTo>
                    <a:pt x="1616" y="136"/>
                    <a:pt x="1616" y="136"/>
                    <a:pt x="1616" y="136"/>
                  </a:cubicBezTo>
                  <a:cubicBezTo>
                    <a:pt x="1616" y="61"/>
                    <a:pt x="1555" y="0"/>
                    <a:pt x="1480" y="0"/>
                  </a:cubicBezTo>
                  <a:close/>
                  <a:moveTo>
                    <a:pt x="547" y="80"/>
                  </a:moveTo>
                  <a:cubicBezTo>
                    <a:pt x="1069" y="80"/>
                    <a:pt x="1069" y="80"/>
                    <a:pt x="1069" y="80"/>
                  </a:cubicBezTo>
                  <a:cubicBezTo>
                    <a:pt x="1069" y="243"/>
                    <a:pt x="1069" y="243"/>
                    <a:pt x="1069" y="243"/>
                  </a:cubicBezTo>
                  <a:cubicBezTo>
                    <a:pt x="1069" y="268"/>
                    <a:pt x="1048" y="288"/>
                    <a:pt x="1024" y="288"/>
                  </a:cubicBezTo>
                  <a:cubicBezTo>
                    <a:pt x="592" y="288"/>
                    <a:pt x="592" y="288"/>
                    <a:pt x="592" y="288"/>
                  </a:cubicBezTo>
                  <a:cubicBezTo>
                    <a:pt x="568" y="288"/>
                    <a:pt x="547" y="268"/>
                    <a:pt x="547" y="243"/>
                  </a:cubicBezTo>
                  <a:lnTo>
                    <a:pt x="547" y="80"/>
                  </a:lnTo>
                  <a:close/>
                  <a:moveTo>
                    <a:pt x="1536" y="1480"/>
                  </a:moveTo>
                  <a:cubicBezTo>
                    <a:pt x="1536" y="1912"/>
                    <a:pt x="1536" y="1912"/>
                    <a:pt x="1536" y="1912"/>
                  </a:cubicBezTo>
                  <a:cubicBezTo>
                    <a:pt x="1536" y="1943"/>
                    <a:pt x="1511" y="1968"/>
                    <a:pt x="1480" y="1968"/>
                  </a:cubicBezTo>
                  <a:cubicBezTo>
                    <a:pt x="136" y="1968"/>
                    <a:pt x="136" y="1968"/>
                    <a:pt x="136" y="1968"/>
                  </a:cubicBezTo>
                  <a:cubicBezTo>
                    <a:pt x="105" y="1968"/>
                    <a:pt x="80" y="1943"/>
                    <a:pt x="80" y="1912"/>
                  </a:cubicBezTo>
                  <a:cubicBezTo>
                    <a:pt x="80" y="136"/>
                    <a:pt x="80" y="136"/>
                    <a:pt x="80" y="136"/>
                  </a:cubicBezTo>
                  <a:cubicBezTo>
                    <a:pt x="80" y="105"/>
                    <a:pt x="105" y="80"/>
                    <a:pt x="136" y="80"/>
                  </a:cubicBezTo>
                  <a:cubicBezTo>
                    <a:pt x="467" y="80"/>
                    <a:pt x="467" y="80"/>
                    <a:pt x="467" y="80"/>
                  </a:cubicBezTo>
                  <a:cubicBezTo>
                    <a:pt x="467" y="160"/>
                    <a:pt x="467" y="160"/>
                    <a:pt x="467" y="160"/>
                  </a:cubicBezTo>
                  <a:cubicBezTo>
                    <a:pt x="200" y="160"/>
                    <a:pt x="200" y="160"/>
                    <a:pt x="200" y="160"/>
                  </a:cubicBezTo>
                  <a:cubicBezTo>
                    <a:pt x="178" y="160"/>
                    <a:pt x="160" y="178"/>
                    <a:pt x="160" y="200"/>
                  </a:cubicBezTo>
                  <a:cubicBezTo>
                    <a:pt x="160" y="1848"/>
                    <a:pt x="160" y="1848"/>
                    <a:pt x="160" y="1848"/>
                  </a:cubicBezTo>
                  <a:cubicBezTo>
                    <a:pt x="160" y="1870"/>
                    <a:pt x="178" y="1888"/>
                    <a:pt x="200" y="1888"/>
                  </a:cubicBezTo>
                  <a:cubicBezTo>
                    <a:pt x="648" y="1888"/>
                    <a:pt x="648" y="1888"/>
                    <a:pt x="648" y="1888"/>
                  </a:cubicBezTo>
                  <a:cubicBezTo>
                    <a:pt x="670" y="1888"/>
                    <a:pt x="688" y="1870"/>
                    <a:pt x="688" y="1848"/>
                  </a:cubicBezTo>
                  <a:cubicBezTo>
                    <a:pt x="688" y="1826"/>
                    <a:pt x="670" y="1808"/>
                    <a:pt x="648" y="1808"/>
                  </a:cubicBezTo>
                  <a:cubicBezTo>
                    <a:pt x="240" y="1808"/>
                    <a:pt x="240" y="1808"/>
                    <a:pt x="240" y="1808"/>
                  </a:cubicBezTo>
                  <a:cubicBezTo>
                    <a:pt x="240" y="240"/>
                    <a:pt x="240" y="240"/>
                    <a:pt x="240" y="240"/>
                  </a:cubicBezTo>
                  <a:cubicBezTo>
                    <a:pt x="467" y="240"/>
                    <a:pt x="467" y="240"/>
                    <a:pt x="467" y="240"/>
                  </a:cubicBezTo>
                  <a:cubicBezTo>
                    <a:pt x="467" y="243"/>
                    <a:pt x="467" y="243"/>
                    <a:pt x="467" y="243"/>
                  </a:cubicBezTo>
                  <a:cubicBezTo>
                    <a:pt x="467" y="312"/>
                    <a:pt x="523" y="368"/>
                    <a:pt x="592" y="368"/>
                  </a:cubicBezTo>
                  <a:cubicBezTo>
                    <a:pt x="1024" y="368"/>
                    <a:pt x="1024" y="368"/>
                    <a:pt x="1024" y="368"/>
                  </a:cubicBezTo>
                  <a:cubicBezTo>
                    <a:pt x="1093" y="368"/>
                    <a:pt x="1149" y="312"/>
                    <a:pt x="1149" y="243"/>
                  </a:cubicBezTo>
                  <a:cubicBezTo>
                    <a:pt x="1149" y="240"/>
                    <a:pt x="1149" y="240"/>
                    <a:pt x="1149" y="240"/>
                  </a:cubicBezTo>
                  <a:cubicBezTo>
                    <a:pt x="1376" y="240"/>
                    <a:pt x="1376" y="240"/>
                    <a:pt x="1376" y="240"/>
                  </a:cubicBezTo>
                  <a:cubicBezTo>
                    <a:pt x="1376" y="1398"/>
                    <a:pt x="1376" y="1398"/>
                    <a:pt x="1376" y="1398"/>
                  </a:cubicBezTo>
                  <a:cubicBezTo>
                    <a:pt x="1376" y="1480"/>
                    <a:pt x="1376" y="1480"/>
                    <a:pt x="1376" y="1480"/>
                  </a:cubicBezTo>
                  <a:cubicBezTo>
                    <a:pt x="1376" y="1808"/>
                    <a:pt x="1376" y="1808"/>
                    <a:pt x="1376" y="1808"/>
                  </a:cubicBezTo>
                  <a:cubicBezTo>
                    <a:pt x="968" y="1808"/>
                    <a:pt x="968" y="1808"/>
                    <a:pt x="968" y="1808"/>
                  </a:cubicBezTo>
                  <a:cubicBezTo>
                    <a:pt x="946" y="1808"/>
                    <a:pt x="928" y="1826"/>
                    <a:pt x="928" y="1848"/>
                  </a:cubicBezTo>
                  <a:cubicBezTo>
                    <a:pt x="928" y="1870"/>
                    <a:pt x="946" y="1888"/>
                    <a:pt x="968" y="1888"/>
                  </a:cubicBezTo>
                  <a:cubicBezTo>
                    <a:pt x="1416" y="1888"/>
                    <a:pt x="1416" y="1888"/>
                    <a:pt x="1416" y="1888"/>
                  </a:cubicBezTo>
                  <a:cubicBezTo>
                    <a:pt x="1438" y="1888"/>
                    <a:pt x="1456" y="1870"/>
                    <a:pt x="1456" y="1848"/>
                  </a:cubicBezTo>
                  <a:cubicBezTo>
                    <a:pt x="1456" y="1480"/>
                    <a:pt x="1456" y="1480"/>
                    <a:pt x="1456" y="1480"/>
                  </a:cubicBezTo>
                  <a:cubicBezTo>
                    <a:pt x="1456" y="1398"/>
                    <a:pt x="1456" y="1398"/>
                    <a:pt x="1456" y="1398"/>
                  </a:cubicBezTo>
                  <a:cubicBezTo>
                    <a:pt x="1456" y="200"/>
                    <a:pt x="1456" y="200"/>
                    <a:pt x="1456" y="200"/>
                  </a:cubicBezTo>
                  <a:cubicBezTo>
                    <a:pt x="1456" y="178"/>
                    <a:pt x="1438" y="160"/>
                    <a:pt x="1416" y="160"/>
                  </a:cubicBezTo>
                  <a:cubicBezTo>
                    <a:pt x="1149" y="160"/>
                    <a:pt x="1149" y="160"/>
                    <a:pt x="1149" y="160"/>
                  </a:cubicBezTo>
                  <a:cubicBezTo>
                    <a:pt x="1149" y="80"/>
                    <a:pt x="1149" y="80"/>
                    <a:pt x="1149" y="80"/>
                  </a:cubicBezTo>
                  <a:cubicBezTo>
                    <a:pt x="1480" y="80"/>
                    <a:pt x="1480" y="80"/>
                    <a:pt x="1480" y="80"/>
                  </a:cubicBezTo>
                  <a:cubicBezTo>
                    <a:pt x="1511" y="80"/>
                    <a:pt x="1536" y="105"/>
                    <a:pt x="1536" y="136"/>
                  </a:cubicBezTo>
                  <a:cubicBezTo>
                    <a:pt x="1536" y="1398"/>
                    <a:pt x="1536" y="1398"/>
                    <a:pt x="1536" y="1398"/>
                  </a:cubicBezTo>
                  <a:lnTo>
                    <a:pt x="1536" y="14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chemeClr val="bg1"/>
                </a:solidFill>
              </a:endParaRPr>
            </a:p>
          </p:txBody>
        </p:sp>
      </p:grp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C26A808F-9270-4F7E-9722-90A7771A4C7C}"/>
              </a:ext>
            </a:extLst>
          </p:cNvPr>
          <p:cNvGrpSpPr/>
          <p:nvPr/>
        </p:nvGrpSpPr>
        <p:grpSpPr>
          <a:xfrm>
            <a:off x="4251344" y="2219765"/>
            <a:ext cx="535480" cy="540587"/>
            <a:chOff x="4478338" y="4321175"/>
            <a:chExt cx="998537" cy="1008063"/>
          </a:xfrm>
          <a:solidFill>
            <a:srgbClr val="686C86"/>
          </a:solidFill>
        </p:grpSpPr>
        <p:sp>
          <p:nvSpPr>
            <p:cNvPr id="153" name="Freeform 20">
              <a:extLst>
                <a:ext uri="{FF2B5EF4-FFF2-40B4-BE49-F238E27FC236}">
                  <a16:creationId xmlns:a16="http://schemas.microsoft.com/office/drawing/2014/main" id="{B1981257-D7D0-489A-A881-F3D6EDE407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8338" y="4321175"/>
              <a:ext cx="998537" cy="1008063"/>
            </a:xfrm>
            <a:custGeom>
              <a:avLst/>
              <a:gdLst>
                <a:gd name="T0" fmla="*/ 10382 w 12000"/>
                <a:gd name="T1" fmla="*/ 3486 h 12074"/>
                <a:gd name="T2" fmla="*/ 11776 w 12000"/>
                <a:gd name="T3" fmla="*/ 1011 h 12074"/>
                <a:gd name="T4" fmla="*/ 8588 w 12000"/>
                <a:gd name="T5" fmla="*/ 1692 h 12074"/>
                <a:gd name="T6" fmla="*/ 6880 w 12000"/>
                <a:gd name="T7" fmla="*/ 74 h 12074"/>
                <a:gd name="T8" fmla="*/ 4663 w 12000"/>
                <a:gd name="T9" fmla="*/ 1173 h 12074"/>
                <a:gd name="T10" fmla="*/ 2380 w 12000"/>
                <a:gd name="T11" fmla="*/ 1210 h 12074"/>
                <a:gd name="T12" fmla="*/ 1590 w 12000"/>
                <a:gd name="T13" fmla="*/ 3554 h 12074"/>
                <a:gd name="T14" fmla="*/ 0 w 12000"/>
                <a:gd name="T15" fmla="*/ 5194 h 12074"/>
                <a:gd name="T16" fmla="*/ 1099 w 12000"/>
                <a:gd name="T17" fmla="*/ 7411 h 12074"/>
                <a:gd name="T18" fmla="*/ 1136 w 12000"/>
                <a:gd name="T19" fmla="*/ 9694 h 12074"/>
                <a:gd name="T20" fmla="*/ 3480 w 12000"/>
                <a:gd name="T21" fmla="*/ 10484 h 12074"/>
                <a:gd name="T22" fmla="*/ 5120 w 12000"/>
                <a:gd name="T23" fmla="*/ 12074 h 12074"/>
                <a:gd name="T24" fmla="*/ 7337 w 12000"/>
                <a:gd name="T25" fmla="*/ 10975 h 12074"/>
                <a:gd name="T26" fmla="*/ 9620 w 12000"/>
                <a:gd name="T27" fmla="*/ 10938 h 12074"/>
                <a:gd name="T28" fmla="*/ 10410 w 12000"/>
                <a:gd name="T29" fmla="*/ 8594 h 12074"/>
                <a:gd name="T30" fmla="*/ 12000 w 12000"/>
                <a:gd name="T31" fmla="*/ 6954 h 12074"/>
                <a:gd name="T32" fmla="*/ 10313 w 12000"/>
                <a:gd name="T33" fmla="*/ 630 h 12074"/>
                <a:gd name="T34" fmla="*/ 11531 w 12000"/>
                <a:gd name="T35" fmla="*/ 1552 h 12074"/>
                <a:gd name="T36" fmla="*/ 9708 w 12000"/>
                <a:gd name="T37" fmla="*/ 1235 h 12074"/>
                <a:gd name="T38" fmla="*/ 9778 w 12000"/>
                <a:gd name="T39" fmla="*/ 1968 h 12074"/>
                <a:gd name="T40" fmla="*/ 8949 w 12000"/>
                <a:gd name="T41" fmla="*/ 3364 h 12074"/>
                <a:gd name="T42" fmla="*/ 10508 w 12000"/>
                <a:gd name="T43" fmla="*/ 2698 h 12074"/>
                <a:gd name="T44" fmla="*/ 6364 w 12000"/>
                <a:gd name="T45" fmla="*/ 6841 h 12074"/>
                <a:gd name="T46" fmla="*/ 7855 w 12000"/>
                <a:gd name="T47" fmla="*/ 4223 h 12074"/>
                <a:gd name="T48" fmla="*/ 5233 w 12000"/>
                <a:gd name="T49" fmla="*/ 5710 h 12074"/>
                <a:gd name="T50" fmla="*/ 9376 w 12000"/>
                <a:gd name="T51" fmla="*/ 1566 h 12074"/>
                <a:gd name="T52" fmla="*/ 5469 w 12000"/>
                <a:gd name="T53" fmla="*/ 6609 h 12074"/>
                <a:gd name="T54" fmla="*/ 5936 w 12000"/>
                <a:gd name="T55" fmla="*/ 7076 h 12074"/>
                <a:gd name="T56" fmla="*/ 4981 w 12000"/>
                <a:gd name="T57" fmla="*/ 7414 h 12074"/>
                <a:gd name="T58" fmla="*/ 4981 w 12000"/>
                <a:gd name="T59" fmla="*/ 7414 h 12074"/>
                <a:gd name="T60" fmla="*/ 10513 w 12000"/>
                <a:gd name="T61" fmla="*/ 7122 h 12074"/>
                <a:gd name="T62" fmla="*/ 10403 w 12000"/>
                <a:gd name="T63" fmla="*/ 9492 h 12074"/>
                <a:gd name="T64" fmla="*/ 8450 w 12000"/>
                <a:gd name="T65" fmla="*/ 10006 h 12074"/>
                <a:gd name="T66" fmla="*/ 6696 w 12000"/>
                <a:gd name="T67" fmla="*/ 11605 h 12074"/>
                <a:gd name="T68" fmla="*/ 4952 w 12000"/>
                <a:gd name="T69" fmla="*/ 10587 h 12074"/>
                <a:gd name="T70" fmla="*/ 2582 w 12000"/>
                <a:gd name="T71" fmla="*/ 10477 h 12074"/>
                <a:gd name="T72" fmla="*/ 2068 w 12000"/>
                <a:gd name="T73" fmla="*/ 8524 h 12074"/>
                <a:gd name="T74" fmla="*/ 469 w 12000"/>
                <a:gd name="T75" fmla="*/ 6771 h 12074"/>
                <a:gd name="T76" fmla="*/ 1487 w 12000"/>
                <a:gd name="T77" fmla="*/ 5026 h 12074"/>
                <a:gd name="T78" fmla="*/ 1597 w 12000"/>
                <a:gd name="T79" fmla="*/ 2656 h 12074"/>
                <a:gd name="T80" fmla="*/ 3550 w 12000"/>
                <a:gd name="T81" fmla="*/ 2142 h 12074"/>
                <a:gd name="T82" fmla="*/ 5303 w 12000"/>
                <a:gd name="T83" fmla="*/ 543 h 12074"/>
                <a:gd name="T84" fmla="*/ 7048 w 12000"/>
                <a:gd name="T85" fmla="*/ 1561 h 12074"/>
                <a:gd name="T86" fmla="*/ 6000 w 12000"/>
                <a:gd name="T87" fmla="*/ 2277 h 12074"/>
                <a:gd name="T88" fmla="*/ 4178 w 12000"/>
                <a:gd name="T89" fmla="*/ 3246 h 12074"/>
                <a:gd name="T90" fmla="*/ 7279 w 12000"/>
                <a:gd name="T91" fmla="*/ 3001 h 12074"/>
                <a:gd name="T92" fmla="*/ 3879 w 12000"/>
                <a:gd name="T93" fmla="*/ 7896 h 12074"/>
                <a:gd name="T94" fmla="*/ 4178 w 12000"/>
                <a:gd name="T95" fmla="*/ 8195 h 12074"/>
                <a:gd name="T96" fmla="*/ 9073 w 12000"/>
                <a:gd name="T97" fmla="*/ 4795 h 12074"/>
                <a:gd name="T98" fmla="*/ 2672 w 12000"/>
                <a:gd name="T99" fmla="*/ 6074 h 12074"/>
                <a:gd name="T100" fmla="*/ 2725 w 12000"/>
                <a:gd name="T101" fmla="*/ 4152 h 12074"/>
                <a:gd name="T102" fmla="*/ 9797 w 12000"/>
                <a:gd name="T103" fmla="*/ 6074 h 12074"/>
                <a:gd name="T104" fmla="*/ 10513 w 12000"/>
                <a:gd name="T105" fmla="*/ 5026 h 12074"/>
                <a:gd name="T106" fmla="*/ 11531 w 12000"/>
                <a:gd name="T107" fmla="*/ 6771 h 120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000" h="12074">
                  <a:moveTo>
                    <a:pt x="11822" y="4967"/>
                  </a:moveTo>
                  <a:cubicBezTo>
                    <a:pt x="10901" y="4737"/>
                    <a:pt x="10901" y="4737"/>
                    <a:pt x="10901" y="4737"/>
                  </a:cubicBezTo>
                  <a:cubicBezTo>
                    <a:pt x="10382" y="3486"/>
                    <a:pt x="10382" y="3486"/>
                    <a:pt x="10382" y="3486"/>
                  </a:cubicBezTo>
                  <a:cubicBezTo>
                    <a:pt x="11776" y="2092"/>
                    <a:pt x="11776" y="2092"/>
                    <a:pt x="11776" y="2092"/>
                  </a:cubicBezTo>
                  <a:cubicBezTo>
                    <a:pt x="11920" y="1948"/>
                    <a:pt x="12000" y="1756"/>
                    <a:pt x="12000" y="1552"/>
                  </a:cubicBezTo>
                  <a:cubicBezTo>
                    <a:pt x="12000" y="1347"/>
                    <a:pt x="11920" y="1155"/>
                    <a:pt x="11776" y="1011"/>
                  </a:cubicBezTo>
                  <a:cubicBezTo>
                    <a:pt x="11063" y="298"/>
                    <a:pt x="11063" y="298"/>
                    <a:pt x="11063" y="298"/>
                  </a:cubicBezTo>
                  <a:cubicBezTo>
                    <a:pt x="10765" y="0"/>
                    <a:pt x="10280" y="0"/>
                    <a:pt x="9982" y="298"/>
                  </a:cubicBezTo>
                  <a:cubicBezTo>
                    <a:pt x="8588" y="1692"/>
                    <a:pt x="8588" y="1692"/>
                    <a:pt x="8588" y="1692"/>
                  </a:cubicBezTo>
                  <a:cubicBezTo>
                    <a:pt x="7337" y="1173"/>
                    <a:pt x="7337" y="1173"/>
                    <a:pt x="7337" y="1173"/>
                  </a:cubicBezTo>
                  <a:cubicBezTo>
                    <a:pt x="7107" y="252"/>
                    <a:pt x="7107" y="252"/>
                    <a:pt x="7107" y="252"/>
                  </a:cubicBezTo>
                  <a:cubicBezTo>
                    <a:pt x="7081" y="147"/>
                    <a:pt x="6987" y="74"/>
                    <a:pt x="6880" y="74"/>
                  </a:cubicBezTo>
                  <a:cubicBezTo>
                    <a:pt x="5120" y="74"/>
                    <a:pt x="5120" y="74"/>
                    <a:pt x="5120" y="74"/>
                  </a:cubicBezTo>
                  <a:cubicBezTo>
                    <a:pt x="5013" y="74"/>
                    <a:pt x="4919" y="147"/>
                    <a:pt x="4893" y="252"/>
                  </a:cubicBezTo>
                  <a:cubicBezTo>
                    <a:pt x="4663" y="1173"/>
                    <a:pt x="4663" y="1173"/>
                    <a:pt x="4663" y="1173"/>
                  </a:cubicBezTo>
                  <a:cubicBezTo>
                    <a:pt x="3480" y="1664"/>
                    <a:pt x="3480" y="1664"/>
                    <a:pt x="3480" y="1664"/>
                  </a:cubicBezTo>
                  <a:cubicBezTo>
                    <a:pt x="2666" y="1175"/>
                    <a:pt x="2666" y="1175"/>
                    <a:pt x="2666" y="1175"/>
                  </a:cubicBezTo>
                  <a:cubicBezTo>
                    <a:pt x="2574" y="1119"/>
                    <a:pt x="2456" y="1134"/>
                    <a:pt x="2380" y="1210"/>
                  </a:cubicBezTo>
                  <a:cubicBezTo>
                    <a:pt x="1136" y="2454"/>
                    <a:pt x="1136" y="2454"/>
                    <a:pt x="1136" y="2454"/>
                  </a:cubicBezTo>
                  <a:cubicBezTo>
                    <a:pt x="1060" y="2530"/>
                    <a:pt x="1045" y="2648"/>
                    <a:pt x="1101" y="2741"/>
                  </a:cubicBezTo>
                  <a:cubicBezTo>
                    <a:pt x="1590" y="3554"/>
                    <a:pt x="1590" y="3554"/>
                    <a:pt x="1590" y="3554"/>
                  </a:cubicBezTo>
                  <a:cubicBezTo>
                    <a:pt x="1099" y="4737"/>
                    <a:pt x="1099" y="4737"/>
                    <a:pt x="1099" y="4737"/>
                  </a:cubicBezTo>
                  <a:cubicBezTo>
                    <a:pt x="178" y="4967"/>
                    <a:pt x="178" y="4967"/>
                    <a:pt x="178" y="4967"/>
                  </a:cubicBezTo>
                  <a:cubicBezTo>
                    <a:pt x="73" y="4993"/>
                    <a:pt x="0" y="5087"/>
                    <a:pt x="0" y="5194"/>
                  </a:cubicBezTo>
                  <a:cubicBezTo>
                    <a:pt x="0" y="6954"/>
                    <a:pt x="0" y="6954"/>
                    <a:pt x="0" y="6954"/>
                  </a:cubicBezTo>
                  <a:cubicBezTo>
                    <a:pt x="0" y="7061"/>
                    <a:pt x="73" y="7155"/>
                    <a:pt x="178" y="7181"/>
                  </a:cubicBezTo>
                  <a:cubicBezTo>
                    <a:pt x="1099" y="7411"/>
                    <a:pt x="1099" y="7411"/>
                    <a:pt x="1099" y="7411"/>
                  </a:cubicBezTo>
                  <a:cubicBezTo>
                    <a:pt x="1590" y="8594"/>
                    <a:pt x="1590" y="8594"/>
                    <a:pt x="1590" y="8594"/>
                  </a:cubicBezTo>
                  <a:cubicBezTo>
                    <a:pt x="1101" y="9407"/>
                    <a:pt x="1101" y="9407"/>
                    <a:pt x="1101" y="9407"/>
                  </a:cubicBezTo>
                  <a:cubicBezTo>
                    <a:pt x="1045" y="9500"/>
                    <a:pt x="1060" y="9618"/>
                    <a:pt x="1136" y="9694"/>
                  </a:cubicBezTo>
                  <a:cubicBezTo>
                    <a:pt x="2380" y="10938"/>
                    <a:pt x="2380" y="10938"/>
                    <a:pt x="2380" y="10938"/>
                  </a:cubicBezTo>
                  <a:cubicBezTo>
                    <a:pt x="2456" y="11014"/>
                    <a:pt x="2574" y="11029"/>
                    <a:pt x="2666" y="10973"/>
                  </a:cubicBezTo>
                  <a:cubicBezTo>
                    <a:pt x="3480" y="10484"/>
                    <a:pt x="3480" y="10484"/>
                    <a:pt x="3480" y="10484"/>
                  </a:cubicBezTo>
                  <a:cubicBezTo>
                    <a:pt x="4663" y="10975"/>
                    <a:pt x="4663" y="10975"/>
                    <a:pt x="4663" y="10975"/>
                  </a:cubicBezTo>
                  <a:cubicBezTo>
                    <a:pt x="4893" y="11896"/>
                    <a:pt x="4893" y="11896"/>
                    <a:pt x="4893" y="11896"/>
                  </a:cubicBezTo>
                  <a:cubicBezTo>
                    <a:pt x="4919" y="12001"/>
                    <a:pt x="5013" y="12074"/>
                    <a:pt x="5120" y="12074"/>
                  </a:cubicBezTo>
                  <a:cubicBezTo>
                    <a:pt x="6880" y="12074"/>
                    <a:pt x="6880" y="12074"/>
                    <a:pt x="6880" y="12074"/>
                  </a:cubicBezTo>
                  <a:cubicBezTo>
                    <a:pt x="6987" y="12074"/>
                    <a:pt x="7081" y="12001"/>
                    <a:pt x="7107" y="11896"/>
                  </a:cubicBezTo>
                  <a:cubicBezTo>
                    <a:pt x="7337" y="10975"/>
                    <a:pt x="7337" y="10975"/>
                    <a:pt x="7337" y="10975"/>
                  </a:cubicBezTo>
                  <a:cubicBezTo>
                    <a:pt x="8520" y="10484"/>
                    <a:pt x="8520" y="10484"/>
                    <a:pt x="8520" y="10484"/>
                  </a:cubicBezTo>
                  <a:cubicBezTo>
                    <a:pt x="9333" y="10973"/>
                    <a:pt x="9333" y="10973"/>
                    <a:pt x="9333" y="10973"/>
                  </a:cubicBezTo>
                  <a:cubicBezTo>
                    <a:pt x="9426" y="11029"/>
                    <a:pt x="9544" y="11014"/>
                    <a:pt x="9620" y="10938"/>
                  </a:cubicBezTo>
                  <a:cubicBezTo>
                    <a:pt x="10864" y="9694"/>
                    <a:pt x="10864" y="9694"/>
                    <a:pt x="10864" y="9694"/>
                  </a:cubicBezTo>
                  <a:cubicBezTo>
                    <a:pt x="10940" y="9618"/>
                    <a:pt x="10955" y="9500"/>
                    <a:pt x="10899" y="9407"/>
                  </a:cubicBezTo>
                  <a:cubicBezTo>
                    <a:pt x="10410" y="8594"/>
                    <a:pt x="10410" y="8594"/>
                    <a:pt x="10410" y="8594"/>
                  </a:cubicBezTo>
                  <a:cubicBezTo>
                    <a:pt x="10901" y="7411"/>
                    <a:pt x="10901" y="7411"/>
                    <a:pt x="10901" y="7411"/>
                  </a:cubicBezTo>
                  <a:cubicBezTo>
                    <a:pt x="11822" y="7181"/>
                    <a:pt x="11822" y="7181"/>
                    <a:pt x="11822" y="7181"/>
                  </a:cubicBezTo>
                  <a:cubicBezTo>
                    <a:pt x="11927" y="7155"/>
                    <a:pt x="12000" y="7061"/>
                    <a:pt x="12000" y="6954"/>
                  </a:cubicBezTo>
                  <a:cubicBezTo>
                    <a:pt x="12000" y="5194"/>
                    <a:pt x="12000" y="5194"/>
                    <a:pt x="12000" y="5194"/>
                  </a:cubicBezTo>
                  <a:cubicBezTo>
                    <a:pt x="12000" y="5087"/>
                    <a:pt x="11927" y="4993"/>
                    <a:pt x="11822" y="4967"/>
                  </a:cubicBezTo>
                  <a:close/>
                  <a:moveTo>
                    <a:pt x="10313" y="630"/>
                  </a:moveTo>
                  <a:cubicBezTo>
                    <a:pt x="10428" y="514"/>
                    <a:pt x="10616" y="514"/>
                    <a:pt x="10732" y="630"/>
                  </a:cubicBezTo>
                  <a:cubicBezTo>
                    <a:pt x="11445" y="1342"/>
                    <a:pt x="11445" y="1342"/>
                    <a:pt x="11445" y="1342"/>
                  </a:cubicBezTo>
                  <a:cubicBezTo>
                    <a:pt x="11500" y="1398"/>
                    <a:pt x="11531" y="1473"/>
                    <a:pt x="11531" y="1552"/>
                  </a:cubicBezTo>
                  <a:cubicBezTo>
                    <a:pt x="11531" y="1631"/>
                    <a:pt x="11500" y="1705"/>
                    <a:pt x="11444" y="1761"/>
                  </a:cubicBezTo>
                  <a:cubicBezTo>
                    <a:pt x="10839" y="2366"/>
                    <a:pt x="10839" y="2366"/>
                    <a:pt x="10839" y="2366"/>
                  </a:cubicBezTo>
                  <a:cubicBezTo>
                    <a:pt x="9708" y="1235"/>
                    <a:pt x="9708" y="1235"/>
                    <a:pt x="9708" y="1235"/>
                  </a:cubicBezTo>
                  <a:lnTo>
                    <a:pt x="10313" y="630"/>
                  </a:lnTo>
                  <a:close/>
                  <a:moveTo>
                    <a:pt x="9376" y="1566"/>
                  </a:moveTo>
                  <a:cubicBezTo>
                    <a:pt x="9778" y="1968"/>
                    <a:pt x="9778" y="1968"/>
                    <a:pt x="9778" y="1968"/>
                  </a:cubicBezTo>
                  <a:cubicBezTo>
                    <a:pt x="8783" y="2964"/>
                    <a:pt x="8783" y="2964"/>
                    <a:pt x="8783" y="2964"/>
                  </a:cubicBezTo>
                  <a:cubicBezTo>
                    <a:pt x="8692" y="3055"/>
                    <a:pt x="8692" y="3204"/>
                    <a:pt x="8783" y="3295"/>
                  </a:cubicBezTo>
                  <a:cubicBezTo>
                    <a:pt x="8829" y="3341"/>
                    <a:pt x="8889" y="3364"/>
                    <a:pt x="8949" y="3364"/>
                  </a:cubicBezTo>
                  <a:cubicBezTo>
                    <a:pt x="9009" y="3364"/>
                    <a:pt x="9069" y="3341"/>
                    <a:pt x="9115" y="3295"/>
                  </a:cubicBezTo>
                  <a:cubicBezTo>
                    <a:pt x="10110" y="2300"/>
                    <a:pt x="10110" y="2300"/>
                    <a:pt x="10110" y="2300"/>
                  </a:cubicBezTo>
                  <a:cubicBezTo>
                    <a:pt x="10508" y="2698"/>
                    <a:pt x="10508" y="2698"/>
                    <a:pt x="10508" y="2698"/>
                  </a:cubicBezTo>
                  <a:cubicBezTo>
                    <a:pt x="8976" y="4229"/>
                    <a:pt x="8976" y="4229"/>
                    <a:pt x="8976" y="4229"/>
                  </a:cubicBezTo>
                  <a:cubicBezTo>
                    <a:pt x="8976" y="4230"/>
                    <a:pt x="8975" y="4230"/>
                    <a:pt x="8975" y="4231"/>
                  </a:cubicBezTo>
                  <a:cubicBezTo>
                    <a:pt x="6364" y="6841"/>
                    <a:pt x="6364" y="6841"/>
                    <a:pt x="6364" y="6841"/>
                  </a:cubicBezTo>
                  <a:cubicBezTo>
                    <a:pt x="5966" y="6443"/>
                    <a:pt x="5966" y="6443"/>
                    <a:pt x="5966" y="6443"/>
                  </a:cubicBezTo>
                  <a:cubicBezTo>
                    <a:pt x="7855" y="4554"/>
                    <a:pt x="7855" y="4554"/>
                    <a:pt x="7855" y="4554"/>
                  </a:cubicBezTo>
                  <a:cubicBezTo>
                    <a:pt x="7947" y="4463"/>
                    <a:pt x="7947" y="4314"/>
                    <a:pt x="7855" y="4223"/>
                  </a:cubicBezTo>
                  <a:cubicBezTo>
                    <a:pt x="7764" y="4131"/>
                    <a:pt x="7615" y="4131"/>
                    <a:pt x="7524" y="4223"/>
                  </a:cubicBezTo>
                  <a:cubicBezTo>
                    <a:pt x="5635" y="6112"/>
                    <a:pt x="5635" y="6112"/>
                    <a:pt x="5635" y="6112"/>
                  </a:cubicBezTo>
                  <a:cubicBezTo>
                    <a:pt x="5233" y="5710"/>
                    <a:pt x="5233" y="5710"/>
                    <a:pt x="5233" y="5710"/>
                  </a:cubicBezTo>
                  <a:cubicBezTo>
                    <a:pt x="7843" y="3099"/>
                    <a:pt x="7843" y="3099"/>
                    <a:pt x="7843" y="3099"/>
                  </a:cubicBezTo>
                  <a:cubicBezTo>
                    <a:pt x="7844" y="3099"/>
                    <a:pt x="7844" y="3098"/>
                    <a:pt x="7845" y="3098"/>
                  </a:cubicBezTo>
                  <a:lnTo>
                    <a:pt x="9376" y="1566"/>
                  </a:lnTo>
                  <a:close/>
                  <a:moveTo>
                    <a:pt x="4833" y="6604"/>
                  </a:moveTo>
                  <a:cubicBezTo>
                    <a:pt x="4998" y="6138"/>
                    <a:pt x="4998" y="6138"/>
                    <a:pt x="4998" y="6138"/>
                  </a:cubicBezTo>
                  <a:cubicBezTo>
                    <a:pt x="5469" y="6609"/>
                    <a:pt x="5469" y="6609"/>
                    <a:pt x="5469" y="6609"/>
                  </a:cubicBezTo>
                  <a:cubicBezTo>
                    <a:pt x="5469" y="6609"/>
                    <a:pt x="5469" y="6609"/>
                    <a:pt x="5469" y="6609"/>
                  </a:cubicBezTo>
                  <a:cubicBezTo>
                    <a:pt x="5469" y="6609"/>
                    <a:pt x="5470" y="6609"/>
                    <a:pt x="5470" y="6610"/>
                  </a:cubicBezTo>
                  <a:cubicBezTo>
                    <a:pt x="5936" y="7076"/>
                    <a:pt x="5936" y="7076"/>
                    <a:pt x="5936" y="7076"/>
                  </a:cubicBezTo>
                  <a:cubicBezTo>
                    <a:pt x="5470" y="7241"/>
                    <a:pt x="5470" y="7241"/>
                    <a:pt x="5470" y="7241"/>
                  </a:cubicBezTo>
                  <a:lnTo>
                    <a:pt x="4833" y="6604"/>
                  </a:lnTo>
                  <a:close/>
                  <a:moveTo>
                    <a:pt x="4981" y="7414"/>
                  </a:moveTo>
                  <a:cubicBezTo>
                    <a:pt x="4485" y="7590"/>
                    <a:pt x="4485" y="7590"/>
                    <a:pt x="4485" y="7590"/>
                  </a:cubicBezTo>
                  <a:cubicBezTo>
                    <a:pt x="4660" y="7093"/>
                    <a:pt x="4660" y="7093"/>
                    <a:pt x="4660" y="7093"/>
                  </a:cubicBezTo>
                  <a:lnTo>
                    <a:pt x="4981" y="7414"/>
                  </a:lnTo>
                  <a:close/>
                  <a:moveTo>
                    <a:pt x="11531" y="6771"/>
                  </a:moveTo>
                  <a:cubicBezTo>
                    <a:pt x="10673" y="6984"/>
                    <a:pt x="10673" y="6984"/>
                    <a:pt x="10673" y="6984"/>
                  </a:cubicBezTo>
                  <a:cubicBezTo>
                    <a:pt x="10601" y="7002"/>
                    <a:pt x="10541" y="7053"/>
                    <a:pt x="10513" y="7122"/>
                  </a:cubicBezTo>
                  <a:cubicBezTo>
                    <a:pt x="9932" y="8524"/>
                    <a:pt x="9932" y="8524"/>
                    <a:pt x="9932" y="8524"/>
                  </a:cubicBezTo>
                  <a:cubicBezTo>
                    <a:pt x="9904" y="8592"/>
                    <a:pt x="9909" y="8670"/>
                    <a:pt x="9948" y="8734"/>
                  </a:cubicBezTo>
                  <a:cubicBezTo>
                    <a:pt x="10403" y="9492"/>
                    <a:pt x="10403" y="9492"/>
                    <a:pt x="10403" y="9492"/>
                  </a:cubicBezTo>
                  <a:cubicBezTo>
                    <a:pt x="9418" y="10477"/>
                    <a:pt x="9418" y="10477"/>
                    <a:pt x="9418" y="10477"/>
                  </a:cubicBezTo>
                  <a:cubicBezTo>
                    <a:pt x="8660" y="10022"/>
                    <a:pt x="8660" y="10022"/>
                    <a:pt x="8660" y="10022"/>
                  </a:cubicBezTo>
                  <a:cubicBezTo>
                    <a:pt x="8596" y="9983"/>
                    <a:pt x="8518" y="9978"/>
                    <a:pt x="8450" y="10006"/>
                  </a:cubicBezTo>
                  <a:cubicBezTo>
                    <a:pt x="7048" y="10587"/>
                    <a:pt x="7048" y="10587"/>
                    <a:pt x="7048" y="10587"/>
                  </a:cubicBezTo>
                  <a:cubicBezTo>
                    <a:pt x="6979" y="10615"/>
                    <a:pt x="6928" y="10675"/>
                    <a:pt x="6910" y="10747"/>
                  </a:cubicBezTo>
                  <a:cubicBezTo>
                    <a:pt x="6696" y="11605"/>
                    <a:pt x="6696" y="11605"/>
                    <a:pt x="6696" y="11605"/>
                  </a:cubicBezTo>
                  <a:cubicBezTo>
                    <a:pt x="5303" y="11605"/>
                    <a:pt x="5303" y="11605"/>
                    <a:pt x="5303" y="11605"/>
                  </a:cubicBezTo>
                  <a:cubicBezTo>
                    <a:pt x="5090" y="10747"/>
                    <a:pt x="5090" y="10747"/>
                    <a:pt x="5090" y="10747"/>
                  </a:cubicBezTo>
                  <a:cubicBezTo>
                    <a:pt x="5072" y="10675"/>
                    <a:pt x="5021" y="10615"/>
                    <a:pt x="4952" y="10587"/>
                  </a:cubicBezTo>
                  <a:cubicBezTo>
                    <a:pt x="3550" y="10006"/>
                    <a:pt x="3550" y="10006"/>
                    <a:pt x="3550" y="10006"/>
                  </a:cubicBezTo>
                  <a:cubicBezTo>
                    <a:pt x="3482" y="9978"/>
                    <a:pt x="3403" y="9983"/>
                    <a:pt x="3340" y="10022"/>
                  </a:cubicBezTo>
                  <a:cubicBezTo>
                    <a:pt x="2582" y="10477"/>
                    <a:pt x="2582" y="10477"/>
                    <a:pt x="2582" y="10477"/>
                  </a:cubicBezTo>
                  <a:cubicBezTo>
                    <a:pt x="1597" y="9492"/>
                    <a:pt x="1597" y="9492"/>
                    <a:pt x="1597" y="9492"/>
                  </a:cubicBezTo>
                  <a:cubicBezTo>
                    <a:pt x="2052" y="8734"/>
                    <a:pt x="2052" y="8734"/>
                    <a:pt x="2052" y="8734"/>
                  </a:cubicBezTo>
                  <a:cubicBezTo>
                    <a:pt x="2091" y="8670"/>
                    <a:pt x="2096" y="8592"/>
                    <a:pt x="2068" y="8524"/>
                  </a:cubicBezTo>
                  <a:cubicBezTo>
                    <a:pt x="1487" y="7122"/>
                    <a:pt x="1487" y="7122"/>
                    <a:pt x="1487" y="7122"/>
                  </a:cubicBezTo>
                  <a:cubicBezTo>
                    <a:pt x="1459" y="7053"/>
                    <a:pt x="1399" y="7002"/>
                    <a:pt x="1327" y="6984"/>
                  </a:cubicBezTo>
                  <a:cubicBezTo>
                    <a:pt x="469" y="6771"/>
                    <a:pt x="469" y="6771"/>
                    <a:pt x="469" y="6771"/>
                  </a:cubicBezTo>
                  <a:cubicBezTo>
                    <a:pt x="469" y="5377"/>
                    <a:pt x="469" y="5377"/>
                    <a:pt x="469" y="5377"/>
                  </a:cubicBezTo>
                  <a:cubicBezTo>
                    <a:pt x="1327" y="5164"/>
                    <a:pt x="1327" y="5164"/>
                    <a:pt x="1327" y="5164"/>
                  </a:cubicBezTo>
                  <a:cubicBezTo>
                    <a:pt x="1399" y="5146"/>
                    <a:pt x="1459" y="5095"/>
                    <a:pt x="1487" y="5026"/>
                  </a:cubicBezTo>
                  <a:cubicBezTo>
                    <a:pt x="2068" y="3624"/>
                    <a:pt x="2068" y="3624"/>
                    <a:pt x="2068" y="3624"/>
                  </a:cubicBezTo>
                  <a:cubicBezTo>
                    <a:pt x="2096" y="3556"/>
                    <a:pt x="2091" y="3478"/>
                    <a:pt x="2052" y="3414"/>
                  </a:cubicBezTo>
                  <a:cubicBezTo>
                    <a:pt x="1597" y="2656"/>
                    <a:pt x="1597" y="2656"/>
                    <a:pt x="1597" y="2656"/>
                  </a:cubicBezTo>
                  <a:cubicBezTo>
                    <a:pt x="2582" y="1671"/>
                    <a:pt x="2582" y="1671"/>
                    <a:pt x="2582" y="1671"/>
                  </a:cubicBezTo>
                  <a:cubicBezTo>
                    <a:pt x="3340" y="2126"/>
                    <a:pt x="3340" y="2126"/>
                    <a:pt x="3340" y="2126"/>
                  </a:cubicBezTo>
                  <a:cubicBezTo>
                    <a:pt x="3403" y="2165"/>
                    <a:pt x="3482" y="2170"/>
                    <a:pt x="3550" y="2142"/>
                  </a:cubicBezTo>
                  <a:cubicBezTo>
                    <a:pt x="4952" y="1561"/>
                    <a:pt x="4952" y="1561"/>
                    <a:pt x="4952" y="1561"/>
                  </a:cubicBezTo>
                  <a:cubicBezTo>
                    <a:pt x="5021" y="1533"/>
                    <a:pt x="5072" y="1473"/>
                    <a:pt x="5090" y="1401"/>
                  </a:cubicBezTo>
                  <a:cubicBezTo>
                    <a:pt x="5303" y="543"/>
                    <a:pt x="5303" y="543"/>
                    <a:pt x="5303" y="543"/>
                  </a:cubicBezTo>
                  <a:cubicBezTo>
                    <a:pt x="6696" y="543"/>
                    <a:pt x="6696" y="543"/>
                    <a:pt x="6696" y="543"/>
                  </a:cubicBezTo>
                  <a:cubicBezTo>
                    <a:pt x="6910" y="1401"/>
                    <a:pt x="6910" y="1401"/>
                    <a:pt x="6910" y="1401"/>
                  </a:cubicBezTo>
                  <a:cubicBezTo>
                    <a:pt x="6928" y="1473"/>
                    <a:pt x="6979" y="1533"/>
                    <a:pt x="7048" y="1561"/>
                  </a:cubicBezTo>
                  <a:cubicBezTo>
                    <a:pt x="8229" y="2051"/>
                    <a:pt x="8229" y="2051"/>
                    <a:pt x="8229" y="2051"/>
                  </a:cubicBezTo>
                  <a:cubicBezTo>
                    <a:pt x="7633" y="2646"/>
                    <a:pt x="7633" y="2646"/>
                    <a:pt x="7633" y="2646"/>
                  </a:cubicBezTo>
                  <a:cubicBezTo>
                    <a:pt x="7126" y="2405"/>
                    <a:pt x="6565" y="2277"/>
                    <a:pt x="6000" y="2277"/>
                  </a:cubicBezTo>
                  <a:cubicBezTo>
                    <a:pt x="5315" y="2277"/>
                    <a:pt x="4643" y="2462"/>
                    <a:pt x="4058" y="2811"/>
                  </a:cubicBezTo>
                  <a:cubicBezTo>
                    <a:pt x="3947" y="2877"/>
                    <a:pt x="3910" y="3021"/>
                    <a:pt x="3977" y="3132"/>
                  </a:cubicBezTo>
                  <a:cubicBezTo>
                    <a:pt x="4021" y="3206"/>
                    <a:pt x="4098" y="3246"/>
                    <a:pt x="4178" y="3246"/>
                  </a:cubicBezTo>
                  <a:cubicBezTo>
                    <a:pt x="4219" y="3246"/>
                    <a:pt x="4260" y="3236"/>
                    <a:pt x="4298" y="3213"/>
                  </a:cubicBezTo>
                  <a:cubicBezTo>
                    <a:pt x="4811" y="2908"/>
                    <a:pt x="5399" y="2746"/>
                    <a:pt x="6000" y="2746"/>
                  </a:cubicBezTo>
                  <a:cubicBezTo>
                    <a:pt x="6439" y="2746"/>
                    <a:pt x="6876" y="2834"/>
                    <a:pt x="7279" y="3001"/>
                  </a:cubicBezTo>
                  <a:cubicBezTo>
                    <a:pt x="4736" y="5544"/>
                    <a:pt x="4736" y="5544"/>
                    <a:pt x="4736" y="5544"/>
                  </a:cubicBezTo>
                  <a:cubicBezTo>
                    <a:pt x="4711" y="5569"/>
                    <a:pt x="4692" y="5599"/>
                    <a:pt x="4680" y="5632"/>
                  </a:cubicBezTo>
                  <a:cubicBezTo>
                    <a:pt x="3879" y="7896"/>
                    <a:pt x="3879" y="7896"/>
                    <a:pt x="3879" y="7896"/>
                  </a:cubicBezTo>
                  <a:cubicBezTo>
                    <a:pt x="3849" y="7981"/>
                    <a:pt x="3870" y="8076"/>
                    <a:pt x="3934" y="8140"/>
                  </a:cubicBezTo>
                  <a:cubicBezTo>
                    <a:pt x="3979" y="8185"/>
                    <a:pt x="4039" y="8209"/>
                    <a:pt x="4100" y="8209"/>
                  </a:cubicBezTo>
                  <a:cubicBezTo>
                    <a:pt x="4126" y="8209"/>
                    <a:pt x="4152" y="8204"/>
                    <a:pt x="4178" y="8195"/>
                  </a:cubicBezTo>
                  <a:cubicBezTo>
                    <a:pt x="6442" y="7394"/>
                    <a:pt x="6442" y="7394"/>
                    <a:pt x="6442" y="7394"/>
                  </a:cubicBezTo>
                  <a:cubicBezTo>
                    <a:pt x="6475" y="7382"/>
                    <a:pt x="6505" y="7363"/>
                    <a:pt x="6530" y="7338"/>
                  </a:cubicBezTo>
                  <a:cubicBezTo>
                    <a:pt x="9073" y="4795"/>
                    <a:pt x="9073" y="4795"/>
                    <a:pt x="9073" y="4795"/>
                  </a:cubicBezTo>
                  <a:cubicBezTo>
                    <a:pt x="9240" y="5198"/>
                    <a:pt x="9328" y="5635"/>
                    <a:pt x="9328" y="6074"/>
                  </a:cubicBezTo>
                  <a:cubicBezTo>
                    <a:pt x="9328" y="7909"/>
                    <a:pt x="7835" y="9402"/>
                    <a:pt x="6000" y="9402"/>
                  </a:cubicBezTo>
                  <a:cubicBezTo>
                    <a:pt x="4165" y="9402"/>
                    <a:pt x="2672" y="7909"/>
                    <a:pt x="2672" y="6074"/>
                  </a:cubicBezTo>
                  <a:cubicBezTo>
                    <a:pt x="2672" y="5481"/>
                    <a:pt x="2830" y="4898"/>
                    <a:pt x="3129" y="4390"/>
                  </a:cubicBezTo>
                  <a:cubicBezTo>
                    <a:pt x="3194" y="4278"/>
                    <a:pt x="3157" y="4135"/>
                    <a:pt x="3046" y="4069"/>
                  </a:cubicBezTo>
                  <a:cubicBezTo>
                    <a:pt x="2934" y="4003"/>
                    <a:pt x="2790" y="4041"/>
                    <a:pt x="2725" y="4152"/>
                  </a:cubicBezTo>
                  <a:cubicBezTo>
                    <a:pt x="2383" y="4733"/>
                    <a:pt x="2203" y="5397"/>
                    <a:pt x="2203" y="6074"/>
                  </a:cubicBezTo>
                  <a:cubicBezTo>
                    <a:pt x="2203" y="8168"/>
                    <a:pt x="3906" y="9871"/>
                    <a:pt x="6000" y="9871"/>
                  </a:cubicBezTo>
                  <a:cubicBezTo>
                    <a:pt x="8093" y="9871"/>
                    <a:pt x="9797" y="8168"/>
                    <a:pt x="9797" y="6074"/>
                  </a:cubicBezTo>
                  <a:cubicBezTo>
                    <a:pt x="9797" y="5509"/>
                    <a:pt x="9669" y="4948"/>
                    <a:pt x="9428" y="4441"/>
                  </a:cubicBezTo>
                  <a:cubicBezTo>
                    <a:pt x="10023" y="3845"/>
                    <a:pt x="10023" y="3845"/>
                    <a:pt x="10023" y="3845"/>
                  </a:cubicBezTo>
                  <a:cubicBezTo>
                    <a:pt x="10513" y="5026"/>
                    <a:pt x="10513" y="5026"/>
                    <a:pt x="10513" y="5026"/>
                  </a:cubicBezTo>
                  <a:cubicBezTo>
                    <a:pt x="10541" y="5095"/>
                    <a:pt x="10601" y="5146"/>
                    <a:pt x="10673" y="5164"/>
                  </a:cubicBezTo>
                  <a:cubicBezTo>
                    <a:pt x="11531" y="5378"/>
                    <a:pt x="11531" y="5378"/>
                    <a:pt x="11531" y="5378"/>
                  </a:cubicBezTo>
                  <a:cubicBezTo>
                    <a:pt x="11531" y="6771"/>
                    <a:pt x="11531" y="6771"/>
                    <a:pt x="11531" y="67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4" name="Freeform 21">
              <a:extLst>
                <a:ext uri="{FF2B5EF4-FFF2-40B4-BE49-F238E27FC236}">
                  <a16:creationId xmlns:a16="http://schemas.microsoft.com/office/drawing/2014/main" id="{9D40FF4D-C646-4EB1-B564-06ACF355FF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6625" y="4597400"/>
              <a:ext cx="42862" cy="41275"/>
            </a:xfrm>
            <a:custGeom>
              <a:avLst/>
              <a:gdLst>
                <a:gd name="T0" fmla="*/ 428 w 521"/>
                <a:gd name="T1" fmla="*/ 91 h 498"/>
                <a:gd name="T2" fmla="*/ 96 w 521"/>
                <a:gd name="T3" fmla="*/ 93 h 498"/>
                <a:gd name="T4" fmla="*/ 91 w 521"/>
                <a:gd name="T5" fmla="*/ 98 h 498"/>
                <a:gd name="T6" fmla="*/ 91 w 521"/>
                <a:gd name="T7" fmla="*/ 430 h 498"/>
                <a:gd name="T8" fmla="*/ 257 w 521"/>
                <a:gd name="T9" fmla="*/ 498 h 498"/>
                <a:gd name="T10" fmla="*/ 423 w 521"/>
                <a:gd name="T11" fmla="*/ 430 h 498"/>
                <a:gd name="T12" fmla="*/ 430 w 521"/>
                <a:gd name="T13" fmla="*/ 423 h 498"/>
                <a:gd name="T14" fmla="*/ 428 w 521"/>
                <a:gd name="T15" fmla="*/ 91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1" h="498">
                  <a:moveTo>
                    <a:pt x="428" y="91"/>
                  </a:moveTo>
                  <a:cubicBezTo>
                    <a:pt x="336" y="0"/>
                    <a:pt x="187" y="1"/>
                    <a:pt x="96" y="93"/>
                  </a:cubicBezTo>
                  <a:cubicBezTo>
                    <a:pt x="91" y="98"/>
                    <a:pt x="91" y="98"/>
                    <a:pt x="91" y="98"/>
                  </a:cubicBezTo>
                  <a:cubicBezTo>
                    <a:pt x="0" y="190"/>
                    <a:pt x="0" y="338"/>
                    <a:pt x="91" y="430"/>
                  </a:cubicBezTo>
                  <a:cubicBezTo>
                    <a:pt x="137" y="475"/>
                    <a:pt x="197" y="498"/>
                    <a:pt x="257" y="498"/>
                  </a:cubicBezTo>
                  <a:cubicBezTo>
                    <a:pt x="317" y="498"/>
                    <a:pt x="377" y="475"/>
                    <a:pt x="423" y="430"/>
                  </a:cubicBezTo>
                  <a:cubicBezTo>
                    <a:pt x="430" y="423"/>
                    <a:pt x="430" y="423"/>
                    <a:pt x="430" y="423"/>
                  </a:cubicBezTo>
                  <a:cubicBezTo>
                    <a:pt x="521" y="331"/>
                    <a:pt x="520" y="182"/>
                    <a:pt x="428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5" name="Freeform 22">
              <a:extLst>
                <a:ext uri="{FF2B5EF4-FFF2-40B4-BE49-F238E27FC236}">
                  <a16:creationId xmlns:a16="http://schemas.microsoft.com/office/drawing/2014/main" id="{39F1D19F-62F2-44A1-9AC1-E3A97AD572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9850" y="4613275"/>
              <a:ext cx="42862" cy="41275"/>
            </a:xfrm>
            <a:custGeom>
              <a:avLst/>
              <a:gdLst>
                <a:gd name="T0" fmla="*/ 426 w 517"/>
                <a:gd name="T1" fmla="*/ 91 h 494"/>
                <a:gd name="T2" fmla="*/ 94 w 517"/>
                <a:gd name="T3" fmla="*/ 91 h 494"/>
                <a:gd name="T4" fmla="*/ 92 w 517"/>
                <a:gd name="T5" fmla="*/ 94 h 494"/>
                <a:gd name="T6" fmla="*/ 92 w 517"/>
                <a:gd name="T7" fmla="*/ 425 h 494"/>
                <a:gd name="T8" fmla="*/ 258 w 517"/>
                <a:gd name="T9" fmla="*/ 494 h 494"/>
                <a:gd name="T10" fmla="*/ 423 w 517"/>
                <a:gd name="T11" fmla="*/ 425 h 494"/>
                <a:gd name="T12" fmla="*/ 426 w 517"/>
                <a:gd name="T13" fmla="*/ 423 h 494"/>
                <a:gd name="T14" fmla="*/ 426 w 517"/>
                <a:gd name="T15" fmla="*/ 91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7" h="494">
                  <a:moveTo>
                    <a:pt x="426" y="91"/>
                  </a:moveTo>
                  <a:cubicBezTo>
                    <a:pt x="334" y="0"/>
                    <a:pt x="186" y="0"/>
                    <a:pt x="94" y="91"/>
                  </a:cubicBezTo>
                  <a:cubicBezTo>
                    <a:pt x="92" y="94"/>
                    <a:pt x="92" y="94"/>
                    <a:pt x="92" y="94"/>
                  </a:cubicBezTo>
                  <a:cubicBezTo>
                    <a:pt x="0" y="185"/>
                    <a:pt x="0" y="334"/>
                    <a:pt x="92" y="425"/>
                  </a:cubicBezTo>
                  <a:cubicBezTo>
                    <a:pt x="138" y="471"/>
                    <a:pt x="198" y="494"/>
                    <a:pt x="258" y="494"/>
                  </a:cubicBezTo>
                  <a:cubicBezTo>
                    <a:pt x="318" y="494"/>
                    <a:pt x="378" y="471"/>
                    <a:pt x="423" y="425"/>
                  </a:cubicBezTo>
                  <a:cubicBezTo>
                    <a:pt x="426" y="423"/>
                    <a:pt x="426" y="423"/>
                    <a:pt x="426" y="423"/>
                  </a:cubicBezTo>
                  <a:cubicBezTo>
                    <a:pt x="517" y="331"/>
                    <a:pt x="517" y="183"/>
                    <a:pt x="426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6" name="Freeform 23">
              <a:extLst>
                <a:ext uri="{FF2B5EF4-FFF2-40B4-BE49-F238E27FC236}">
                  <a16:creationId xmlns:a16="http://schemas.microsoft.com/office/drawing/2014/main" id="{CE7863D3-74EF-4404-A146-6150ABEB8C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7763" y="4808538"/>
              <a:ext cx="255587" cy="257175"/>
            </a:xfrm>
            <a:custGeom>
              <a:avLst/>
              <a:gdLst>
                <a:gd name="T0" fmla="*/ 2835 w 3070"/>
                <a:gd name="T1" fmla="*/ 0 h 3070"/>
                <a:gd name="T2" fmla="*/ 2601 w 3070"/>
                <a:gd name="T3" fmla="*/ 234 h 3070"/>
                <a:gd name="T4" fmla="*/ 234 w 3070"/>
                <a:gd name="T5" fmla="*/ 2601 h 3070"/>
                <a:gd name="T6" fmla="*/ 0 w 3070"/>
                <a:gd name="T7" fmla="*/ 2836 h 3070"/>
                <a:gd name="T8" fmla="*/ 234 w 3070"/>
                <a:gd name="T9" fmla="*/ 3070 h 3070"/>
                <a:gd name="T10" fmla="*/ 3070 w 3070"/>
                <a:gd name="T11" fmla="*/ 234 h 3070"/>
                <a:gd name="T12" fmla="*/ 2835 w 3070"/>
                <a:gd name="T13" fmla="*/ 0 h 3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70" h="3070">
                  <a:moveTo>
                    <a:pt x="2835" y="0"/>
                  </a:moveTo>
                  <a:cubicBezTo>
                    <a:pt x="2706" y="0"/>
                    <a:pt x="2601" y="105"/>
                    <a:pt x="2601" y="234"/>
                  </a:cubicBezTo>
                  <a:cubicBezTo>
                    <a:pt x="2601" y="1539"/>
                    <a:pt x="1539" y="2601"/>
                    <a:pt x="234" y="2601"/>
                  </a:cubicBezTo>
                  <a:cubicBezTo>
                    <a:pt x="104" y="2601"/>
                    <a:pt x="0" y="2706"/>
                    <a:pt x="0" y="2836"/>
                  </a:cubicBezTo>
                  <a:cubicBezTo>
                    <a:pt x="0" y="2965"/>
                    <a:pt x="104" y="3070"/>
                    <a:pt x="234" y="3070"/>
                  </a:cubicBezTo>
                  <a:cubicBezTo>
                    <a:pt x="1798" y="3070"/>
                    <a:pt x="3070" y="1798"/>
                    <a:pt x="3070" y="234"/>
                  </a:cubicBezTo>
                  <a:cubicBezTo>
                    <a:pt x="3070" y="105"/>
                    <a:pt x="2965" y="0"/>
                    <a:pt x="283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05B0C399-F79A-4D20-9296-94F27D5DC825}"/>
              </a:ext>
            </a:extLst>
          </p:cNvPr>
          <p:cNvGrpSpPr/>
          <p:nvPr/>
        </p:nvGrpSpPr>
        <p:grpSpPr>
          <a:xfrm>
            <a:off x="9003808" y="2255091"/>
            <a:ext cx="468771" cy="469936"/>
            <a:chOff x="-74613" y="4443413"/>
            <a:chExt cx="639763" cy="641350"/>
          </a:xfrm>
          <a:solidFill>
            <a:srgbClr val="084A6E"/>
          </a:solidFill>
        </p:grpSpPr>
        <p:sp>
          <p:nvSpPr>
            <p:cNvPr id="158" name="Freeform 28">
              <a:extLst>
                <a:ext uri="{FF2B5EF4-FFF2-40B4-BE49-F238E27FC236}">
                  <a16:creationId xmlns:a16="http://schemas.microsoft.com/office/drawing/2014/main" id="{08184E01-5ACC-4B25-9C45-BA0BDDD88C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613" y="4443413"/>
              <a:ext cx="639763" cy="641350"/>
            </a:xfrm>
            <a:custGeom>
              <a:avLst/>
              <a:gdLst>
                <a:gd name="T0" fmla="*/ 480 w 1216"/>
                <a:gd name="T1" fmla="*/ 1216 h 1216"/>
                <a:gd name="T2" fmla="*/ 448 w 1216"/>
                <a:gd name="T3" fmla="*/ 1027 h 1216"/>
                <a:gd name="T4" fmla="*/ 314 w 1216"/>
                <a:gd name="T5" fmla="*/ 1129 h 1216"/>
                <a:gd name="T6" fmla="*/ 269 w 1216"/>
                <a:gd name="T7" fmla="*/ 1129 h 1216"/>
                <a:gd name="T8" fmla="*/ 88 w 1216"/>
                <a:gd name="T9" fmla="*/ 902 h 1216"/>
                <a:gd name="T10" fmla="*/ 190 w 1216"/>
                <a:gd name="T11" fmla="*/ 768 h 1216"/>
                <a:gd name="T12" fmla="*/ 0 w 1216"/>
                <a:gd name="T13" fmla="*/ 736 h 1216"/>
                <a:gd name="T14" fmla="*/ 32 w 1216"/>
                <a:gd name="T15" fmla="*/ 448 h 1216"/>
                <a:gd name="T16" fmla="*/ 199 w 1216"/>
                <a:gd name="T17" fmla="*/ 425 h 1216"/>
                <a:gd name="T18" fmla="*/ 88 w 1216"/>
                <a:gd name="T19" fmla="*/ 269 h 1216"/>
                <a:gd name="T20" fmla="*/ 314 w 1216"/>
                <a:gd name="T21" fmla="*/ 87 h 1216"/>
                <a:gd name="T22" fmla="*/ 448 w 1216"/>
                <a:gd name="T23" fmla="*/ 189 h 1216"/>
                <a:gd name="T24" fmla="*/ 480 w 1216"/>
                <a:gd name="T25" fmla="*/ 0 h 1216"/>
                <a:gd name="T26" fmla="*/ 768 w 1216"/>
                <a:gd name="T27" fmla="*/ 32 h 1216"/>
                <a:gd name="T28" fmla="*/ 791 w 1216"/>
                <a:gd name="T29" fmla="*/ 199 h 1216"/>
                <a:gd name="T30" fmla="*/ 925 w 1216"/>
                <a:gd name="T31" fmla="*/ 78 h 1216"/>
                <a:gd name="T32" fmla="*/ 1129 w 1216"/>
                <a:gd name="T33" fmla="*/ 269 h 1216"/>
                <a:gd name="T34" fmla="*/ 1017 w 1216"/>
                <a:gd name="T35" fmla="*/ 425 h 1216"/>
                <a:gd name="T36" fmla="*/ 1184 w 1216"/>
                <a:gd name="T37" fmla="*/ 448 h 1216"/>
                <a:gd name="T38" fmla="*/ 1216 w 1216"/>
                <a:gd name="T39" fmla="*/ 736 h 1216"/>
                <a:gd name="T40" fmla="*/ 1027 w 1216"/>
                <a:gd name="T41" fmla="*/ 768 h 1216"/>
                <a:gd name="T42" fmla="*/ 1129 w 1216"/>
                <a:gd name="T43" fmla="*/ 902 h 1216"/>
                <a:gd name="T44" fmla="*/ 948 w 1216"/>
                <a:gd name="T45" fmla="*/ 1129 h 1216"/>
                <a:gd name="T46" fmla="*/ 791 w 1216"/>
                <a:gd name="T47" fmla="*/ 1017 h 1216"/>
                <a:gd name="T48" fmla="*/ 768 w 1216"/>
                <a:gd name="T49" fmla="*/ 1184 h 1216"/>
                <a:gd name="T50" fmla="*/ 512 w 1216"/>
                <a:gd name="T51" fmla="*/ 1152 h 1216"/>
                <a:gd name="T52" fmla="*/ 704 w 1216"/>
                <a:gd name="T53" fmla="*/ 1004 h 1216"/>
                <a:gd name="T54" fmla="*/ 784 w 1216"/>
                <a:gd name="T55" fmla="*/ 950 h 1216"/>
                <a:gd name="T56" fmla="*/ 925 w 1216"/>
                <a:gd name="T57" fmla="*/ 1061 h 1216"/>
                <a:gd name="T58" fmla="*/ 956 w 1216"/>
                <a:gd name="T59" fmla="*/ 820 h 1216"/>
                <a:gd name="T60" fmla="*/ 974 w 1216"/>
                <a:gd name="T61" fmla="*/ 726 h 1216"/>
                <a:gd name="T62" fmla="*/ 1152 w 1216"/>
                <a:gd name="T63" fmla="*/ 704 h 1216"/>
                <a:gd name="T64" fmla="*/ 1004 w 1216"/>
                <a:gd name="T65" fmla="*/ 512 h 1216"/>
                <a:gd name="T66" fmla="*/ 950 w 1216"/>
                <a:gd name="T67" fmla="*/ 433 h 1216"/>
                <a:gd name="T68" fmla="*/ 1061 w 1216"/>
                <a:gd name="T69" fmla="*/ 291 h 1216"/>
                <a:gd name="T70" fmla="*/ 820 w 1216"/>
                <a:gd name="T71" fmla="*/ 260 h 1216"/>
                <a:gd name="T72" fmla="*/ 727 w 1216"/>
                <a:gd name="T73" fmla="*/ 243 h 1216"/>
                <a:gd name="T74" fmla="*/ 704 w 1216"/>
                <a:gd name="T75" fmla="*/ 64 h 1216"/>
                <a:gd name="T76" fmla="*/ 512 w 1216"/>
                <a:gd name="T77" fmla="*/ 212 h 1216"/>
                <a:gd name="T78" fmla="*/ 433 w 1216"/>
                <a:gd name="T79" fmla="*/ 266 h 1216"/>
                <a:gd name="T80" fmla="*/ 292 w 1216"/>
                <a:gd name="T81" fmla="*/ 155 h 1216"/>
                <a:gd name="T82" fmla="*/ 260 w 1216"/>
                <a:gd name="T83" fmla="*/ 396 h 1216"/>
                <a:gd name="T84" fmla="*/ 243 w 1216"/>
                <a:gd name="T85" fmla="*/ 490 h 1216"/>
                <a:gd name="T86" fmla="*/ 64 w 1216"/>
                <a:gd name="T87" fmla="*/ 512 h 1216"/>
                <a:gd name="T88" fmla="*/ 213 w 1216"/>
                <a:gd name="T89" fmla="*/ 704 h 1216"/>
                <a:gd name="T90" fmla="*/ 266 w 1216"/>
                <a:gd name="T91" fmla="*/ 783 h 1216"/>
                <a:gd name="T92" fmla="*/ 156 w 1216"/>
                <a:gd name="T93" fmla="*/ 925 h 1216"/>
                <a:gd name="T94" fmla="*/ 396 w 1216"/>
                <a:gd name="T95" fmla="*/ 956 h 1216"/>
                <a:gd name="T96" fmla="*/ 490 w 1216"/>
                <a:gd name="T97" fmla="*/ 973 h 1216"/>
                <a:gd name="T98" fmla="*/ 512 w 1216"/>
                <a:gd name="T99" fmla="*/ 1152 h 1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16" h="1216">
                  <a:moveTo>
                    <a:pt x="736" y="1216"/>
                  </a:moveTo>
                  <a:cubicBezTo>
                    <a:pt x="480" y="1216"/>
                    <a:pt x="480" y="1216"/>
                    <a:pt x="480" y="1216"/>
                  </a:cubicBezTo>
                  <a:cubicBezTo>
                    <a:pt x="463" y="1216"/>
                    <a:pt x="448" y="1202"/>
                    <a:pt x="448" y="1184"/>
                  </a:cubicBezTo>
                  <a:cubicBezTo>
                    <a:pt x="448" y="1027"/>
                    <a:pt x="448" y="1027"/>
                    <a:pt x="448" y="1027"/>
                  </a:cubicBezTo>
                  <a:cubicBezTo>
                    <a:pt x="441" y="1024"/>
                    <a:pt x="433" y="1021"/>
                    <a:pt x="426" y="1017"/>
                  </a:cubicBezTo>
                  <a:cubicBezTo>
                    <a:pt x="314" y="1129"/>
                    <a:pt x="314" y="1129"/>
                    <a:pt x="314" y="1129"/>
                  </a:cubicBezTo>
                  <a:cubicBezTo>
                    <a:pt x="308" y="1135"/>
                    <a:pt x="300" y="1138"/>
                    <a:pt x="292" y="1138"/>
                  </a:cubicBezTo>
                  <a:cubicBezTo>
                    <a:pt x="283" y="1138"/>
                    <a:pt x="275" y="1135"/>
                    <a:pt x="269" y="1129"/>
                  </a:cubicBezTo>
                  <a:cubicBezTo>
                    <a:pt x="88" y="947"/>
                    <a:pt x="88" y="947"/>
                    <a:pt x="88" y="947"/>
                  </a:cubicBezTo>
                  <a:cubicBezTo>
                    <a:pt x="75" y="935"/>
                    <a:pt x="75" y="915"/>
                    <a:pt x="88" y="902"/>
                  </a:cubicBezTo>
                  <a:cubicBezTo>
                    <a:pt x="199" y="791"/>
                    <a:pt x="199" y="791"/>
                    <a:pt x="199" y="791"/>
                  </a:cubicBezTo>
                  <a:cubicBezTo>
                    <a:pt x="196" y="783"/>
                    <a:pt x="193" y="776"/>
                    <a:pt x="190" y="768"/>
                  </a:cubicBezTo>
                  <a:cubicBezTo>
                    <a:pt x="32" y="768"/>
                    <a:pt x="32" y="768"/>
                    <a:pt x="32" y="768"/>
                  </a:cubicBezTo>
                  <a:cubicBezTo>
                    <a:pt x="15" y="768"/>
                    <a:pt x="0" y="754"/>
                    <a:pt x="0" y="736"/>
                  </a:cubicBezTo>
                  <a:cubicBezTo>
                    <a:pt x="0" y="480"/>
                    <a:pt x="0" y="480"/>
                    <a:pt x="0" y="480"/>
                  </a:cubicBezTo>
                  <a:cubicBezTo>
                    <a:pt x="0" y="462"/>
                    <a:pt x="15" y="448"/>
                    <a:pt x="32" y="448"/>
                  </a:cubicBezTo>
                  <a:cubicBezTo>
                    <a:pt x="190" y="448"/>
                    <a:pt x="190" y="448"/>
                    <a:pt x="190" y="448"/>
                  </a:cubicBezTo>
                  <a:cubicBezTo>
                    <a:pt x="193" y="440"/>
                    <a:pt x="196" y="433"/>
                    <a:pt x="199" y="425"/>
                  </a:cubicBezTo>
                  <a:cubicBezTo>
                    <a:pt x="88" y="314"/>
                    <a:pt x="88" y="314"/>
                    <a:pt x="88" y="314"/>
                  </a:cubicBezTo>
                  <a:cubicBezTo>
                    <a:pt x="75" y="301"/>
                    <a:pt x="75" y="281"/>
                    <a:pt x="88" y="269"/>
                  </a:cubicBezTo>
                  <a:cubicBezTo>
                    <a:pt x="269" y="87"/>
                    <a:pt x="269" y="87"/>
                    <a:pt x="269" y="87"/>
                  </a:cubicBezTo>
                  <a:cubicBezTo>
                    <a:pt x="282" y="75"/>
                    <a:pt x="301" y="75"/>
                    <a:pt x="314" y="87"/>
                  </a:cubicBezTo>
                  <a:cubicBezTo>
                    <a:pt x="426" y="199"/>
                    <a:pt x="426" y="199"/>
                    <a:pt x="426" y="199"/>
                  </a:cubicBezTo>
                  <a:cubicBezTo>
                    <a:pt x="433" y="195"/>
                    <a:pt x="441" y="192"/>
                    <a:pt x="448" y="189"/>
                  </a:cubicBezTo>
                  <a:cubicBezTo>
                    <a:pt x="448" y="32"/>
                    <a:pt x="448" y="32"/>
                    <a:pt x="448" y="32"/>
                  </a:cubicBezTo>
                  <a:cubicBezTo>
                    <a:pt x="448" y="14"/>
                    <a:pt x="463" y="0"/>
                    <a:pt x="480" y="0"/>
                  </a:cubicBezTo>
                  <a:cubicBezTo>
                    <a:pt x="736" y="0"/>
                    <a:pt x="736" y="0"/>
                    <a:pt x="736" y="0"/>
                  </a:cubicBezTo>
                  <a:cubicBezTo>
                    <a:pt x="754" y="0"/>
                    <a:pt x="768" y="14"/>
                    <a:pt x="768" y="32"/>
                  </a:cubicBezTo>
                  <a:cubicBezTo>
                    <a:pt x="768" y="189"/>
                    <a:pt x="768" y="189"/>
                    <a:pt x="768" y="189"/>
                  </a:cubicBezTo>
                  <a:cubicBezTo>
                    <a:pt x="776" y="192"/>
                    <a:pt x="783" y="195"/>
                    <a:pt x="791" y="199"/>
                  </a:cubicBezTo>
                  <a:cubicBezTo>
                    <a:pt x="903" y="87"/>
                    <a:pt x="903" y="87"/>
                    <a:pt x="903" y="87"/>
                  </a:cubicBezTo>
                  <a:cubicBezTo>
                    <a:pt x="909" y="81"/>
                    <a:pt x="917" y="78"/>
                    <a:pt x="925" y="78"/>
                  </a:cubicBezTo>
                  <a:cubicBezTo>
                    <a:pt x="934" y="78"/>
                    <a:pt x="942" y="81"/>
                    <a:pt x="948" y="87"/>
                  </a:cubicBezTo>
                  <a:cubicBezTo>
                    <a:pt x="1129" y="269"/>
                    <a:pt x="1129" y="269"/>
                    <a:pt x="1129" y="269"/>
                  </a:cubicBezTo>
                  <a:cubicBezTo>
                    <a:pt x="1141" y="281"/>
                    <a:pt x="1141" y="301"/>
                    <a:pt x="1129" y="314"/>
                  </a:cubicBezTo>
                  <a:cubicBezTo>
                    <a:pt x="1017" y="425"/>
                    <a:pt x="1017" y="425"/>
                    <a:pt x="1017" y="425"/>
                  </a:cubicBezTo>
                  <a:cubicBezTo>
                    <a:pt x="1021" y="433"/>
                    <a:pt x="1024" y="440"/>
                    <a:pt x="1027" y="448"/>
                  </a:cubicBezTo>
                  <a:cubicBezTo>
                    <a:pt x="1184" y="448"/>
                    <a:pt x="1184" y="448"/>
                    <a:pt x="1184" y="448"/>
                  </a:cubicBezTo>
                  <a:cubicBezTo>
                    <a:pt x="1202" y="448"/>
                    <a:pt x="1216" y="462"/>
                    <a:pt x="1216" y="480"/>
                  </a:cubicBezTo>
                  <a:cubicBezTo>
                    <a:pt x="1216" y="736"/>
                    <a:pt x="1216" y="736"/>
                    <a:pt x="1216" y="736"/>
                  </a:cubicBezTo>
                  <a:cubicBezTo>
                    <a:pt x="1216" y="754"/>
                    <a:pt x="1202" y="768"/>
                    <a:pt x="1184" y="768"/>
                  </a:cubicBezTo>
                  <a:cubicBezTo>
                    <a:pt x="1027" y="768"/>
                    <a:pt x="1027" y="768"/>
                    <a:pt x="1027" y="768"/>
                  </a:cubicBezTo>
                  <a:cubicBezTo>
                    <a:pt x="1024" y="776"/>
                    <a:pt x="1021" y="783"/>
                    <a:pt x="1017" y="791"/>
                  </a:cubicBezTo>
                  <a:cubicBezTo>
                    <a:pt x="1129" y="902"/>
                    <a:pt x="1129" y="902"/>
                    <a:pt x="1129" y="902"/>
                  </a:cubicBezTo>
                  <a:cubicBezTo>
                    <a:pt x="1141" y="915"/>
                    <a:pt x="1141" y="935"/>
                    <a:pt x="1129" y="947"/>
                  </a:cubicBezTo>
                  <a:cubicBezTo>
                    <a:pt x="948" y="1129"/>
                    <a:pt x="948" y="1129"/>
                    <a:pt x="948" y="1129"/>
                  </a:cubicBezTo>
                  <a:cubicBezTo>
                    <a:pt x="935" y="1141"/>
                    <a:pt x="915" y="1141"/>
                    <a:pt x="903" y="1129"/>
                  </a:cubicBezTo>
                  <a:cubicBezTo>
                    <a:pt x="791" y="1017"/>
                    <a:pt x="791" y="1017"/>
                    <a:pt x="791" y="1017"/>
                  </a:cubicBezTo>
                  <a:cubicBezTo>
                    <a:pt x="783" y="1021"/>
                    <a:pt x="776" y="1024"/>
                    <a:pt x="768" y="1027"/>
                  </a:cubicBezTo>
                  <a:cubicBezTo>
                    <a:pt x="768" y="1184"/>
                    <a:pt x="768" y="1184"/>
                    <a:pt x="768" y="1184"/>
                  </a:cubicBezTo>
                  <a:cubicBezTo>
                    <a:pt x="768" y="1202"/>
                    <a:pt x="754" y="1216"/>
                    <a:pt x="736" y="1216"/>
                  </a:cubicBezTo>
                  <a:close/>
                  <a:moveTo>
                    <a:pt x="512" y="1152"/>
                  </a:moveTo>
                  <a:cubicBezTo>
                    <a:pt x="704" y="1152"/>
                    <a:pt x="704" y="1152"/>
                    <a:pt x="704" y="1152"/>
                  </a:cubicBezTo>
                  <a:cubicBezTo>
                    <a:pt x="704" y="1004"/>
                    <a:pt x="704" y="1004"/>
                    <a:pt x="704" y="1004"/>
                  </a:cubicBezTo>
                  <a:cubicBezTo>
                    <a:pt x="704" y="990"/>
                    <a:pt x="713" y="978"/>
                    <a:pt x="727" y="973"/>
                  </a:cubicBezTo>
                  <a:cubicBezTo>
                    <a:pt x="746" y="967"/>
                    <a:pt x="765" y="959"/>
                    <a:pt x="784" y="950"/>
                  </a:cubicBezTo>
                  <a:cubicBezTo>
                    <a:pt x="796" y="944"/>
                    <a:pt x="811" y="946"/>
                    <a:pt x="821" y="956"/>
                  </a:cubicBezTo>
                  <a:cubicBezTo>
                    <a:pt x="925" y="1061"/>
                    <a:pt x="925" y="1061"/>
                    <a:pt x="925" y="1061"/>
                  </a:cubicBezTo>
                  <a:cubicBezTo>
                    <a:pt x="1061" y="925"/>
                    <a:pt x="1061" y="925"/>
                    <a:pt x="1061" y="925"/>
                  </a:cubicBezTo>
                  <a:cubicBezTo>
                    <a:pt x="956" y="820"/>
                    <a:pt x="956" y="820"/>
                    <a:pt x="956" y="820"/>
                  </a:cubicBezTo>
                  <a:cubicBezTo>
                    <a:pt x="947" y="810"/>
                    <a:pt x="944" y="795"/>
                    <a:pt x="950" y="783"/>
                  </a:cubicBezTo>
                  <a:cubicBezTo>
                    <a:pt x="960" y="765"/>
                    <a:pt x="967" y="746"/>
                    <a:pt x="974" y="726"/>
                  </a:cubicBezTo>
                  <a:cubicBezTo>
                    <a:pt x="978" y="713"/>
                    <a:pt x="990" y="704"/>
                    <a:pt x="1004" y="704"/>
                  </a:cubicBezTo>
                  <a:cubicBezTo>
                    <a:pt x="1152" y="704"/>
                    <a:pt x="1152" y="704"/>
                    <a:pt x="1152" y="704"/>
                  </a:cubicBezTo>
                  <a:cubicBezTo>
                    <a:pt x="1152" y="512"/>
                    <a:pt x="1152" y="512"/>
                    <a:pt x="1152" y="512"/>
                  </a:cubicBezTo>
                  <a:cubicBezTo>
                    <a:pt x="1004" y="512"/>
                    <a:pt x="1004" y="512"/>
                    <a:pt x="1004" y="512"/>
                  </a:cubicBezTo>
                  <a:cubicBezTo>
                    <a:pt x="990" y="512"/>
                    <a:pt x="978" y="503"/>
                    <a:pt x="974" y="490"/>
                  </a:cubicBezTo>
                  <a:cubicBezTo>
                    <a:pt x="967" y="470"/>
                    <a:pt x="960" y="451"/>
                    <a:pt x="950" y="433"/>
                  </a:cubicBezTo>
                  <a:cubicBezTo>
                    <a:pt x="944" y="420"/>
                    <a:pt x="947" y="406"/>
                    <a:pt x="956" y="396"/>
                  </a:cubicBezTo>
                  <a:cubicBezTo>
                    <a:pt x="1061" y="291"/>
                    <a:pt x="1061" y="291"/>
                    <a:pt x="1061" y="291"/>
                  </a:cubicBezTo>
                  <a:cubicBezTo>
                    <a:pt x="925" y="155"/>
                    <a:pt x="925" y="155"/>
                    <a:pt x="925" y="155"/>
                  </a:cubicBezTo>
                  <a:cubicBezTo>
                    <a:pt x="820" y="260"/>
                    <a:pt x="820" y="260"/>
                    <a:pt x="820" y="260"/>
                  </a:cubicBezTo>
                  <a:cubicBezTo>
                    <a:pt x="811" y="270"/>
                    <a:pt x="796" y="272"/>
                    <a:pt x="783" y="266"/>
                  </a:cubicBezTo>
                  <a:cubicBezTo>
                    <a:pt x="765" y="257"/>
                    <a:pt x="746" y="249"/>
                    <a:pt x="727" y="243"/>
                  </a:cubicBezTo>
                  <a:cubicBezTo>
                    <a:pt x="713" y="238"/>
                    <a:pt x="704" y="226"/>
                    <a:pt x="704" y="212"/>
                  </a:cubicBezTo>
                  <a:cubicBezTo>
                    <a:pt x="704" y="64"/>
                    <a:pt x="704" y="64"/>
                    <a:pt x="704" y="64"/>
                  </a:cubicBezTo>
                  <a:cubicBezTo>
                    <a:pt x="512" y="64"/>
                    <a:pt x="512" y="64"/>
                    <a:pt x="512" y="64"/>
                  </a:cubicBezTo>
                  <a:cubicBezTo>
                    <a:pt x="512" y="212"/>
                    <a:pt x="512" y="212"/>
                    <a:pt x="512" y="212"/>
                  </a:cubicBezTo>
                  <a:cubicBezTo>
                    <a:pt x="512" y="226"/>
                    <a:pt x="503" y="238"/>
                    <a:pt x="490" y="243"/>
                  </a:cubicBezTo>
                  <a:cubicBezTo>
                    <a:pt x="470" y="249"/>
                    <a:pt x="451" y="257"/>
                    <a:pt x="433" y="266"/>
                  </a:cubicBezTo>
                  <a:cubicBezTo>
                    <a:pt x="421" y="272"/>
                    <a:pt x="406" y="270"/>
                    <a:pt x="396" y="260"/>
                  </a:cubicBezTo>
                  <a:cubicBezTo>
                    <a:pt x="292" y="155"/>
                    <a:pt x="292" y="155"/>
                    <a:pt x="292" y="155"/>
                  </a:cubicBezTo>
                  <a:cubicBezTo>
                    <a:pt x="156" y="291"/>
                    <a:pt x="156" y="291"/>
                    <a:pt x="156" y="291"/>
                  </a:cubicBezTo>
                  <a:cubicBezTo>
                    <a:pt x="260" y="396"/>
                    <a:pt x="260" y="396"/>
                    <a:pt x="260" y="396"/>
                  </a:cubicBezTo>
                  <a:cubicBezTo>
                    <a:pt x="270" y="406"/>
                    <a:pt x="273" y="421"/>
                    <a:pt x="266" y="433"/>
                  </a:cubicBezTo>
                  <a:cubicBezTo>
                    <a:pt x="257" y="451"/>
                    <a:pt x="249" y="470"/>
                    <a:pt x="243" y="490"/>
                  </a:cubicBezTo>
                  <a:cubicBezTo>
                    <a:pt x="239" y="503"/>
                    <a:pt x="226" y="512"/>
                    <a:pt x="213" y="512"/>
                  </a:cubicBezTo>
                  <a:cubicBezTo>
                    <a:pt x="64" y="512"/>
                    <a:pt x="64" y="512"/>
                    <a:pt x="64" y="512"/>
                  </a:cubicBezTo>
                  <a:cubicBezTo>
                    <a:pt x="64" y="704"/>
                    <a:pt x="64" y="704"/>
                    <a:pt x="64" y="704"/>
                  </a:cubicBezTo>
                  <a:cubicBezTo>
                    <a:pt x="213" y="704"/>
                    <a:pt x="213" y="704"/>
                    <a:pt x="213" y="704"/>
                  </a:cubicBezTo>
                  <a:cubicBezTo>
                    <a:pt x="226" y="704"/>
                    <a:pt x="239" y="713"/>
                    <a:pt x="243" y="726"/>
                  </a:cubicBezTo>
                  <a:cubicBezTo>
                    <a:pt x="249" y="746"/>
                    <a:pt x="257" y="765"/>
                    <a:pt x="266" y="783"/>
                  </a:cubicBezTo>
                  <a:cubicBezTo>
                    <a:pt x="273" y="796"/>
                    <a:pt x="270" y="811"/>
                    <a:pt x="260" y="820"/>
                  </a:cubicBezTo>
                  <a:cubicBezTo>
                    <a:pt x="156" y="925"/>
                    <a:pt x="156" y="925"/>
                    <a:pt x="156" y="925"/>
                  </a:cubicBezTo>
                  <a:cubicBezTo>
                    <a:pt x="292" y="1061"/>
                    <a:pt x="292" y="1061"/>
                    <a:pt x="292" y="1061"/>
                  </a:cubicBezTo>
                  <a:cubicBezTo>
                    <a:pt x="396" y="956"/>
                    <a:pt x="396" y="956"/>
                    <a:pt x="396" y="956"/>
                  </a:cubicBezTo>
                  <a:cubicBezTo>
                    <a:pt x="406" y="946"/>
                    <a:pt x="421" y="944"/>
                    <a:pt x="433" y="950"/>
                  </a:cubicBezTo>
                  <a:cubicBezTo>
                    <a:pt x="452" y="959"/>
                    <a:pt x="471" y="967"/>
                    <a:pt x="490" y="973"/>
                  </a:cubicBezTo>
                  <a:cubicBezTo>
                    <a:pt x="503" y="978"/>
                    <a:pt x="512" y="990"/>
                    <a:pt x="512" y="1004"/>
                  </a:cubicBezTo>
                  <a:lnTo>
                    <a:pt x="512" y="1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9C9EA7E3-2C91-4041-863B-55D9CDF15F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125" y="4629151"/>
              <a:ext cx="269875" cy="269875"/>
            </a:xfrm>
            <a:custGeom>
              <a:avLst/>
              <a:gdLst>
                <a:gd name="T0" fmla="*/ 256 w 512"/>
                <a:gd name="T1" fmla="*/ 512 h 512"/>
                <a:gd name="T2" fmla="*/ 0 w 512"/>
                <a:gd name="T3" fmla="*/ 256 h 512"/>
                <a:gd name="T4" fmla="*/ 256 w 512"/>
                <a:gd name="T5" fmla="*/ 0 h 512"/>
                <a:gd name="T6" fmla="*/ 512 w 512"/>
                <a:gd name="T7" fmla="*/ 256 h 512"/>
                <a:gd name="T8" fmla="*/ 256 w 512"/>
                <a:gd name="T9" fmla="*/ 512 h 512"/>
                <a:gd name="T10" fmla="*/ 256 w 512"/>
                <a:gd name="T11" fmla="*/ 64 h 512"/>
                <a:gd name="T12" fmla="*/ 64 w 512"/>
                <a:gd name="T13" fmla="*/ 256 h 512"/>
                <a:gd name="T14" fmla="*/ 256 w 512"/>
                <a:gd name="T15" fmla="*/ 448 h 512"/>
                <a:gd name="T16" fmla="*/ 448 w 512"/>
                <a:gd name="T17" fmla="*/ 256 h 512"/>
                <a:gd name="T18" fmla="*/ 256 w 512"/>
                <a:gd name="T19" fmla="*/ 64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512"/>
                  </a:moveTo>
                  <a:cubicBezTo>
                    <a:pt x="115" y="512"/>
                    <a:pt x="0" y="397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8" y="0"/>
                    <a:pt x="512" y="115"/>
                    <a:pt x="512" y="256"/>
                  </a:cubicBezTo>
                  <a:cubicBezTo>
                    <a:pt x="512" y="397"/>
                    <a:pt x="398" y="512"/>
                    <a:pt x="256" y="512"/>
                  </a:cubicBezTo>
                  <a:close/>
                  <a:moveTo>
                    <a:pt x="256" y="64"/>
                  </a:moveTo>
                  <a:cubicBezTo>
                    <a:pt x="150" y="64"/>
                    <a:pt x="64" y="150"/>
                    <a:pt x="64" y="256"/>
                  </a:cubicBezTo>
                  <a:cubicBezTo>
                    <a:pt x="64" y="362"/>
                    <a:pt x="150" y="448"/>
                    <a:pt x="256" y="448"/>
                  </a:cubicBezTo>
                  <a:cubicBezTo>
                    <a:pt x="362" y="448"/>
                    <a:pt x="448" y="362"/>
                    <a:pt x="448" y="256"/>
                  </a:cubicBezTo>
                  <a:cubicBezTo>
                    <a:pt x="448" y="150"/>
                    <a:pt x="362" y="64"/>
                    <a:pt x="256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0" name="Rectangle 30">
              <a:extLst>
                <a:ext uri="{FF2B5EF4-FFF2-40B4-BE49-F238E27FC236}">
                  <a16:creationId xmlns:a16="http://schemas.microsoft.com/office/drawing/2014/main" id="{A169070B-1961-4C42-BDF6-9588CA8677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8600" y="4510088"/>
              <a:ext cx="33338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1" name="Freeform 31">
              <a:extLst>
                <a:ext uri="{FF2B5EF4-FFF2-40B4-BE49-F238E27FC236}">
                  <a16:creationId xmlns:a16="http://schemas.microsoft.com/office/drawing/2014/main" id="{802B8E2B-82D8-4FAB-9A0B-5DC2546A4D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62" y="4572001"/>
              <a:ext cx="47625" cy="47625"/>
            </a:xfrm>
            <a:custGeom>
              <a:avLst/>
              <a:gdLst>
                <a:gd name="T0" fmla="*/ 0 w 30"/>
                <a:gd name="T1" fmla="*/ 15 h 30"/>
                <a:gd name="T2" fmla="*/ 15 w 30"/>
                <a:gd name="T3" fmla="*/ 0 h 30"/>
                <a:gd name="T4" fmla="*/ 30 w 30"/>
                <a:gd name="T5" fmla="*/ 15 h 30"/>
                <a:gd name="T6" fmla="*/ 15 w 30"/>
                <a:gd name="T7" fmla="*/ 30 h 30"/>
                <a:gd name="T8" fmla="*/ 0 w 30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30">
                  <a:moveTo>
                    <a:pt x="0" y="15"/>
                  </a:moveTo>
                  <a:lnTo>
                    <a:pt x="15" y="0"/>
                  </a:lnTo>
                  <a:lnTo>
                    <a:pt x="30" y="15"/>
                  </a:lnTo>
                  <a:lnTo>
                    <a:pt x="15" y="30"/>
                  </a:ln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2" name="Rectangle 32">
              <a:extLst>
                <a:ext uri="{FF2B5EF4-FFF2-40B4-BE49-F238E27FC236}">
                  <a16:creationId xmlns:a16="http://schemas.microsoft.com/office/drawing/2014/main" id="{F3C75951-0FE9-4FB0-ACA3-0E40DAF7FF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7938" y="4746626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3" name="Freeform 33">
              <a:extLst>
                <a:ext uri="{FF2B5EF4-FFF2-40B4-BE49-F238E27FC236}">
                  <a16:creationId xmlns:a16="http://schemas.microsoft.com/office/drawing/2014/main" id="{CC649FD7-2E4B-448F-8363-D2D5ABC7E2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62" y="4906963"/>
              <a:ext cx="47625" cy="47625"/>
            </a:xfrm>
            <a:custGeom>
              <a:avLst/>
              <a:gdLst>
                <a:gd name="T0" fmla="*/ 0 w 30"/>
                <a:gd name="T1" fmla="*/ 15 h 30"/>
                <a:gd name="T2" fmla="*/ 15 w 30"/>
                <a:gd name="T3" fmla="*/ 0 h 30"/>
                <a:gd name="T4" fmla="*/ 30 w 30"/>
                <a:gd name="T5" fmla="*/ 15 h 30"/>
                <a:gd name="T6" fmla="*/ 15 w 30"/>
                <a:gd name="T7" fmla="*/ 30 h 30"/>
                <a:gd name="T8" fmla="*/ 0 w 30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30">
                  <a:moveTo>
                    <a:pt x="0" y="15"/>
                  </a:moveTo>
                  <a:lnTo>
                    <a:pt x="15" y="0"/>
                  </a:lnTo>
                  <a:lnTo>
                    <a:pt x="30" y="15"/>
                  </a:lnTo>
                  <a:lnTo>
                    <a:pt x="15" y="30"/>
                  </a:ln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4" name="Rectangle 34">
              <a:extLst>
                <a:ext uri="{FF2B5EF4-FFF2-40B4-BE49-F238E27FC236}">
                  <a16:creationId xmlns:a16="http://schemas.microsoft.com/office/drawing/2014/main" id="{B8CFDEFC-0064-4635-8A47-D274BB7263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8600" y="4983163"/>
              <a:ext cx="33338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5" name="Freeform 35">
              <a:extLst>
                <a:ext uri="{FF2B5EF4-FFF2-40B4-BE49-F238E27FC236}">
                  <a16:creationId xmlns:a16="http://schemas.microsoft.com/office/drawing/2014/main" id="{A96F221C-37D6-4605-88AD-1A6A77915D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937" y="4906963"/>
              <a:ext cx="47625" cy="47625"/>
            </a:xfrm>
            <a:custGeom>
              <a:avLst/>
              <a:gdLst>
                <a:gd name="T0" fmla="*/ 0 w 30"/>
                <a:gd name="T1" fmla="*/ 15 h 30"/>
                <a:gd name="T2" fmla="*/ 15 w 30"/>
                <a:gd name="T3" fmla="*/ 0 h 30"/>
                <a:gd name="T4" fmla="*/ 30 w 30"/>
                <a:gd name="T5" fmla="*/ 15 h 30"/>
                <a:gd name="T6" fmla="*/ 15 w 30"/>
                <a:gd name="T7" fmla="*/ 30 h 30"/>
                <a:gd name="T8" fmla="*/ 0 w 30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30">
                  <a:moveTo>
                    <a:pt x="0" y="15"/>
                  </a:moveTo>
                  <a:lnTo>
                    <a:pt x="15" y="0"/>
                  </a:lnTo>
                  <a:lnTo>
                    <a:pt x="30" y="15"/>
                  </a:lnTo>
                  <a:lnTo>
                    <a:pt x="15" y="30"/>
                  </a:ln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6" name="Rectangle 36">
              <a:extLst>
                <a:ext uri="{FF2B5EF4-FFF2-40B4-BE49-F238E27FC236}">
                  <a16:creationId xmlns:a16="http://schemas.microsoft.com/office/drawing/2014/main" id="{DCE25A01-8534-49DD-8F06-72B4DD9743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137" y="4746626"/>
              <a:ext cx="33338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7" name="Freeform 37">
              <a:extLst>
                <a:ext uri="{FF2B5EF4-FFF2-40B4-BE49-F238E27FC236}">
                  <a16:creationId xmlns:a16="http://schemas.microsoft.com/office/drawing/2014/main" id="{BF8DB3FE-62DB-41BB-B3D5-A7E718BE8AF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937" y="4572001"/>
              <a:ext cx="47625" cy="49213"/>
            </a:xfrm>
            <a:custGeom>
              <a:avLst/>
              <a:gdLst>
                <a:gd name="T0" fmla="*/ 0 w 30"/>
                <a:gd name="T1" fmla="*/ 15 h 31"/>
                <a:gd name="T2" fmla="*/ 15 w 30"/>
                <a:gd name="T3" fmla="*/ 0 h 31"/>
                <a:gd name="T4" fmla="*/ 30 w 30"/>
                <a:gd name="T5" fmla="*/ 15 h 31"/>
                <a:gd name="T6" fmla="*/ 15 w 30"/>
                <a:gd name="T7" fmla="*/ 31 h 31"/>
                <a:gd name="T8" fmla="*/ 0 w 30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31">
                  <a:moveTo>
                    <a:pt x="0" y="15"/>
                  </a:moveTo>
                  <a:lnTo>
                    <a:pt x="15" y="0"/>
                  </a:lnTo>
                  <a:lnTo>
                    <a:pt x="30" y="15"/>
                  </a:lnTo>
                  <a:lnTo>
                    <a:pt x="15" y="31"/>
                  </a:ln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1A0E8B12-3A7A-4E2D-BC6E-8CA99B8BC85E}"/>
              </a:ext>
            </a:extLst>
          </p:cNvPr>
          <p:cNvGrpSpPr/>
          <p:nvPr/>
        </p:nvGrpSpPr>
        <p:grpSpPr>
          <a:xfrm>
            <a:off x="2737912" y="2221037"/>
            <a:ext cx="419093" cy="538043"/>
            <a:chOff x="-900113" y="3719513"/>
            <a:chExt cx="844550" cy="1084262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69" name="Freeform 16">
              <a:extLst>
                <a:ext uri="{FF2B5EF4-FFF2-40B4-BE49-F238E27FC236}">
                  <a16:creationId xmlns:a16="http://schemas.microsoft.com/office/drawing/2014/main" id="{D28F7F6C-C11B-47A9-9006-10DC9C989C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92101" y="3719513"/>
              <a:ext cx="206375" cy="207962"/>
            </a:xfrm>
            <a:custGeom>
              <a:avLst/>
              <a:gdLst>
                <a:gd name="T0" fmla="*/ 571 w 1143"/>
                <a:gd name="T1" fmla="*/ 1148 h 1148"/>
                <a:gd name="T2" fmla="*/ 1143 w 1143"/>
                <a:gd name="T3" fmla="*/ 574 h 1148"/>
                <a:gd name="T4" fmla="*/ 571 w 1143"/>
                <a:gd name="T5" fmla="*/ 0 h 1148"/>
                <a:gd name="T6" fmla="*/ 0 w 1143"/>
                <a:gd name="T7" fmla="*/ 574 h 1148"/>
                <a:gd name="T8" fmla="*/ 571 w 1143"/>
                <a:gd name="T9" fmla="*/ 1148 h 1148"/>
                <a:gd name="T10" fmla="*/ 571 w 1143"/>
                <a:gd name="T11" fmla="*/ 297 h 1148"/>
                <a:gd name="T12" fmla="*/ 847 w 1143"/>
                <a:gd name="T13" fmla="*/ 575 h 1148"/>
                <a:gd name="T14" fmla="*/ 571 w 1143"/>
                <a:gd name="T15" fmla="*/ 854 h 1148"/>
                <a:gd name="T16" fmla="*/ 295 w 1143"/>
                <a:gd name="T17" fmla="*/ 574 h 1148"/>
                <a:gd name="T18" fmla="*/ 571 w 1143"/>
                <a:gd name="T19" fmla="*/ 29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3" h="1148">
                  <a:moveTo>
                    <a:pt x="571" y="1148"/>
                  </a:moveTo>
                  <a:cubicBezTo>
                    <a:pt x="887" y="1148"/>
                    <a:pt x="1143" y="891"/>
                    <a:pt x="1143" y="574"/>
                  </a:cubicBezTo>
                  <a:cubicBezTo>
                    <a:pt x="1143" y="258"/>
                    <a:pt x="887" y="0"/>
                    <a:pt x="571" y="0"/>
                  </a:cubicBezTo>
                  <a:cubicBezTo>
                    <a:pt x="256" y="0"/>
                    <a:pt x="0" y="259"/>
                    <a:pt x="0" y="574"/>
                  </a:cubicBezTo>
                  <a:cubicBezTo>
                    <a:pt x="0" y="890"/>
                    <a:pt x="256" y="1148"/>
                    <a:pt x="571" y="1148"/>
                  </a:cubicBezTo>
                  <a:close/>
                  <a:moveTo>
                    <a:pt x="571" y="297"/>
                  </a:moveTo>
                  <a:cubicBezTo>
                    <a:pt x="723" y="297"/>
                    <a:pt x="847" y="421"/>
                    <a:pt x="847" y="575"/>
                  </a:cubicBezTo>
                  <a:cubicBezTo>
                    <a:pt x="847" y="730"/>
                    <a:pt x="724" y="854"/>
                    <a:pt x="571" y="854"/>
                  </a:cubicBezTo>
                  <a:cubicBezTo>
                    <a:pt x="418" y="854"/>
                    <a:pt x="295" y="728"/>
                    <a:pt x="295" y="574"/>
                  </a:cubicBezTo>
                  <a:cubicBezTo>
                    <a:pt x="295" y="420"/>
                    <a:pt x="418" y="297"/>
                    <a:pt x="571" y="297"/>
                  </a:cubicBezTo>
                  <a:close/>
                </a:path>
              </a:pathLst>
            </a:custGeom>
            <a:solidFill>
              <a:srgbClr val="5C8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0" name="Freeform 17">
              <a:extLst>
                <a:ext uri="{FF2B5EF4-FFF2-40B4-BE49-F238E27FC236}">
                  <a16:creationId xmlns:a16="http://schemas.microsoft.com/office/drawing/2014/main" id="{719E2571-CC20-4BF7-A2D5-41B28C4D67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900113" y="4595813"/>
              <a:ext cx="206375" cy="207962"/>
            </a:xfrm>
            <a:custGeom>
              <a:avLst/>
              <a:gdLst>
                <a:gd name="T0" fmla="*/ 572 w 1144"/>
                <a:gd name="T1" fmla="*/ 0 h 1148"/>
                <a:gd name="T2" fmla="*/ 0 w 1144"/>
                <a:gd name="T3" fmla="*/ 574 h 1148"/>
                <a:gd name="T4" fmla="*/ 572 w 1144"/>
                <a:gd name="T5" fmla="*/ 1148 h 1148"/>
                <a:gd name="T6" fmla="*/ 1144 w 1144"/>
                <a:gd name="T7" fmla="*/ 574 h 1148"/>
                <a:gd name="T8" fmla="*/ 572 w 1144"/>
                <a:gd name="T9" fmla="*/ 0 h 1148"/>
                <a:gd name="T10" fmla="*/ 572 w 1144"/>
                <a:gd name="T11" fmla="*/ 852 h 1148"/>
                <a:gd name="T12" fmla="*/ 296 w 1144"/>
                <a:gd name="T13" fmla="*/ 574 h 1148"/>
                <a:gd name="T14" fmla="*/ 572 w 1144"/>
                <a:gd name="T15" fmla="*/ 295 h 1148"/>
                <a:gd name="T16" fmla="*/ 848 w 1144"/>
                <a:gd name="T17" fmla="*/ 574 h 1148"/>
                <a:gd name="T18" fmla="*/ 572 w 1144"/>
                <a:gd name="T19" fmla="*/ 852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4" h="1148">
                  <a:moveTo>
                    <a:pt x="572" y="0"/>
                  </a:moveTo>
                  <a:cubicBezTo>
                    <a:pt x="256" y="0"/>
                    <a:pt x="0" y="257"/>
                    <a:pt x="0" y="574"/>
                  </a:cubicBezTo>
                  <a:cubicBezTo>
                    <a:pt x="0" y="890"/>
                    <a:pt x="256" y="1148"/>
                    <a:pt x="572" y="1148"/>
                  </a:cubicBezTo>
                  <a:cubicBezTo>
                    <a:pt x="887" y="1148"/>
                    <a:pt x="1144" y="890"/>
                    <a:pt x="1144" y="574"/>
                  </a:cubicBezTo>
                  <a:cubicBezTo>
                    <a:pt x="1144" y="257"/>
                    <a:pt x="886" y="0"/>
                    <a:pt x="572" y="0"/>
                  </a:cubicBezTo>
                  <a:close/>
                  <a:moveTo>
                    <a:pt x="572" y="852"/>
                  </a:moveTo>
                  <a:cubicBezTo>
                    <a:pt x="420" y="852"/>
                    <a:pt x="296" y="728"/>
                    <a:pt x="296" y="574"/>
                  </a:cubicBezTo>
                  <a:cubicBezTo>
                    <a:pt x="296" y="421"/>
                    <a:pt x="419" y="295"/>
                    <a:pt x="572" y="295"/>
                  </a:cubicBezTo>
                  <a:cubicBezTo>
                    <a:pt x="725" y="295"/>
                    <a:pt x="848" y="420"/>
                    <a:pt x="848" y="574"/>
                  </a:cubicBezTo>
                  <a:cubicBezTo>
                    <a:pt x="847" y="727"/>
                    <a:pt x="723" y="852"/>
                    <a:pt x="572" y="852"/>
                  </a:cubicBezTo>
                  <a:close/>
                </a:path>
              </a:pathLst>
            </a:custGeom>
            <a:solidFill>
              <a:srgbClr val="5C8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1" name="Freeform 18">
              <a:extLst>
                <a:ext uri="{FF2B5EF4-FFF2-40B4-BE49-F238E27FC236}">
                  <a16:creationId xmlns:a16="http://schemas.microsoft.com/office/drawing/2014/main" id="{534BC797-3216-4CF6-A609-865A0CE5ECC2}"/>
                </a:ext>
              </a:extLst>
            </p:cNvPr>
            <p:cNvSpPr>
              <a:spLocks/>
            </p:cNvSpPr>
            <p:nvPr/>
          </p:nvSpPr>
          <p:spPr bwMode="auto">
            <a:xfrm>
              <a:off x="-701676" y="3981450"/>
              <a:ext cx="207963" cy="206375"/>
            </a:xfrm>
            <a:custGeom>
              <a:avLst/>
              <a:gdLst>
                <a:gd name="T0" fmla="*/ 883 w 1151"/>
                <a:gd name="T1" fmla="*/ 1093 h 1136"/>
                <a:gd name="T2" fmla="*/ 988 w 1151"/>
                <a:gd name="T3" fmla="*/ 1136 h 1136"/>
                <a:gd name="T4" fmla="*/ 1093 w 1151"/>
                <a:gd name="T5" fmla="*/ 1093 h 1136"/>
                <a:gd name="T6" fmla="*/ 1093 w 1151"/>
                <a:gd name="T7" fmla="*/ 883 h 1136"/>
                <a:gd name="T8" fmla="*/ 785 w 1151"/>
                <a:gd name="T9" fmla="*/ 575 h 1136"/>
                <a:gd name="T10" fmla="*/ 1093 w 1151"/>
                <a:gd name="T11" fmla="*/ 267 h 1136"/>
                <a:gd name="T12" fmla="*/ 1093 w 1151"/>
                <a:gd name="T13" fmla="*/ 58 h 1136"/>
                <a:gd name="T14" fmla="*/ 883 w 1151"/>
                <a:gd name="T15" fmla="*/ 58 h 1136"/>
                <a:gd name="T16" fmla="*/ 575 w 1151"/>
                <a:gd name="T17" fmla="*/ 366 h 1136"/>
                <a:gd name="T18" fmla="*/ 267 w 1151"/>
                <a:gd name="T19" fmla="*/ 58 h 1136"/>
                <a:gd name="T20" fmla="*/ 58 w 1151"/>
                <a:gd name="T21" fmla="*/ 58 h 1136"/>
                <a:gd name="T22" fmla="*/ 58 w 1151"/>
                <a:gd name="T23" fmla="*/ 267 h 1136"/>
                <a:gd name="T24" fmla="*/ 366 w 1151"/>
                <a:gd name="T25" fmla="*/ 575 h 1136"/>
                <a:gd name="T26" fmla="*/ 58 w 1151"/>
                <a:gd name="T27" fmla="*/ 883 h 1136"/>
                <a:gd name="T28" fmla="*/ 58 w 1151"/>
                <a:gd name="T29" fmla="*/ 1093 h 1136"/>
                <a:gd name="T30" fmla="*/ 162 w 1151"/>
                <a:gd name="T31" fmla="*/ 1136 h 1136"/>
                <a:gd name="T32" fmla="*/ 267 w 1151"/>
                <a:gd name="T33" fmla="*/ 1093 h 1136"/>
                <a:gd name="T34" fmla="*/ 575 w 1151"/>
                <a:gd name="T35" fmla="*/ 785 h 1136"/>
                <a:gd name="T36" fmla="*/ 883 w 1151"/>
                <a:gd name="T37" fmla="*/ 1093 h 1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51" h="1136">
                  <a:moveTo>
                    <a:pt x="883" y="1093"/>
                  </a:moveTo>
                  <a:cubicBezTo>
                    <a:pt x="912" y="1121"/>
                    <a:pt x="950" y="1136"/>
                    <a:pt x="988" y="1136"/>
                  </a:cubicBezTo>
                  <a:cubicBezTo>
                    <a:pt x="1026" y="1136"/>
                    <a:pt x="1063" y="1121"/>
                    <a:pt x="1093" y="1093"/>
                  </a:cubicBezTo>
                  <a:cubicBezTo>
                    <a:pt x="1151" y="1035"/>
                    <a:pt x="1151" y="941"/>
                    <a:pt x="1093" y="883"/>
                  </a:cubicBezTo>
                  <a:cubicBezTo>
                    <a:pt x="785" y="575"/>
                    <a:pt x="785" y="575"/>
                    <a:pt x="785" y="575"/>
                  </a:cubicBezTo>
                  <a:cubicBezTo>
                    <a:pt x="1093" y="267"/>
                    <a:pt x="1093" y="267"/>
                    <a:pt x="1093" y="267"/>
                  </a:cubicBezTo>
                  <a:cubicBezTo>
                    <a:pt x="1151" y="209"/>
                    <a:pt x="1151" y="115"/>
                    <a:pt x="1093" y="58"/>
                  </a:cubicBezTo>
                  <a:cubicBezTo>
                    <a:pt x="1035" y="0"/>
                    <a:pt x="941" y="0"/>
                    <a:pt x="883" y="58"/>
                  </a:cubicBezTo>
                  <a:cubicBezTo>
                    <a:pt x="575" y="366"/>
                    <a:pt x="575" y="366"/>
                    <a:pt x="575" y="366"/>
                  </a:cubicBezTo>
                  <a:cubicBezTo>
                    <a:pt x="267" y="58"/>
                    <a:pt x="267" y="58"/>
                    <a:pt x="267" y="58"/>
                  </a:cubicBezTo>
                  <a:cubicBezTo>
                    <a:pt x="209" y="0"/>
                    <a:pt x="115" y="0"/>
                    <a:pt x="58" y="58"/>
                  </a:cubicBezTo>
                  <a:cubicBezTo>
                    <a:pt x="0" y="115"/>
                    <a:pt x="0" y="209"/>
                    <a:pt x="58" y="267"/>
                  </a:cubicBezTo>
                  <a:cubicBezTo>
                    <a:pt x="366" y="575"/>
                    <a:pt x="366" y="575"/>
                    <a:pt x="366" y="575"/>
                  </a:cubicBezTo>
                  <a:cubicBezTo>
                    <a:pt x="58" y="883"/>
                    <a:pt x="58" y="883"/>
                    <a:pt x="58" y="883"/>
                  </a:cubicBezTo>
                  <a:cubicBezTo>
                    <a:pt x="0" y="941"/>
                    <a:pt x="0" y="1035"/>
                    <a:pt x="58" y="1093"/>
                  </a:cubicBezTo>
                  <a:cubicBezTo>
                    <a:pt x="86" y="1121"/>
                    <a:pt x="124" y="1136"/>
                    <a:pt x="162" y="1136"/>
                  </a:cubicBezTo>
                  <a:cubicBezTo>
                    <a:pt x="201" y="1136"/>
                    <a:pt x="237" y="1121"/>
                    <a:pt x="267" y="1093"/>
                  </a:cubicBezTo>
                  <a:cubicBezTo>
                    <a:pt x="575" y="785"/>
                    <a:pt x="575" y="785"/>
                    <a:pt x="575" y="785"/>
                  </a:cubicBezTo>
                  <a:lnTo>
                    <a:pt x="883" y="1093"/>
                  </a:lnTo>
                  <a:close/>
                </a:path>
              </a:pathLst>
            </a:custGeom>
            <a:solidFill>
              <a:srgbClr val="5C8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2" name="Freeform 19">
              <a:extLst>
                <a:ext uri="{FF2B5EF4-FFF2-40B4-BE49-F238E27FC236}">
                  <a16:creationId xmlns:a16="http://schemas.microsoft.com/office/drawing/2014/main" id="{C46C3E5A-EA41-4E5E-ABAE-F6BEF19AF53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2101" y="4410075"/>
              <a:ext cx="207963" cy="206375"/>
            </a:xfrm>
            <a:custGeom>
              <a:avLst/>
              <a:gdLst>
                <a:gd name="T0" fmla="*/ 1093 w 1151"/>
                <a:gd name="T1" fmla="*/ 58 h 1136"/>
                <a:gd name="T2" fmla="*/ 883 w 1151"/>
                <a:gd name="T3" fmla="*/ 58 h 1136"/>
                <a:gd name="T4" fmla="*/ 575 w 1151"/>
                <a:gd name="T5" fmla="*/ 366 h 1136"/>
                <a:gd name="T6" fmla="*/ 267 w 1151"/>
                <a:gd name="T7" fmla="*/ 58 h 1136"/>
                <a:gd name="T8" fmla="*/ 58 w 1151"/>
                <a:gd name="T9" fmla="*/ 58 h 1136"/>
                <a:gd name="T10" fmla="*/ 58 w 1151"/>
                <a:gd name="T11" fmla="*/ 267 h 1136"/>
                <a:gd name="T12" fmla="*/ 366 w 1151"/>
                <a:gd name="T13" fmla="*/ 575 h 1136"/>
                <a:gd name="T14" fmla="*/ 58 w 1151"/>
                <a:gd name="T15" fmla="*/ 883 h 1136"/>
                <a:gd name="T16" fmla="*/ 58 w 1151"/>
                <a:gd name="T17" fmla="*/ 1093 h 1136"/>
                <a:gd name="T18" fmla="*/ 162 w 1151"/>
                <a:gd name="T19" fmla="*/ 1136 h 1136"/>
                <a:gd name="T20" fmla="*/ 267 w 1151"/>
                <a:gd name="T21" fmla="*/ 1093 h 1136"/>
                <a:gd name="T22" fmla="*/ 575 w 1151"/>
                <a:gd name="T23" fmla="*/ 785 h 1136"/>
                <a:gd name="T24" fmla="*/ 883 w 1151"/>
                <a:gd name="T25" fmla="*/ 1093 h 1136"/>
                <a:gd name="T26" fmla="*/ 988 w 1151"/>
                <a:gd name="T27" fmla="*/ 1136 h 1136"/>
                <a:gd name="T28" fmla="*/ 1093 w 1151"/>
                <a:gd name="T29" fmla="*/ 1093 h 1136"/>
                <a:gd name="T30" fmla="*/ 1093 w 1151"/>
                <a:gd name="T31" fmla="*/ 883 h 1136"/>
                <a:gd name="T32" fmla="*/ 785 w 1151"/>
                <a:gd name="T33" fmla="*/ 575 h 1136"/>
                <a:gd name="T34" fmla="*/ 1093 w 1151"/>
                <a:gd name="T35" fmla="*/ 267 h 1136"/>
                <a:gd name="T36" fmla="*/ 1093 w 1151"/>
                <a:gd name="T37" fmla="*/ 58 h 1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51" h="1136">
                  <a:moveTo>
                    <a:pt x="1093" y="58"/>
                  </a:moveTo>
                  <a:cubicBezTo>
                    <a:pt x="1035" y="0"/>
                    <a:pt x="941" y="0"/>
                    <a:pt x="883" y="58"/>
                  </a:cubicBezTo>
                  <a:cubicBezTo>
                    <a:pt x="575" y="366"/>
                    <a:pt x="575" y="366"/>
                    <a:pt x="575" y="366"/>
                  </a:cubicBezTo>
                  <a:cubicBezTo>
                    <a:pt x="267" y="58"/>
                    <a:pt x="267" y="58"/>
                    <a:pt x="267" y="58"/>
                  </a:cubicBezTo>
                  <a:cubicBezTo>
                    <a:pt x="209" y="0"/>
                    <a:pt x="116" y="0"/>
                    <a:pt x="58" y="58"/>
                  </a:cubicBezTo>
                  <a:cubicBezTo>
                    <a:pt x="0" y="116"/>
                    <a:pt x="0" y="209"/>
                    <a:pt x="58" y="267"/>
                  </a:cubicBezTo>
                  <a:cubicBezTo>
                    <a:pt x="366" y="575"/>
                    <a:pt x="366" y="575"/>
                    <a:pt x="366" y="575"/>
                  </a:cubicBezTo>
                  <a:cubicBezTo>
                    <a:pt x="58" y="883"/>
                    <a:pt x="58" y="883"/>
                    <a:pt x="58" y="883"/>
                  </a:cubicBezTo>
                  <a:cubicBezTo>
                    <a:pt x="0" y="941"/>
                    <a:pt x="0" y="1035"/>
                    <a:pt x="58" y="1093"/>
                  </a:cubicBezTo>
                  <a:cubicBezTo>
                    <a:pt x="86" y="1121"/>
                    <a:pt x="124" y="1136"/>
                    <a:pt x="162" y="1136"/>
                  </a:cubicBezTo>
                  <a:cubicBezTo>
                    <a:pt x="201" y="1136"/>
                    <a:pt x="238" y="1121"/>
                    <a:pt x="267" y="1093"/>
                  </a:cubicBezTo>
                  <a:cubicBezTo>
                    <a:pt x="575" y="785"/>
                    <a:pt x="575" y="785"/>
                    <a:pt x="575" y="785"/>
                  </a:cubicBezTo>
                  <a:cubicBezTo>
                    <a:pt x="883" y="1093"/>
                    <a:pt x="883" y="1093"/>
                    <a:pt x="883" y="1093"/>
                  </a:cubicBezTo>
                  <a:cubicBezTo>
                    <a:pt x="912" y="1121"/>
                    <a:pt x="950" y="1136"/>
                    <a:pt x="988" y="1136"/>
                  </a:cubicBezTo>
                  <a:cubicBezTo>
                    <a:pt x="1026" y="1136"/>
                    <a:pt x="1063" y="1121"/>
                    <a:pt x="1093" y="1093"/>
                  </a:cubicBezTo>
                  <a:cubicBezTo>
                    <a:pt x="1151" y="1035"/>
                    <a:pt x="1151" y="941"/>
                    <a:pt x="1093" y="883"/>
                  </a:cubicBezTo>
                  <a:cubicBezTo>
                    <a:pt x="785" y="575"/>
                    <a:pt x="785" y="575"/>
                    <a:pt x="785" y="575"/>
                  </a:cubicBezTo>
                  <a:cubicBezTo>
                    <a:pt x="1093" y="267"/>
                    <a:pt x="1093" y="267"/>
                    <a:pt x="1093" y="267"/>
                  </a:cubicBezTo>
                  <a:cubicBezTo>
                    <a:pt x="1151" y="208"/>
                    <a:pt x="1151" y="116"/>
                    <a:pt x="1093" y="58"/>
                  </a:cubicBezTo>
                  <a:close/>
                </a:path>
              </a:pathLst>
            </a:custGeom>
            <a:solidFill>
              <a:srgbClr val="5C8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3" name="Freeform 20">
              <a:extLst>
                <a:ext uri="{FF2B5EF4-FFF2-40B4-BE49-F238E27FC236}">
                  <a16:creationId xmlns:a16="http://schemas.microsoft.com/office/drawing/2014/main" id="{70180F41-3D2A-4C0B-9407-817B0842166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8013" y="4548188"/>
              <a:ext cx="207963" cy="206375"/>
            </a:xfrm>
            <a:custGeom>
              <a:avLst/>
              <a:gdLst>
                <a:gd name="T0" fmla="*/ 1093 w 1150"/>
                <a:gd name="T1" fmla="*/ 57 h 1136"/>
                <a:gd name="T2" fmla="*/ 883 w 1150"/>
                <a:gd name="T3" fmla="*/ 57 h 1136"/>
                <a:gd name="T4" fmla="*/ 575 w 1150"/>
                <a:gd name="T5" fmla="*/ 366 h 1136"/>
                <a:gd name="T6" fmla="*/ 267 w 1150"/>
                <a:gd name="T7" fmla="*/ 57 h 1136"/>
                <a:gd name="T8" fmla="*/ 57 w 1150"/>
                <a:gd name="T9" fmla="*/ 57 h 1136"/>
                <a:gd name="T10" fmla="*/ 57 w 1150"/>
                <a:gd name="T11" fmla="*/ 267 h 1136"/>
                <a:gd name="T12" fmla="*/ 366 w 1150"/>
                <a:gd name="T13" fmla="*/ 575 h 1136"/>
                <a:gd name="T14" fmla="*/ 57 w 1150"/>
                <a:gd name="T15" fmla="*/ 883 h 1136"/>
                <a:gd name="T16" fmla="*/ 57 w 1150"/>
                <a:gd name="T17" fmla="*/ 1093 h 1136"/>
                <a:gd name="T18" fmla="*/ 162 w 1150"/>
                <a:gd name="T19" fmla="*/ 1136 h 1136"/>
                <a:gd name="T20" fmla="*/ 267 w 1150"/>
                <a:gd name="T21" fmla="*/ 1093 h 1136"/>
                <a:gd name="T22" fmla="*/ 575 w 1150"/>
                <a:gd name="T23" fmla="*/ 785 h 1136"/>
                <a:gd name="T24" fmla="*/ 883 w 1150"/>
                <a:gd name="T25" fmla="*/ 1093 h 1136"/>
                <a:gd name="T26" fmla="*/ 988 w 1150"/>
                <a:gd name="T27" fmla="*/ 1136 h 1136"/>
                <a:gd name="T28" fmla="*/ 1093 w 1150"/>
                <a:gd name="T29" fmla="*/ 1093 h 1136"/>
                <a:gd name="T30" fmla="*/ 1093 w 1150"/>
                <a:gd name="T31" fmla="*/ 883 h 1136"/>
                <a:gd name="T32" fmla="*/ 784 w 1150"/>
                <a:gd name="T33" fmla="*/ 575 h 1136"/>
                <a:gd name="T34" fmla="*/ 1093 w 1150"/>
                <a:gd name="T35" fmla="*/ 267 h 1136"/>
                <a:gd name="T36" fmla="*/ 1093 w 1150"/>
                <a:gd name="T37" fmla="*/ 57 h 1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50" h="1136">
                  <a:moveTo>
                    <a:pt x="1093" y="57"/>
                  </a:moveTo>
                  <a:cubicBezTo>
                    <a:pt x="1035" y="0"/>
                    <a:pt x="941" y="0"/>
                    <a:pt x="883" y="57"/>
                  </a:cubicBezTo>
                  <a:cubicBezTo>
                    <a:pt x="575" y="366"/>
                    <a:pt x="575" y="366"/>
                    <a:pt x="575" y="366"/>
                  </a:cubicBezTo>
                  <a:cubicBezTo>
                    <a:pt x="267" y="57"/>
                    <a:pt x="267" y="57"/>
                    <a:pt x="267" y="57"/>
                  </a:cubicBezTo>
                  <a:cubicBezTo>
                    <a:pt x="209" y="0"/>
                    <a:pt x="115" y="0"/>
                    <a:pt x="57" y="57"/>
                  </a:cubicBezTo>
                  <a:cubicBezTo>
                    <a:pt x="0" y="115"/>
                    <a:pt x="0" y="209"/>
                    <a:pt x="57" y="267"/>
                  </a:cubicBezTo>
                  <a:cubicBezTo>
                    <a:pt x="366" y="575"/>
                    <a:pt x="366" y="575"/>
                    <a:pt x="366" y="575"/>
                  </a:cubicBezTo>
                  <a:cubicBezTo>
                    <a:pt x="57" y="883"/>
                    <a:pt x="57" y="883"/>
                    <a:pt x="57" y="883"/>
                  </a:cubicBezTo>
                  <a:cubicBezTo>
                    <a:pt x="0" y="941"/>
                    <a:pt x="0" y="1035"/>
                    <a:pt x="57" y="1093"/>
                  </a:cubicBezTo>
                  <a:cubicBezTo>
                    <a:pt x="86" y="1121"/>
                    <a:pt x="124" y="1136"/>
                    <a:pt x="162" y="1136"/>
                  </a:cubicBezTo>
                  <a:cubicBezTo>
                    <a:pt x="200" y="1136"/>
                    <a:pt x="237" y="1121"/>
                    <a:pt x="267" y="1093"/>
                  </a:cubicBezTo>
                  <a:cubicBezTo>
                    <a:pt x="575" y="785"/>
                    <a:pt x="575" y="785"/>
                    <a:pt x="575" y="785"/>
                  </a:cubicBezTo>
                  <a:cubicBezTo>
                    <a:pt x="883" y="1093"/>
                    <a:pt x="883" y="1093"/>
                    <a:pt x="883" y="1093"/>
                  </a:cubicBezTo>
                  <a:cubicBezTo>
                    <a:pt x="911" y="1121"/>
                    <a:pt x="950" y="1136"/>
                    <a:pt x="988" y="1136"/>
                  </a:cubicBezTo>
                  <a:cubicBezTo>
                    <a:pt x="1026" y="1136"/>
                    <a:pt x="1063" y="1121"/>
                    <a:pt x="1093" y="1093"/>
                  </a:cubicBezTo>
                  <a:cubicBezTo>
                    <a:pt x="1150" y="1035"/>
                    <a:pt x="1150" y="941"/>
                    <a:pt x="1093" y="883"/>
                  </a:cubicBezTo>
                  <a:cubicBezTo>
                    <a:pt x="784" y="575"/>
                    <a:pt x="784" y="575"/>
                    <a:pt x="784" y="575"/>
                  </a:cubicBezTo>
                  <a:cubicBezTo>
                    <a:pt x="1093" y="267"/>
                    <a:pt x="1093" y="267"/>
                    <a:pt x="1093" y="267"/>
                  </a:cubicBezTo>
                  <a:cubicBezTo>
                    <a:pt x="1149" y="209"/>
                    <a:pt x="1149" y="115"/>
                    <a:pt x="1093" y="57"/>
                  </a:cubicBezTo>
                  <a:close/>
                </a:path>
              </a:pathLst>
            </a:custGeom>
            <a:solidFill>
              <a:srgbClr val="5C8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4" name="Freeform 21">
              <a:extLst>
                <a:ext uri="{FF2B5EF4-FFF2-40B4-BE49-F238E27FC236}">
                  <a16:creationId xmlns:a16="http://schemas.microsoft.com/office/drawing/2014/main" id="{0AC6CC98-E229-47A8-885F-8292864A066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1188" y="4305300"/>
              <a:ext cx="53975" cy="52387"/>
            </a:xfrm>
            <a:custGeom>
              <a:avLst/>
              <a:gdLst>
                <a:gd name="T0" fmla="*/ 148 w 296"/>
                <a:gd name="T1" fmla="*/ 296 h 296"/>
                <a:gd name="T2" fmla="*/ 296 w 296"/>
                <a:gd name="T3" fmla="*/ 148 h 296"/>
                <a:gd name="T4" fmla="*/ 148 w 296"/>
                <a:gd name="T5" fmla="*/ 0 h 296"/>
                <a:gd name="T6" fmla="*/ 0 w 296"/>
                <a:gd name="T7" fmla="*/ 148 h 296"/>
                <a:gd name="T8" fmla="*/ 148 w 296"/>
                <a:gd name="T9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6" h="296">
                  <a:moveTo>
                    <a:pt x="148" y="296"/>
                  </a:moveTo>
                  <a:cubicBezTo>
                    <a:pt x="229" y="296"/>
                    <a:pt x="296" y="229"/>
                    <a:pt x="296" y="148"/>
                  </a:cubicBezTo>
                  <a:cubicBezTo>
                    <a:pt x="296" y="67"/>
                    <a:pt x="229" y="0"/>
                    <a:pt x="148" y="0"/>
                  </a:cubicBezTo>
                  <a:cubicBezTo>
                    <a:pt x="67" y="0"/>
                    <a:pt x="0" y="67"/>
                    <a:pt x="0" y="148"/>
                  </a:cubicBezTo>
                  <a:cubicBezTo>
                    <a:pt x="0" y="229"/>
                    <a:pt x="66" y="296"/>
                    <a:pt x="148" y="296"/>
                  </a:cubicBezTo>
                  <a:close/>
                </a:path>
              </a:pathLst>
            </a:custGeom>
            <a:solidFill>
              <a:srgbClr val="5C8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5" name="Freeform 22">
              <a:extLst>
                <a:ext uri="{FF2B5EF4-FFF2-40B4-BE49-F238E27FC236}">
                  <a16:creationId xmlns:a16="http://schemas.microsoft.com/office/drawing/2014/main" id="{675A4CAE-0495-49CB-9DBF-35CFE792A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-796926" y="4384675"/>
              <a:ext cx="60325" cy="57150"/>
            </a:xfrm>
            <a:custGeom>
              <a:avLst/>
              <a:gdLst>
                <a:gd name="T0" fmla="*/ 88 w 336"/>
                <a:gd name="T1" fmla="*/ 291 h 316"/>
                <a:gd name="T2" fmla="*/ 169 w 336"/>
                <a:gd name="T3" fmla="*/ 316 h 316"/>
                <a:gd name="T4" fmla="*/ 292 w 336"/>
                <a:gd name="T5" fmla="*/ 249 h 316"/>
                <a:gd name="T6" fmla="*/ 250 w 336"/>
                <a:gd name="T7" fmla="*/ 45 h 316"/>
                <a:gd name="T8" fmla="*/ 46 w 336"/>
                <a:gd name="T9" fmla="*/ 87 h 316"/>
                <a:gd name="T10" fmla="*/ 88 w 336"/>
                <a:gd name="T11" fmla="*/ 291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6" h="316">
                  <a:moveTo>
                    <a:pt x="88" y="291"/>
                  </a:moveTo>
                  <a:cubicBezTo>
                    <a:pt x="112" y="307"/>
                    <a:pt x="141" y="316"/>
                    <a:pt x="169" y="316"/>
                  </a:cubicBezTo>
                  <a:cubicBezTo>
                    <a:pt x="217" y="316"/>
                    <a:pt x="264" y="292"/>
                    <a:pt x="292" y="249"/>
                  </a:cubicBezTo>
                  <a:cubicBezTo>
                    <a:pt x="336" y="182"/>
                    <a:pt x="318" y="89"/>
                    <a:pt x="250" y="45"/>
                  </a:cubicBezTo>
                  <a:cubicBezTo>
                    <a:pt x="182" y="0"/>
                    <a:pt x="90" y="19"/>
                    <a:pt x="46" y="87"/>
                  </a:cubicBezTo>
                  <a:cubicBezTo>
                    <a:pt x="0" y="154"/>
                    <a:pt x="19" y="247"/>
                    <a:pt x="88" y="291"/>
                  </a:cubicBezTo>
                  <a:close/>
                </a:path>
              </a:pathLst>
            </a:custGeom>
            <a:solidFill>
              <a:srgbClr val="5C8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6" name="Freeform 23">
              <a:extLst>
                <a:ext uri="{FF2B5EF4-FFF2-40B4-BE49-F238E27FC236}">
                  <a16:creationId xmlns:a16="http://schemas.microsoft.com/office/drawing/2014/main" id="{3A760FD5-7F82-4BC8-8045-791DE317A4C5}"/>
                </a:ext>
              </a:extLst>
            </p:cNvPr>
            <p:cNvSpPr>
              <a:spLocks/>
            </p:cNvSpPr>
            <p:nvPr/>
          </p:nvSpPr>
          <p:spPr bwMode="auto">
            <a:xfrm>
              <a:off x="-717551" y="4316413"/>
              <a:ext cx="60325" cy="57150"/>
            </a:xfrm>
            <a:custGeom>
              <a:avLst/>
              <a:gdLst>
                <a:gd name="T0" fmla="*/ 109 w 338"/>
                <a:gd name="T1" fmla="*/ 33 h 315"/>
                <a:gd name="T2" fmla="*/ 33 w 338"/>
                <a:gd name="T3" fmla="*/ 228 h 315"/>
                <a:gd name="T4" fmla="*/ 169 w 338"/>
                <a:gd name="T5" fmla="*/ 315 h 315"/>
                <a:gd name="T6" fmla="*/ 229 w 338"/>
                <a:gd name="T7" fmla="*/ 303 h 315"/>
                <a:gd name="T8" fmla="*/ 305 w 338"/>
                <a:gd name="T9" fmla="*/ 108 h 315"/>
                <a:gd name="T10" fmla="*/ 109 w 338"/>
                <a:gd name="T11" fmla="*/ 33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8" h="315">
                  <a:moveTo>
                    <a:pt x="109" y="33"/>
                  </a:moveTo>
                  <a:cubicBezTo>
                    <a:pt x="33" y="66"/>
                    <a:pt x="0" y="154"/>
                    <a:pt x="33" y="228"/>
                  </a:cubicBezTo>
                  <a:cubicBezTo>
                    <a:pt x="58" y="283"/>
                    <a:pt x="112" y="315"/>
                    <a:pt x="169" y="315"/>
                  </a:cubicBezTo>
                  <a:cubicBezTo>
                    <a:pt x="189" y="315"/>
                    <a:pt x="210" y="312"/>
                    <a:pt x="229" y="303"/>
                  </a:cubicBezTo>
                  <a:cubicBezTo>
                    <a:pt x="305" y="270"/>
                    <a:pt x="338" y="182"/>
                    <a:pt x="305" y="108"/>
                  </a:cubicBezTo>
                  <a:cubicBezTo>
                    <a:pt x="270" y="33"/>
                    <a:pt x="183" y="0"/>
                    <a:pt x="109" y="33"/>
                  </a:cubicBezTo>
                  <a:close/>
                </a:path>
              </a:pathLst>
            </a:custGeom>
            <a:solidFill>
              <a:srgbClr val="5C8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7" name="Oval 24">
              <a:extLst>
                <a:ext uri="{FF2B5EF4-FFF2-40B4-BE49-F238E27FC236}">
                  <a16:creationId xmlns:a16="http://schemas.microsoft.com/office/drawing/2014/main" id="{01DFCC64-84FE-4D50-9CB3-7E7CC5B7BD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04826" y="4305300"/>
              <a:ext cx="53975" cy="52387"/>
            </a:xfrm>
            <a:prstGeom prst="ellipse">
              <a:avLst/>
            </a:prstGeom>
            <a:solidFill>
              <a:srgbClr val="5C8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8" name="Freeform 25">
              <a:extLst>
                <a:ext uri="{FF2B5EF4-FFF2-40B4-BE49-F238E27FC236}">
                  <a16:creationId xmlns:a16="http://schemas.microsoft.com/office/drawing/2014/main" id="{7FD70E0B-38F1-4FB4-B8BD-A3E9F9377BF4}"/>
                </a:ext>
              </a:extLst>
            </p:cNvPr>
            <p:cNvSpPr>
              <a:spLocks/>
            </p:cNvSpPr>
            <p:nvPr/>
          </p:nvSpPr>
          <p:spPr bwMode="auto">
            <a:xfrm>
              <a:off x="-823913" y="4487863"/>
              <a:ext cx="53975" cy="53975"/>
            </a:xfrm>
            <a:custGeom>
              <a:avLst/>
              <a:gdLst>
                <a:gd name="T0" fmla="*/ 148 w 296"/>
                <a:gd name="T1" fmla="*/ 296 h 296"/>
                <a:gd name="T2" fmla="*/ 253 w 296"/>
                <a:gd name="T3" fmla="*/ 253 h 296"/>
                <a:gd name="T4" fmla="*/ 296 w 296"/>
                <a:gd name="T5" fmla="*/ 148 h 296"/>
                <a:gd name="T6" fmla="*/ 253 w 296"/>
                <a:gd name="T7" fmla="*/ 44 h 296"/>
                <a:gd name="T8" fmla="*/ 148 w 296"/>
                <a:gd name="T9" fmla="*/ 0 h 296"/>
                <a:gd name="T10" fmla="*/ 43 w 296"/>
                <a:gd name="T11" fmla="*/ 44 h 296"/>
                <a:gd name="T12" fmla="*/ 0 w 296"/>
                <a:gd name="T13" fmla="*/ 148 h 296"/>
                <a:gd name="T14" fmla="*/ 43 w 296"/>
                <a:gd name="T15" fmla="*/ 253 h 296"/>
                <a:gd name="T16" fmla="*/ 148 w 296"/>
                <a:gd name="T17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6" h="296">
                  <a:moveTo>
                    <a:pt x="148" y="296"/>
                  </a:moveTo>
                  <a:cubicBezTo>
                    <a:pt x="187" y="296"/>
                    <a:pt x="225" y="280"/>
                    <a:pt x="253" y="253"/>
                  </a:cubicBezTo>
                  <a:cubicBezTo>
                    <a:pt x="280" y="226"/>
                    <a:pt x="296" y="188"/>
                    <a:pt x="296" y="148"/>
                  </a:cubicBezTo>
                  <a:cubicBezTo>
                    <a:pt x="296" y="109"/>
                    <a:pt x="280" y="71"/>
                    <a:pt x="253" y="44"/>
                  </a:cubicBezTo>
                  <a:cubicBezTo>
                    <a:pt x="225" y="16"/>
                    <a:pt x="187" y="0"/>
                    <a:pt x="148" y="0"/>
                  </a:cubicBezTo>
                  <a:cubicBezTo>
                    <a:pt x="108" y="0"/>
                    <a:pt x="70" y="16"/>
                    <a:pt x="43" y="44"/>
                  </a:cubicBezTo>
                  <a:cubicBezTo>
                    <a:pt x="16" y="71"/>
                    <a:pt x="0" y="109"/>
                    <a:pt x="0" y="148"/>
                  </a:cubicBezTo>
                  <a:cubicBezTo>
                    <a:pt x="0" y="188"/>
                    <a:pt x="16" y="226"/>
                    <a:pt x="43" y="253"/>
                  </a:cubicBezTo>
                  <a:cubicBezTo>
                    <a:pt x="70" y="280"/>
                    <a:pt x="108" y="296"/>
                    <a:pt x="148" y="296"/>
                  </a:cubicBezTo>
                  <a:close/>
                </a:path>
              </a:pathLst>
            </a:custGeom>
            <a:solidFill>
              <a:srgbClr val="5C8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9" name="Freeform 26">
              <a:extLst>
                <a:ext uri="{FF2B5EF4-FFF2-40B4-BE49-F238E27FC236}">
                  <a16:creationId xmlns:a16="http://schemas.microsoft.com/office/drawing/2014/main" id="{4FFC64DC-3480-41C2-910F-A3C309391D2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0051" y="3984625"/>
              <a:ext cx="344488" cy="373062"/>
            </a:xfrm>
            <a:custGeom>
              <a:avLst/>
              <a:gdLst>
                <a:gd name="T0" fmla="*/ 1846 w 1904"/>
                <a:gd name="T1" fmla="*/ 629 h 2064"/>
                <a:gd name="T2" fmla="*/ 1274 w 1904"/>
                <a:gd name="T3" fmla="*/ 58 h 2064"/>
                <a:gd name="T4" fmla="*/ 1064 w 1904"/>
                <a:gd name="T5" fmla="*/ 58 h 2064"/>
                <a:gd name="T6" fmla="*/ 493 w 1904"/>
                <a:gd name="T7" fmla="*/ 629 h 2064"/>
                <a:gd name="T8" fmla="*/ 493 w 1904"/>
                <a:gd name="T9" fmla="*/ 839 h 2064"/>
                <a:gd name="T10" fmla="*/ 702 w 1904"/>
                <a:gd name="T11" fmla="*/ 839 h 2064"/>
                <a:gd name="T12" fmla="*/ 1021 w 1904"/>
                <a:gd name="T13" fmla="*/ 520 h 2064"/>
                <a:gd name="T14" fmla="*/ 1021 w 1904"/>
                <a:gd name="T15" fmla="*/ 902 h 2064"/>
                <a:gd name="T16" fmla="*/ 148 w 1904"/>
                <a:gd name="T17" fmla="*/ 1768 h 2064"/>
                <a:gd name="T18" fmla="*/ 0 w 1904"/>
                <a:gd name="T19" fmla="*/ 1916 h 2064"/>
                <a:gd name="T20" fmla="*/ 148 w 1904"/>
                <a:gd name="T21" fmla="*/ 2064 h 2064"/>
                <a:gd name="T22" fmla="*/ 1317 w 1904"/>
                <a:gd name="T23" fmla="*/ 902 h 2064"/>
                <a:gd name="T24" fmla="*/ 1317 w 1904"/>
                <a:gd name="T25" fmla="*/ 518 h 2064"/>
                <a:gd name="T26" fmla="*/ 1636 w 1904"/>
                <a:gd name="T27" fmla="*/ 838 h 2064"/>
                <a:gd name="T28" fmla="*/ 1741 w 1904"/>
                <a:gd name="T29" fmla="*/ 881 h 2064"/>
                <a:gd name="T30" fmla="*/ 1846 w 1904"/>
                <a:gd name="T31" fmla="*/ 838 h 2064"/>
                <a:gd name="T32" fmla="*/ 1846 w 1904"/>
                <a:gd name="T33" fmla="*/ 629 h 2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04" h="2064">
                  <a:moveTo>
                    <a:pt x="1846" y="629"/>
                  </a:moveTo>
                  <a:cubicBezTo>
                    <a:pt x="1274" y="58"/>
                    <a:pt x="1274" y="58"/>
                    <a:pt x="1274" y="58"/>
                  </a:cubicBezTo>
                  <a:cubicBezTo>
                    <a:pt x="1216" y="0"/>
                    <a:pt x="1122" y="0"/>
                    <a:pt x="1064" y="58"/>
                  </a:cubicBezTo>
                  <a:cubicBezTo>
                    <a:pt x="493" y="629"/>
                    <a:pt x="493" y="629"/>
                    <a:pt x="493" y="629"/>
                  </a:cubicBezTo>
                  <a:cubicBezTo>
                    <a:pt x="435" y="687"/>
                    <a:pt x="435" y="781"/>
                    <a:pt x="493" y="839"/>
                  </a:cubicBezTo>
                  <a:cubicBezTo>
                    <a:pt x="550" y="897"/>
                    <a:pt x="644" y="897"/>
                    <a:pt x="702" y="839"/>
                  </a:cubicBezTo>
                  <a:cubicBezTo>
                    <a:pt x="1021" y="520"/>
                    <a:pt x="1021" y="520"/>
                    <a:pt x="1021" y="520"/>
                  </a:cubicBezTo>
                  <a:cubicBezTo>
                    <a:pt x="1021" y="902"/>
                    <a:pt x="1021" y="902"/>
                    <a:pt x="1021" y="902"/>
                  </a:cubicBezTo>
                  <a:cubicBezTo>
                    <a:pt x="1021" y="1380"/>
                    <a:pt x="629" y="1768"/>
                    <a:pt x="148" y="1768"/>
                  </a:cubicBezTo>
                  <a:cubicBezTo>
                    <a:pt x="66" y="1768"/>
                    <a:pt x="0" y="1835"/>
                    <a:pt x="0" y="1916"/>
                  </a:cubicBezTo>
                  <a:cubicBezTo>
                    <a:pt x="0" y="1997"/>
                    <a:pt x="66" y="2064"/>
                    <a:pt x="148" y="2064"/>
                  </a:cubicBezTo>
                  <a:cubicBezTo>
                    <a:pt x="792" y="2064"/>
                    <a:pt x="1317" y="1542"/>
                    <a:pt x="1317" y="902"/>
                  </a:cubicBezTo>
                  <a:cubicBezTo>
                    <a:pt x="1317" y="518"/>
                    <a:pt x="1317" y="518"/>
                    <a:pt x="1317" y="518"/>
                  </a:cubicBezTo>
                  <a:cubicBezTo>
                    <a:pt x="1636" y="838"/>
                    <a:pt x="1636" y="838"/>
                    <a:pt x="1636" y="838"/>
                  </a:cubicBezTo>
                  <a:cubicBezTo>
                    <a:pt x="1664" y="866"/>
                    <a:pt x="1703" y="881"/>
                    <a:pt x="1741" y="881"/>
                  </a:cubicBezTo>
                  <a:cubicBezTo>
                    <a:pt x="1779" y="881"/>
                    <a:pt x="1816" y="866"/>
                    <a:pt x="1846" y="838"/>
                  </a:cubicBezTo>
                  <a:cubicBezTo>
                    <a:pt x="1904" y="781"/>
                    <a:pt x="1904" y="687"/>
                    <a:pt x="1846" y="629"/>
                  </a:cubicBezTo>
                  <a:close/>
                </a:path>
              </a:pathLst>
            </a:custGeom>
            <a:solidFill>
              <a:srgbClr val="5C8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AFC5F76B-3FFD-83B3-C4B2-4F1C8BBB3877}"/>
              </a:ext>
            </a:extLst>
          </p:cNvPr>
          <p:cNvSpPr/>
          <p:nvPr/>
        </p:nvSpPr>
        <p:spPr>
          <a:xfrm>
            <a:off x="-6563" y="4914579"/>
            <a:ext cx="2686494" cy="6694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500"/>
              </a:lnSpc>
            </a:pPr>
            <a:r>
              <a:rPr lang="en-US" sz="1400">
                <a:solidFill>
                  <a:srgbClr val="063853"/>
                </a:solidFill>
                <a:latin typeface="Montserrat" panose="00000500000000000000" pitchFamily="50" charset="0"/>
                <a:ea typeface="Roboto Light" panose="02000000000000000000" pitchFamily="2" charset="0"/>
              </a:rPr>
              <a:t>Business Creative </a:t>
            </a:r>
          </a:p>
          <a:p>
            <a:pPr algn="ctr">
              <a:lnSpc>
                <a:spcPts val="1500"/>
              </a:lnSpc>
            </a:pPr>
            <a:r>
              <a:rPr lang="en-US" sz="1000">
                <a:solidFill>
                  <a:srgbClr val="063853"/>
                </a:solidFill>
                <a:latin typeface="Montserrat" panose="00000500000000000000" pitchFamily="50" charset="0"/>
                <a:ea typeface="Roboto Light" panose="02000000000000000000" pitchFamily="2" charset="0"/>
              </a:rPr>
              <a:t>Interactively utilize resource maximizing web-readiness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CB73C7E-AA5C-43F2-2CD4-AF92C430FF85}"/>
              </a:ext>
            </a:extLst>
          </p:cNvPr>
          <p:cNvSpPr/>
          <p:nvPr/>
        </p:nvSpPr>
        <p:spPr>
          <a:xfrm>
            <a:off x="1606697" y="5623046"/>
            <a:ext cx="2686494" cy="6694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500"/>
              </a:lnSpc>
            </a:pPr>
            <a:r>
              <a:rPr lang="en-US" sz="1400">
                <a:solidFill>
                  <a:srgbClr val="063853"/>
                </a:solidFill>
                <a:latin typeface="Montserrat" panose="00000500000000000000" pitchFamily="50" charset="0"/>
                <a:ea typeface="Roboto Light" panose="02000000000000000000" pitchFamily="2" charset="0"/>
              </a:rPr>
              <a:t>Business Creative </a:t>
            </a:r>
          </a:p>
          <a:p>
            <a:pPr algn="ctr">
              <a:lnSpc>
                <a:spcPts val="1500"/>
              </a:lnSpc>
            </a:pPr>
            <a:r>
              <a:rPr lang="en-US" sz="1000">
                <a:solidFill>
                  <a:srgbClr val="063853"/>
                </a:solidFill>
                <a:latin typeface="Montserrat" panose="00000500000000000000" pitchFamily="50" charset="0"/>
                <a:ea typeface="Roboto Light" panose="02000000000000000000" pitchFamily="2" charset="0"/>
              </a:rPr>
              <a:t>Interactively utilize resource maximizing web-readiness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03E045E-F8B3-FA8D-6440-578B15406B12}"/>
              </a:ext>
            </a:extLst>
          </p:cNvPr>
          <p:cNvSpPr/>
          <p:nvPr/>
        </p:nvSpPr>
        <p:spPr>
          <a:xfrm>
            <a:off x="3233535" y="4914579"/>
            <a:ext cx="2686494" cy="6694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500"/>
              </a:lnSpc>
            </a:pPr>
            <a:r>
              <a:rPr lang="en-US" sz="1400">
                <a:solidFill>
                  <a:srgbClr val="063853"/>
                </a:solidFill>
                <a:latin typeface="Montserrat" panose="00000500000000000000" pitchFamily="50" charset="0"/>
                <a:ea typeface="Roboto Light" panose="02000000000000000000" pitchFamily="2" charset="0"/>
              </a:rPr>
              <a:t>Business Creative </a:t>
            </a:r>
          </a:p>
          <a:p>
            <a:pPr algn="ctr">
              <a:lnSpc>
                <a:spcPts val="1500"/>
              </a:lnSpc>
            </a:pPr>
            <a:r>
              <a:rPr lang="en-US" sz="1000">
                <a:solidFill>
                  <a:srgbClr val="063853"/>
                </a:solidFill>
                <a:latin typeface="Montserrat" panose="00000500000000000000" pitchFamily="50" charset="0"/>
                <a:ea typeface="Roboto Light" panose="02000000000000000000" pitchFamily="2" charset="0"/>
              </a:rPr>
              <a:t>Interactively utilize resource maximizing web-readiness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FF62767-2300-2628-D2A3-AC1D28727F50}"/>
              </a:ext>
            </a:extLst>
          </p:cNvPr>
          <p:cNvSpPr/>
          <p:nvPr/>
        </p:nvSpPr>
        <p:spPr>
          <a:xfrm>
            <a:off x="4846795" y="5623046"/>
            <a:ext cx="2686494" cy="6694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500"/>
              </a:lnSpc>
            </a:pPr>
            <a:r>
              <a:rPr lang="en-US" sz="1400">
                <a:solidFill>
                  <a:srgbClr val="063853"/>
                </a:solidFill>
                <a:latin typeface="Montserrat" panose="00000500000000000000" pitchFamily="50" charset="0"/>
                <a:ea typeface="Roboto Light" panose="02000000000000000000" pitchFamily="2" charset="0"/>
              </a:rPr>
              <a:t>Business Creative </a:t>
            </a:r>
          </a:p>
          <a:p>
            <a:pPr algn="ctr">
              <a:lnSpc>
                <a:spcPts val="1500"/>
              </a:lnSpc>
            </a:pPr>
            <a:r>
              <a:rPr lang="en-US" sz="1000">
                <a:solidFill>
                  <a:srgbClr val="063853"/>
                </a:solidFill>
                <a:latin typeface="Montserrat" panose="00000500000000000000" pitchFamily="50" charset="0"/>
                <a:ea typeface="Roboto Light" panose="02000000000000000000" pitchFamily="2" charset="0"/>
              </a:rPr>
              <a:t>Interactively utilize resource maximizing web-readiness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4081359-6CD1-10C5-FA7C-08CDB5CC0782}"/>
              </a:ext>
            </a:extLst>
          </p:cNvPr>
          <p:cNvSpPr/>
          <p:nvPr/>
        </p:nvSpPr>
        <p:spPr>
          <a:xfrm>
            <a:off x="6274692" y="4914579"/>
            <a:ext cx="2686494" cy="6694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500"/>
              </a:lnSpc>
            </a:pPr>
            <a:r>
              <a:rPr lang="en-US" sz="1400">
                <a:solidFill>
                  <a:srgbClr val="063853"/>
                </a:solidFill>
                <a:latin typeface="Montserrat" panose="00000500000000000000" pitchFamily="50" charset="0"/>
                <a:ea typeface="Roboto Light" panose="02000000000000000000" pitchFamily="2" charset="0"/>
              </a:rPr>
              <a:t>Business Creative </a:t>
            </a:r>
          </a:p>
          <a:p>
            <a:pPr algn="ctr">
              <a:lnSpc>
                <a:spcPts val="1500"/>
              </a:lnSpc>
            </a:pPr>
            <a:r>
              <a:rPr lang="en-US" sz="1000">
                <a:solidFill>
                  <a:srgbClr val="063853"/>
                </a:solidFill>
                <a:latin typeface="Montserrat" panose="00000500000000000000" pitchFamily="50" charset="0"/>
                <a:ea typeface="Roboto Light" panose="02000000000000000000" pitchFamily="2" charset="0"/>
              </a:rPr>
              <a:t>Interactively utilize resource maximizing web-readiness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A7C535F-B2DE-9F88-5ABA-C8B4CF2210F3}"/>
              </a:ext>
            </a:extLst>
          </p:cNvPr>
          <p:cNvSpPr/>
          <p:nvPr/>
        </p:nvSpPr>
        <p:spPr>
          <a:xfrm>
            <a:off x="7887952" y="5623046"/>
            <a:ext cx="2686494" cy="6694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500"/>
              </a:lnSpc>
            </a:pPr>
            <a:r>
              <a:rPr lang="en-US" sz="1400">
                <a:solidFill>
                  <a:srgbClr val="063853"/>
                </a:solidFill>
                <a:latin typeface="Montserrat" panose="00000500000000000000" pitchFamily="50" charset="0"/>
                <a:ea typeface="Roboto Light" panose="02000000000000000000" pitchFamily="2" charset="0"/>
              </a:rPr>
              <a:t>Business Creative </a:t>
            </a:r>
          </a:p>
          <a:p>
            <a:pPr algn="ctr">
              <a:lnSpc>
                <a:spcPts val="1500"/>
              </a:lnSpc>
            </a:pPr>
            <a:r>
              <a:rPr lang="en-US" sz="1000">
                <a:solidFill>
                  <a:srgbClr val="063853"/>
                </a:solidFill>
                <a:latin typeface="Montserrat" panose="00000500000000000000" pitchFamily="50" charset="0"/>
                <a:ea typeface="Roboto Light" panose="02000000000000000000" pitchFamily="2" charset="0"/>
              </a:rPr>
              <a:t>Interactively utilize resource maximizing web-readiness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3C988C4-A612-2F4C-E6E2-57F55DFE5DED}"/>
              </a:ext>
            </a:extLst>
          </p:cNvPr>
          <p:cNvSpPr/>
          <p:nvPr/>
        </p:nvSpPr>
        <p:spPr>
          <a:xfrm>
            <a:off x="9474769" y="4914579"/>
            <a:ext cx="2686494" cy="6694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500"/>
              </a:lnSpc>
            </a:pPr>
            <a:r>
              <a:rPr lang="en-US" sz="1400">
                <a:solidFill>
                  <a:srgbClr val="063853"/>
                </a:solidFill>
                <a:latin typeface="Montserrat" panose="00000500000000000000" pitchFamily="50" charset="0"/>
                <a:ea typeface="Roboto Light" panose="02000000000000000000" pitchFamily="2" charset="0"/>
              </a:rPr>
              <a:t>Business Creative </a:t>
            </a:r>
          </a:p>
          <a:p>
            <a:pPr algn="ctr">
              <a:lnSpc>
                <a:spcPts val="1500"/>
              </a:lnSpc>
            </a:pPr>
            <a:r>
              <a:rPr lang="en-US" sz="1000">
                <a:solidFill>
                  <a:srgbClr val="063853"/>
                </a:solidFill>
                <a:latin typeface="Montserrat" panose="00000500000000000000" pitchFamily="50" charset="0"/>
                <a:ea typeface="Roboto Light" panose="02000000000000000000" pitchFamily="2" charset="0"/>
              </a:rPr>
              <a:t>Interactively utilize resource maximizing web-readiness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71CF1C5-1D10-A5F4-BDD3-FA06ADF26D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 err="1">
                <a:solidFill>
                  <a:srgbClr val="063853"/>
                </a:solidFill>
                <a:latin typeface="Montserrat SemiBold" panose="00000700000000000000" pitchFamily="2" charset="0"/>
                <a:ea typeface="Roboto" panose="02000000000000000000" pitchFamily="2" charset="0"/>
              </a:rPr>
              <a:t>Polarion</a:t>
            </a:r>
            <a:r>
              <a:rPr lang="en-US" sz="2800">
                <a:solidFill>
                  <a:srgbClr val="063853"/>
                </a:solidFill>
                <a:latin typeface="Montserrat SemiBold" panose="00000700000000000000" pitchFamily="2" charset="0"/>
                <a:ea typeface="Roboto" panose="02000000000000000000" pitchFamily="2" charset="0"/>
              </a:rPr>
              <a:t> Implementation Process</a:t>
            </a:r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1A4AE4E-5797-0BE4-FCBC-4FA30E45E8F6}"/>
              </a:ext>
            </a:extLst>
          </p:cNvPr>
          <p:cNvSpPr/>
          <p:nvPr/>
        </p:nvSpPr>
        <p:spPr>
          <a:xfrm>
            <a:off x="1607966" y="1311212"/>
            <a:ext cx="9401466" cy="91440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What are the main steps to perform to get a running system?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FFCF49B-065D-707A-BABD-3418470DF914}"/>
              </a:ext>
            </a:extLst>
          </p:cNvPr>
          <p:cNvSpPr/>
          <p:nvPr/>
        </p:nvSpPr>
        <p:spPr>
          <a:xfrm>
            <a:off x="3063641" y="5816776"/>
            <a:ext cx="4578315" cy="914400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What are the challegenes for each step? </a:t>
            </a:r>
            <a:r>
              <a:rPr lang="de-DE">
                <a:sym typeface="Wingdings" panose="05000000000000000000" pitchFamily="2" charset="2"/>
              </a:rPr>
              <a:t> One Slide per Step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42581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F953B87-912A-5C28-601B-F37E0D51E2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6462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953B87-912A-5C28-601B-F37E0D51E2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val 6"/>
          <p:cNvSpPr/>
          <p:nvPr/>
        </p:nvSpPr>
        <p:spPr>
          <a:xfrm>
            <a:off x="838200" y="1717040"/>
            <a:ext cx="914400" cy="914400"/>
          </a:xfrm>
          <a:prstGeom prst="ellipse">
            <a:avLst/>
          </a:prstGeom>
          <a:solidFill>
            <a:srgbClr val="00D0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" name="Group 7"/>
          <p:cNvGrpSpPr/>
          <p:nvPr/>
        </p:nvGrpSpPr>
        <p:grpSpPr>
          <a:xfrm>
            <a:off x="1111799" y="1990639"/>
            <a:ext cx="367203" cy="367203"/>
            <a:chOff x="5588000" y="1962150"/>
            <a:chExt cx="406400" cy="406400"/>
          </a:xfrm>
          <a:solidFill>
            <a:schemeClr val="bg2"/>
          </a:solidFill>
        </p:grpSpPr>
        <p:sp>
          <p:nvSpPr>
            <p:cNvPr id="10" name="Freeform 106"/>
            <p:cNvSpPr>
              <a:spLocks noEditPoints="1"/>
            </p:cNvSpPr>
            <p:nvPr/>
          </p:nvSpPr>
          <p:spPr bwMode="auto">
            <a:xfrm>
              <a:off x="5588000" y="1962150"/>
              <a:ext cx="406400" cy="406400"/>
            </a:xfrm>
            <a:custGeom>
              <a:avLst/>
              <a:gdLst/>
              <a:ahLst/>
              <a:cxnLst>
                <a:cxn ang="0">
                  <a:pos x="214" y="86"/>
                </a:cxn>
                <a:cxn ang="0">
                  <a:pos x="230" y="54"/>
                </a:cxn>
                <a:cxn ang="0">
                  <a:pos x="210" y="30"/>
                </a:cxn>
                <a:cxn ang="0">
                  <a:pos x="194" y="26"/>
                </a:cxn>
                <a:cxn ang="0">
                  <a:pos x="160" y="38"/>
                </a:cxn>
                <a:cxn ang="0">
                  <a:pos x="150" y="4"/>
                </a:cxn>
                <a:cxn ang="0">
                  <a:pos x="118" y="0"/>
                </a:cxn>
                <a:cxn ang="0">
                  <a:pos x="102" y="12"/>
                </a:cxn>
                <a:cxn ang="0">
                  <a:pos x="66" y="28"/>
                </a:cxn>
                <a:cxn ang="0">
                  <a:pos x="56" y="26"/>
                </a:cxn>
                <a:cxn ang="0">
                  <a:pos x="30" y="46"/>
                </a:cxn>
                <a:cxn ang="0">
                  <a:pos x="28" y="66"/>
                </a:cxn>
                <a:cxn ang="0">
                  <a:pos x="12" y="102"/>
                </a:cxn>
                <a:cxn ang="0">
                  <a:pos x="0" y="112"/>
                </a:cxn>
                <a:cxn ang="0">
                  <a:pos x="0" y="144"/>
                </a:cxn>
                <a:cxn ang="0">
                  <a:pos x="38" y="160"/>
                </a:cxn>
                <a:cxn ang="0">
                  <a:pos x="28" y="190"/>
                </a:cxn>
                <a:cxn ang="0">
                  <a:pos x="30" y="210"/>
                </a:cxn>
                <a:cxn ang="0">
                  <a:pos x="56" y="230"/>
                </a:cxn>
                <a:cxn ang="0">
                  <a:pos x="86" y="214"/>
                </a:cxn>
                <a:cxn ang="0">
                  <a:pos x="102" y="244"/>
                </a:cxn>
                <a:cxn ang="0">
                  <a:pos x="118" y="256"/>
                </a:cxn>
                <a:cxn ang="0">
                  <a:pos x="150" y="252"/>
                </a:cxn>
                <a:cxn ang="0">
                  <a:pos x="160" y="218"/>
                </a:cxn>
                <a:cxn ang="0">
                  <a:pos x="194" y="230"/>
                </a:cxn>
                <a:cxn ang="0">
                  <a:pos x="210" y="226"/>
                </a:cxn>
                <a:cxn ang="0">
                  <a:pos x="230" y="202"/>
                </a:cxn>
                <a:cxn ang="0">
                  <a:pos x="214" y="170"/>
                </a:cxn>
                <a:cxn ang="0">
                  <a:pos x="248" y="152"/>
                </a:cxn>
                <a:cxn ang="0">
                  <a:pos x="256" y="118"/>
                </a:cxn>
                <a:cxn ang="0">
                  <a:pos x="248" y="104"/>
                </a:cxn>
                <a:cxn ang="0">
                  <a:pos x="208" y="148"/>
                </a:cxn>
                <a:cxn ang="0">
                  <a:pos x="200" y="162"/>
                </a:cxn>
                <a:cxn ang="0">
                  <a:pos x="200" y="214"/>
                </a:cxn>
                <a:cxn ang="0">
                  <a:pos x="170" y="198"/>
                </a:cxn>
                <a:cxn ang="0">
                  <a:pos x="154" y="204"/>
                </a:cxn>
                <a:cxn ang="0">
                  <a:pos x="138" y="240"/>
                </a:cxn>
                <a:cxn ang="0">
                  <a:pos x="108" y="208"/>
                </a:cxn>
                <a:cxn ang="0">
                  <a:pos x="94" y="200"/>
                </a:cxn>
                <a:cxn ang="0">
                  <a:pos x="78" y="202"/>
                </a:cxn>
                <a:cxn ang="0">
                  <a:pos x="54" y="178"/>
                </a:cxn>
                <a:cxn ang="0">
                  <a:pos x="52" y="154"/>
                </a:cxn>
                <a:cxn ang="0">
                  <a:pos x="16" y="138"/>
                </a:cxn>
                <a:cxn ang="0">
                  <a:pos x="48" y="108"/>
                </a:cxn>
                <a:cxn ang="0">
                  <a:pos x="56" y="94"/>
                </a:cxn>
                <a:cxn ang="0">
                  <a:pos x="56" y="42"/>
                </a:cxn>
                <a:cxn ang="0">
                  <a:pos x="86" y="58"/>
                </a:cxn>
                <a:cxn ang="0">
                  <a:pos x="102" y="52"/>
                </a:cxn>
                <a:cxn ang="0">
                  <a:pos x="118" y="16"/>
                </a:cxn>
                <a:cxn ang="0">
                  <a:pos x="148" y="48"/>
                </a:cxn>
                <a:cxn ang="0">
                  <a:pos x="162" y="56"/>
                </a:cxn>
                <a:cxn ang="0">
                  <a:pos x="178" y="54"/>
                </a:cxn>
                <a:cxn ang="0">
                  <a:pos x="202" y="78"/>
                </a:cxn>
                <a:cxn ang="0">
                  <a:pos x="204" y="102"/>
                </a:cxn>
                <a:cxn ang="0">
                  <a:pos x="240" y="118"/>
                </a:cxn>
              </a:cxnLst>
              <a:rect l="0" t="0" r="r" b="b"/>
              <a:pathLst>
                <a:path w="256" h="256">
                  <a:moveTo>
                    <a:pt x="244" y="102"/>
                  </a:moveTo>
                  <a:lnTo>
                    <a:pt x="218" y="96"/>
                  </a:lnTo>
                  <a:lnTo>
                    <a:pt x="218" y="96"/>
                  </a:lnTo>
                  <a:lnTo>
                    <a:pt x="214" y="86"/>
                  </a:lnTo>
                  <a:lnTo>
                    <a:pt x="228" y="66"/>
                  </a:lnTo>
                  <a:lnTo>
                    <a:pt x="228" y="66"/>
                  </a:lnTo>
                  <a:lnTo>
                    <a:pt x="230" y="60"/>
                  </a:lnTo>
                  <a:lnTo>
                    <a:pt x="230" y="54"/>
                  </a:lnTo>
                  <a:lnTo>
                    <a:pt x="230" y="50"/>
                  </a:lnTo>
                  <a:lnTo>
                    <a:pt x="226" y="46"/>
                  </a:lnTo>
                  <a:lnTo>
                    <a:pt x="210" y="30"/>
                  </a:lnTo>
                  <a:lnTo>
                    <a:pt x="210" y="30"/>
                  </a:lnTo>
                  <a:lnTo>
                    <a:pt x="206" y="26"/>
                  </a:lnTo>
                  <a:lnTo>
                    <a:pt x="200" y="26"/>
                  </a:lnTo>
                  <a:lnTo>
                    <a:pt x="200" y="26"/>
                  </a:lnTo>
                  <a:lnTo>
                    <a:pt x="194" y="26"/>
                  </a:lnTo>
                  <a:lnTo>
                    <a:pt x="190" y="28"/>
                  </a:lnTo>
                  <a:lnTo>
                    <a:pt x="170" y="42"/>
                  </a:lnTo>
                  <a:lnTo>
                    <a:pt x="170" y="42"/>
                  </a:lnTo>
                  <a:lnTo>
                    <a:pt x="160" y="38"/>
                  </a:lnTo>
                  <a:lnTo>
                    <a:pt x="154" y="12"/>
                  </a:lnTo>
                  <a:lnTo>
                    <a:pt x="154" y="12"/>
                  </a:lnTo>
                  <a:lnTo>
                    <a:pt x="152" y="8"/>
                  </a:lnTo>
                  <a:lnTo>
                    <a:pt x="150" y="4"/>
                  </a:lnTo>
                  <a:lnTo>
                    <a:pt x="144" y="0"/>
                  </a:lnTo>
                  <a:lnTo>
                    <a:pt x="138" y="0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12" y="0"/>
                  </a:lnTo>
                  <a:lnTo>
                    <a:pt x="106" y="4"/>
                  </a:lnTo>
                  <a:lnTo>
                    <a:pt x="104" y="8"/>
                  </a:lnTo>
                  <a:lnTo>
                    <a:pt x="102" y="12"/>
                  </a:lnTo>
                  <a:lnTo>
                    <a:pt x="96" y="38"/>
                  </a:lnTo>
                  <a:lnTo>
                    <a:pt x="96" y="38"/>
                  </a:lnTo>
                  <a:lnTo>
                    <a:pt x="86" y="42"/>
                  </a:lnTo>
                  <a:lnTo>
                    <a:pt x="66" y="28"/>
                  </a:lnTo>
                  <a:lnTo>
                    <a:pt x="66" y="28"/>
                  </a:lnTo>
                  <a:lnTo>
                    <a:pt x="62" y="26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0" y="26"/>
                  </a:lnTo>
                  <a:lnTo>
                    <a:pt x="46" y="30"/>
                  </a:lnTo>
                  <a:lnTo>
                    <a:pt x="30" y="46"/>
                  </a:lnTo>
                  <a:lnTo>
                    <a:pt x="30" y="46"/>
                  </a:lnTo>
                  <a:lnTo>
                    <a:pt x="26" y="50"/>
                  </a:lnTo>
                  <a:lnTo>
                    <a:pt x="26" y="54"/>
                  </a:lnTo>
                  <a:lnTo>
                    <a:pt x="26" y="60"/>
                  </a:lnTo>
                  <a:lnTo>
                    <a:pt x="28" y="66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38" y="96"/>
                  </a:lnTo>
                  <a:lnTo>
                    <a:pt x="12" y="102"/>
                  </a:lnTo>
                  <a:lnTo>
                    <a:pt x="12" y="102"/>
                  </a:lnTo>
                  <a:lnTo>
                    <a:pt x="8" y="104"/>
                  </a:lnTo>
                  <a:lnTo>
                    <a:pt x="4" y="106"/>
                  </a:lnTo>
                  <a:lnTo>
                    <a:pt x="0" y="112"/>
                  </a:lnTo>
                  <a:lnTo>
                    <a:pt x="0" y="118"/>
                  </a:lnTo>
                  <a:lnTo>
                    <a:pt x="0" y="138"/>
                  </a:lnTo>
                  <a:lnTo>
                    <a:pt x="0" y="138"/>
                  </a:lnTo>
                  <a:lnTo>
                    <a:pt x="0" y="144"/>
                  </a:lnTo>
                  <a:lnTo>
                    <a:pt x="4" y="150"/>
                  </a:lnTo>
                  <a:lnTo>
                    <a:pt x="8" y="152"/>
                  </a:lnTo>
                  <a:lnTo>
                    <a:pt x="12" y="154"/>
                  </a:lnTo>
                  <a:lnTo>
                    <a:pt x="38" y="160"/>
                  </a:lnTo>
                  <a:lnTo>
                    <a:pt x="38" y="160"/>
                  </a:lnTo>
                  <a:lnTo>
                    <a:pt x="42" y="170"/>
                  </a:lnTo>
                  <a:lnTo>
                    <a:pt x="28" y="190"/>
                  </a:lnTo>
                  <a:lnTo>
                    <a:pt x="28" y="190"/>
                  </a:lnTo>
                  <a:lnTo>
                    <a:pt x="26" y="196"/>
                  </a:lnTo>
                  <a:lnTo>
                    <a:pt x="26" y="202"/>
                  </a:lnTo>
                  <a:lnTo>
                    <a:pt x="26" y="206"/>
                  </a:lnTo>
                  <a:lnTo>
                    <a:pt x="30" y="210"/>
                  </a:lnTo>
                  <a:lnTo>
                    <a:pt x="46" y="226"/>
                  </a:lnTo>
                  <a:lnTo>
                    <a:pt x="46" y="226"/>
                  </a:lnTo>
                  <a:lnTo>
                    <a:pt x="50" y="230"/>
                  </a:lnTo>
                  <a:lnTo>
                    <a:pt x="56" y="230"/>
                  </a:lnTo>
                  <a:lnTo>
                    <a:pt x="56" y="230"/>
                  </a:lnTo>
                  <a:lnTo>
                    <a:pt x="62" y="230"/>
                  </a:lnTo>
                  <a:lnTo>
                    <a:pt x="66" y="228"/>
                  </a:lnTo>
                  <a:lnTo>
                    <a:pt x="86" y="214"/>
                  </a:lnTo>
                  <a:lnTo>
                    <a:pt x="86" y="214"/>
                  </a:lnTo>
                  <a:lnTo>
                    <a:pt x="96" y="218"/>
                  </a:lnTo>
                  <a:lnTo>
                    <a:pt x="102" y="244"/>
                  </a:lnTo>
                  <a:lnTo>
                    <a:pt x="102" y="244"/>
                  </a:lnTo>
                  <a:lnTo>
                    <a:pt x="104" y="248"/>
                  </a:lnTo>
                  <a:lnTo>
                    <a:pt x="106" y="252"/>
                  </a:lnTo>
                  <a:lnTo>
                    <a:pt x="112" y="256"/>
                  </a:lnTo>
                  <a:lnTo>
                    <a:pt x="118" y="256"/>
                  </a:lnTo>
                  <a:lnTo>
                    <a:pt x="138" y="256"/>
                  </a:lnTo>
                  <a:lnTo>
                    <a:pt x="138" y="256"/>
                  </a:lnTo>
                  <a:lnTo>
                    <a:pt x="144" y="256"/>
                  </a:lnTo>
                  <a:lnTo>
                    <a:pt x="150" y="252"/>
                  </a:lnTo>
                  <a:lnTo>
                    <a:pt x="152" y="248"/>
                  </a:lnTo>
                  <a:lnTo>
                    <a:pt x="154" y="244"/>
                  </a:lnTo>
                  <a:lnTo>
                    <a:pt x="160" y="218"/>
                  </a:lnTo>
                  <a:lnTo>
                    <a:pt x="160" y="218"/>
                  </a:lnTo>
                  <a:lnTo>
                    <a:pt x="170" y="214"/>
                  </a:lnTo>
                  <a:lnTo>
                    <a:pt x="190" y="228"/>
                  </a:lnTo>
                  <a:lnTo>
                    <a:pt x="190" y="228"/>
                  </a:lnTo>
                  <a:lnTo>
                    <a:pt x="194" y="230"/>
                  </a:lnTo>
                  <a:lnTo>
                    <a:pt x="200" y="230"/>
                  </a:lnTo>
                  <a:lnTo>
                    <a:pt x="200" y="230"/>
                  </a:lnTo>
                  <a:lnTo>
                    <a:pt x="206" y="230"/>
                  </a:lnTo>
                  <a:lnTo>
                    <a:pt x="210" y="226"/>
                  </a:lnTo>
                  <a:lnTo>
                    <a:pt x="226" y="210"/>
                  </a:lnTo>
                  <a:lnTo>
                    <a:pt x="226" y="210"/>
                  </a:lnTo>
                  <a:lnTo>
                    <a:pt x="230" y="206"/>
                  </a:lnTo>
                  <a:lnTo>
                    <a:pt x="230" y="202"/>
                  </a:lnTo>
                  <a:lnTo>
                    <a:pt x="230" y="196"/>
                  </a:lnTo>
                  <a:lnTo>
                    <a:pt x="228" y="190"/>
                  </a:lnTo>
                  <a:lnTo>
                    <a:pt x="214" y="170"/>
                  </a:lnTo>
                  <a:lnTo>
                    <a:pt x="214" y="170"/>
                  </a:lnTo>
                  <a:lnTo>
                    <a:pt x="218" y="160"/>
                  </a:lnTo>
                  <a:lnTo>
                    <a:pt x="244" y="154"/>
                  </a:lnTo>
                  <a:lnTo>
                    <a:pt x="244" y="154"/>
                  </a:lnTo>
                  <a:lnTo>
                    <a:pt x="248" y="152"/>
                  </a:lnTo>
                  <a:lnTo>
                    <a:pt x="252" y="150"/>
                  </a:lnTo>
                  <a:lnTo>
                    <a:pt x="256" y="144"/>
                  </a:lnTo>
                  <a:lnTo>
                    <a:pt x="256" y="138"/>
                  </a:lnTo>
                  <a:lnTo>
                    <a:pt x="256" y="118"/>
                  </a:lnTo>
                  <a:lnTo>
                    <a:pt x="256" y="118"/>
                  </a:lnTo>
                  <a:lnTo>
                    <a:pt x="256" y="112"/>
                  </a:lnTo>
                  <a:lnTo>
                    <a:pt x="252" y="106"/>
                  </a:lnTo>
                  <a:lnTo>
                    <a:pt x="248" y="104"/>
                  </a:lnTo>
                  <a:lnTo>
                    <a:pt x="244" y="102"/>
                  </a:lnTo>
                  <a:close/>
                  <a:moveTo>
                    <a:pt x="216" y="144"/>
                  </a:moveTo>
                  <a:lnTo>
                    <a:pt x="216" y="144"/>
                  </a:lnTo>
                  <a:lnTo>
                    <a:pt x="208" y="148"/>
                  </a:lnTo>
                  <a:lnTo>
                    <a:pt x="204" y="154"/>
                  </a:lnTo>
                  <a:lnTo>
                    <a:pt x="204" y="154"/>
                  </a:lnTo>
                  <a:lnTo>
                    <a:pt x="200" y="162"/>
                  </a:lnTo>
                  <a:lnTo>
                    <a:pt x="200" y="162"/>
                  </a:lnTo>
                  <a:lnTo>
                    <a:pt x="198" y="170"/>
                  </a:lnTo>
                  <a:lnTo>
                    <a:pt x="202" y="178"/>
                  </a:lnTo>
                  <a:lnTo>
                    <a:pt x="214" y="200"/>
                  </a:lnTo>
                  <a:lnTo>
                    <a:pt x="200" y="214"/>
                  </a:lnTo>
                  <a:lnTo>
                    <a:pt x="178" y="202"/>
                  </a:lnTo>
                  <a:lnTo>
                    <a:pt x="178" y="202"/>
                  </a:lnTo>
                  <a:lnTo>
                    <a:pt x="174" y="198"/>
                  </a:lnTo>
                  <a:lnTo>
                    <a:pt x="170" y="198"/>
                  </a:lnTo>
                  <a:lnTo>
                    <a:pt x="170" y="198"/>
                  </a:lnTo>
                  <a:lnTo>
                    <a:pt x="162" y="200"/>
                  </a:lnTo>
                  <a:lnTo>
                    <a:pt x="162" y="200"/>
                  </a:lnTo>
                  <a:lnTo>
                    <a:pt x="154" y="204"/>
                  </a:lnTo>
                  <a:lnTo>
                    <a:pt x="154" y="204"/>
                  </a:lnTo>
                  <a:lnTo>
                    <a:pt x="148" y="208"/>
                  </a:lnTo>
                  <a:lnTo>
                    <a:pt x="144" y="216"/>
                  </a:lnTo>
                  <a:lnTo>
                    <a:pt x="138" y="240"/>
                  </a:lnTo>
                  <a:lnTo>
                    <a:pt x="118" y="240"/>
                  </a:lnTo>
                  <a:lnTo>
                    <a:pt x="112" y="216"/>
                  </a:lnTo>
                  <a:lnTo>
                    <a:pt x="112" y="216"/>
                  </a:lnTo>
                  <a:lnTo>
                    <a:pt x="108" y="208"/>
                  </a:lnTo>
                  <a:lnTo>
                    <a:pt x="102" y="204"/>
                  </a:lnTo>
                  <a:lnTo>
                    <a:pt x="102" y="204"/>
                  </a:lnTo>
                  <a:lnTo>
                    <a:pt x="94" y="200"/>
                  </a:lnTo>
                  <a:lnTo>
                    <a:pt x="94" y="200"/>
                  </a:lnTo>
                  <a:lnTo>
                    <a:pt x="86" y="198"/>
                  </a:lnTo>
                  <a:lnTo>
                    <a:pt x="86" y="198"/>
                  </a:lnTo>
                  <a:lnTo>
                    <a:pt x="82" y="198"/>
                  </a:lnTo>
                  <a:lnTo>
                    <a:pt x="78" y="202"/>
                  </a:lnTo>
                  <a:lnTo>
                    <a:pt x="56" y="214"/>
                  </a:lnTo>
                  <a:lnTo>
                    <a:pt x="42" y="200"/>
                  </a:lnTo>
                  <a:lnTo>
                    <a:pt x="54" y="178"/>
                  </a:lnTo>
                  <a:lnTo>
                    <a:pt x="54" y="178"/>
                  </a:lnTo>
                  <a:lnTo>
                    <a:pt x="58" y="170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2" y="154"/>
                  </a:lnTo>
                  <a:lnTo>
                    <a:pt x="52" y="154"/>
                  </a:lnTo>
                  <a:lnTo>
                    <a:pt x="48" y="148"/>
                  </a:lnTo>
                  <a:lnTo>
                    <a:pt x="40" y="144"/>
                  </a:lnTo>
                  <a:lnTo>
                    <a:pt x="16" y="138"/>
                  </a:lnTo>
                  <a:lnTo>
                    <a:pt x="16" y="118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8" y="108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8" y="86"/>
                  </a:lnTo>
                  <a:lnTo>
                    <a:pt x="54" y="78"/>
                  </a:lnTo>
                  <a:lnTo>
                    <a:pt x="42" y="56"/>
                  </a:lnTo>
                  <a:lnTo>
                    <a:pt x="56" y="42"/>
                  </a:lnTo>
                  <a:lnTo>
                    <a:pt x="78" y="54"/>
                  </a:lnTo>
                  <a:lnTo>
                    <a:pt x="78" y="54"/>
                  </a:lnTo>
                  <a:lnTo>
                    <a:pt x="82" y="58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94" y="56"/>
                  </a:lnTo>
                  <a:lnTo>
                    <a:pt x="94" y="56"/>
                  </a:lnTo>
                  <a:lnTo>
                    <a:pt x="102" y="52"/>
                  </a:lnTo>
                  <a:lnTo>
                    <a:pt x="102" y="52"/>
                  </a:lnTo>
                  <a:lnTo>
                    <a:pt x="108" y="48"/>
                  </a:lnTo>
                  <a:lnTo>
                    <a:pt x="112" y="40"/>
                  </a:lnTo>
                  <a:lnTo>
                    <a:pt x="118" y="16"/>
                  </a:lnTo>
                  <a:lnTo>
                    <a:pt x="138" y="16"/>
                  </a:lnTo>
                  <a:lnTo>
                    <a:pt x="144" y="40"/>
                  </a:lnTo>
                  <a:lnTo>
                    <a:pt x="144" y="40"/>
                  </a:lnTo>
                  <a:lnTo>
                    <a:pt x="148" y="48"/>
                  </a:lnTo>
                  <a:lnTo>
                    <a:pt x="154" y="52"/>
                  </a:lnTo>
                  <a:lnTo>
                    <a:pt x="154" y="52"/>
                  </a:lnTo>
                  <a:lnTo>
                    <a:pt x="162" y="56"/>
                  </a:lnTo>
                  <a:lnTo>
                    <a:pt x="162" y="56"/>
                  </a:lnTo>
                  <a:lnTo>
                    <a:pt x="170" y="58"/>
                  </a:lnTo>
                  <a:lnTo>
                    <a:pt x="170" y="58"/>
                  </a:lnTo>
                  <a:lnTo>
                    <a:pt x="174" y="58"/>
                  </a:lnTo>
                  <a:lnTo>
                    <a:pt x="178" y="54"/>
                  </a:lnTo>
                  <a:lnTo>
                    <a:pt x="200" y="42"/>
                  </a:lnTo>
                  <a:lnTo>
                    <a:pt x="214" y="56"/>
                  </a:lnTo>
                  <a:lnTo>
                    <a:pt x="202" y="78"/>
                  </a:lnTo>
                  <a:lnTo>
                    <a:pt x="202" y="78"/>
                  </a:lnTo>
                  <a:lnTo>
                    <a:pt x="198" y="86"/>
                  </a:lnTo>
                  <a:lnTo>
                    <a:pt x="200" y="94"/>
                  </a:lnTo>
                  <a:lnTo>
                    <a:pt x="200" y="94"/>
                  </a:lnTo>
                  <a:lnTo>
                    <a:pt x="204" y="102"/>
                  </a:lnTo>
                  <a:lnTo>
                    <a:pt x="204" y="102"/>
                  </a:lnTo>
                  <a:lnTo>
                    <a:pt x="208" y="108"/>
                  </a:lnTo>
                  <a:lnTo>
                    <a:pt x="216" y="112"/>
                  </a:lnTo>
                  <a:lnTo>
                    <a:pt x="240" y="118"/>
                  </a:lnTo>
                  <a:lnTo>
                    <a:pt x="240" y="138"/>
                  </a:lnTo>
                  <a:lnTo>
                    <a:pt x="216" y="14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11" name="Freeform 109"/>
            <p:cNvSpPr>
              <a:spLocks noEditPoints="1"/>
            </p:cNvSpPr>
            <p:nvPr/>
          </p:nvSpPr>
          <p:spPr bwMode="auto">
            <a:xfrm>
              <a:off x="5702300" y="2076450"/>
              <a:ext cx="177800" cy="177800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34" y="4"/>
                </a:cxn>
                <a:cxn ang="0">
                  <a:pos x="16" y="16"/>
                </a:cxn>
                <a:cxn ang="0">
                  <a:pos x="4" y="34"/>
                </a:cxn>
                <a:cxn ang="0">
                  <a:pos x="0" y="56"/>
                </a:cxn>
                <a:cxn ang="0">
                  <a:pos x="2" y="68"/>
                </a:cxn>
                <a:cxn ang="0">
                  <a:pos x="10" y="88"/>
                </a:cxn>
                <a:cxn ang="0">
                  <a:pos x="24" y="102"/>
                </a:cxn>
                <a:cxn ang="0">
                  <a:pos x="44" y="110"/>
                </a:cxn>
                <a:cxn ang="0">
                  <a:pos x="56" y="112"/>
                </a:cxn>
                <a:cxn ang="0">
                  <a:pos x="78" y="108"/>
                </a:cxn>
                <a:cxn ang="0">
                  <a:pos x="96" y="96"/>
                </a:cxn>
                <a:cxn ang="0">
                  <a:pos x="108" y="78"/>
                </a:cxn>
                <a:cxn ang="0">
                  <a:pos x="112" y="56"/>
                </a:cxn>
                <a:cxn ang="0">
                  <a:pos x="110" y="44"/>
                </a:cxn>
                <a:cxn ang="0">
                  <a:pos x="102" y="24"/>
                </a:cxn>
                <a:cxn ang="0">
                  <a:pos x="88" y="10"/>
                </a:cxn>
                <a:cxn ang="0">
                  <a:pos x="68" y="2"/>
                </a:cxn>
                <a:cxn ang="0">
                  <a:pos x="56" y="104"/>
                </a:cxn>
                <a:cxn ang="0">
                  <a:pos x="46" y="104"/>
                </a:cxn>
                <a:cxn ang="0">
                  <a:pos x="28" y="96"/>
                </a:cxn>
                <a:cxn ang="0">
                  <a:pos x="16" y="84"/>
                </a:cxn>
                <a:cxn ang="0">
                  <a:pos x="8" y="66"/>
                </a:cxn>
                <a:cxn ang="0">
                  <a:pos x="8" y="56"/>
                </a:cxn>
                <a:cxn ang="0">
                  <a:pos x="10" y="36"/>
                </a:cxn>
                <a:cxn ang="0">
                  <a:pos x="22" y="22"/>
                </a:cxn>
                <a:cxn ang="0">
                  <a:pos x="36" y="10"/>
                </a:cxn>
                <a:cxn ang="0">
                  <a:pos x="56" y="6"/>
                </a:cxn>
                <a:cxn ang="0">
                  <a:pos x="66" y="8"/>
                </a:cxn>
                <a:cxn ang="0">
                  <a:pos x="84" y="16"/>
                </a:cxn>
                <a:cxn ang="0">
                  <a:pos x="96" y="28"/>
                </a:cxn>
                <a:cxn ang="0">
                  <a:pos x="104" y="46"/>
                </a:cxn>
                <a:cxn ang="0">
                  <a:pos x="106" y="56"/>
                </a:cxn>
                <a:cxn ang="0">
                  <a:pos x="102" y="76"/>
                </a:cxn>
                <a:cxn ang="0">
                  <a:pos x="90" y="90"/>
                </a:cxn>
                <a:cxn ang="0">
                  <a:pos x="76" y="102"/>
                </a:cxn>
                <a:cxn ang="0">
                  <a:pos x="56" y="104"/>
                </a:cxn>
              </a:cxnLst>
              <a:rect l="0" t="0" r="r" b="b"/>
              <a:pathLst>
                <a:path w="112" h="112">
                  <a:moveTo>
                    <a:pt x="56" y="0"/>
                  </a:moveTo>
                  <a:lnTo>
                    <a:pt x="56" y="0"/>
                  </a:lnTo>
                  <a:lnTo>
                    <a:pt x="44" y="2"/>
                  </a:lnTo>
                  <a:lnTo>
                    <a:pt x="34" y="4"/>
                  </a:lnTo>
                  <a:lnTo>
                    <a:pt x="24" y="10"/>
                  </a:lnTo>
                  <a:lnTo>
                    <a:pt x="16" y="16"/>
                  </a:lnTo>
                  <a:lnTo>
                    <a:pt x="10" y="24"/>
                  </a:lnTo>
                  <a:lnTo>
                    <a:pt x="4" y="34"/>
                  </a:lnTo>
                  <a:lnTo>
                    <a:pt x="2" y="44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2" y="68"/>
                  </a:lnTo>
                  <a:lnTo>
                    <a:pt x="4" y="78"/>
                  </a:lnTo>
                  <a:lnTo>
                    <a:pt x="10" y="88"/>
                  </a:lnTo>
                  <a:lnTo>
                    <a:pt x="16" y="96"/>
                  </a:lnTo>
                  <a:lnTo>
                    <a:pt x="24" y="102"/>
                  </a:lnTo>
                  <a:lnTo>
                    <a:pt x="34" y="108"/>
                  </a:lnTo>
                  <a:lnTo>
                    <a:pt x="44" y="110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68" y="110"/>
                  </a:lnTo>
                  <a:lnTo>
                    <a:pt x="78" y="108"/>
                  </a:lnTo>
                  <a:lnTo>
                    <a:pt x="88" y="102"/>
                  </a:lnTo>
                  <a:lnTo>
                    <a:pt x="96" y="96"/>
                  </a:lnTo>
                  <a:lnTo>
                    <a:pt x="102" y="88"/>
                  </a:lnTo>
                  <a:lnTo>
                    <a:pt x="108" y="78"/>
                  </a:lnTo>
                  <a:lnTo>
                    <a:pt x="110" y="68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0" y="44"/>
                  </a:lnTo>
                  <a:lnTo>
                    <a:pt x="108" y="34"/>
                  </a:lnTo>
                  <a:lnTo>
                    <a:pt x="102" y="24"/>
                  </a:lnTo>
                  <a:lnTo>
                    <a:pt x="96" y="16"/>
                  </a:lnTo>
                  <a:lnTo>
                    <a:pt x="88" y="10"/>
                  </a:lnTo>
                  <a:lnTo>
                    <a:pt x="78" y="4"/>
                  </a:lnTo>
                  <a:lnTo>
                    <a:pt x="68" y="2"/>
                  </a:lnTo>
                  <a:lnTo>
                    <a:pt x="56" y="0"/>
                  </a:lnTo>
                  <a:close/>
                  <a:moveTo>
                    <a:pt x="56" y="104"/>
                  </a:moveTo>
                  <a:lnTo>
                    <a:pt x="56" y="104"/>
                  </a:lnTo>
                  <a:lnTo>
                    <a:pt x="46" y="104"/>
                  </a:lnTo>
                  <a:lnTo>
                    <a:pt x="36" y="102"/>
                  </a:lnTo>
                  <a:lnTo>
                    <a:pt x="28" y="96"/>
                  </a:lnTo>
                  <a:lnTo>
                    <a:pt x="22" y="90"/>
                  </a:lnTo>
                  <a:lnTo>
                    <a:pt x="16" y="84"/>
                  </a:lnTo>
                  <a:lnTo>
                    <a:pt x="10" y="76"/>
                  </a:lnTo>
                  <a:lnTo>
                    <a:pt x="8" y="6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46"/>
                  </a:lnTo>
                  <a:lnTo>
                    <a:pt x="10" y="36"/>
                  </a:lnTo>
                  <a:lnTo>
                    <a:pt x="16" y="28"/>
                  </a:lnTo>
                  <a:lnTo>
                    <a:pt x="22" y="22"/>
                  </a:lnTo>
                  <a:lnTo>
                    <a:pt x="28" y="16"/>
                  </a:lnTo>
                  <a:lnTo>
                    <a:pt x="36" y="10"/>
                  </a:lnTo>
                  <a:lnTo>
                    <a:pt x="46" y="8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66" y="8"/>
                  </a:lnTo>
                  <a:lnTo>
                    <a:pt x="76" y="10"/>
                  </a:lnTo>
                  <a:lnTo>
                    <a:pt x="84" y="16"/>
                  </a:lnTo>
                  <a:lnTo>
                    <a:pt x="90" y="22"/>
                  </a:lnTo>
                  <a:lnTo>
                    <a:pt x="96" y="28"/>
                  </a:lnTo>
                  <a:lnTo>
                    <a:pt x="102" y="36"/>
                  </a:lnTo>
                  <a:lnTo>
                    <a:pt x="104" y="46"/>
                  </a:lnTo>
                  <a:lnTo>
                    <a:pt x="106" y="56"/>
                  </a:lnTo>
                  <a:lnTo>
                    <a:pt x="106" y="56"/>
                  </a:lnTo>
                  <a:lnTo>
                    <a:pt x="104" y="66"/>
                  </a:lnTo>
                  <a:lnTo>
                    <a:pt x="102" y="7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6" y="102"/>
                  </a:lnTo>
                  <a:lnTo>
                    <a:pt x="66" y="104"/>
                  </a:lnTo>
                  <a:lnTo>
                    <a:pt x="56" y="10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12" name="Freeform 112"/>
            <p:cNvSpPr>
              <a:spLocks noEditPoints="1"/>
            </p:cNvSpPr>
            <p:nvPr/>
          </p:nvSpPr>
          <p:spPr bwMode="auto">
            <a:xfrm>
              <a:off x="5740400" y="2114550"/>
              <a:ext cx="101600" cy="101600"/>
            </a:xfrm>
            <a:custGeom>
              <a:avLst/>
              <a:gdLst/>
              <a:ahLst/>
              <a:cxnLst>
                <a:cxn ang="0">
                  <a:pos x="32" y="0"/>
                </a:cxn>
                <a:cxn ang="0">
                  <a:pos x="32" y="0"/>
                </a:cxn>
                <a:cxn ang="0">
                  <a:pos x="26" y="0"/>
                </a:cxn>
                <a:cxn ang="0">
                  <a:pos x="20" y="2"/>
                </a:cxn>
                <a:cxn ang="0">
                  <a:pos x="10" y="10"/>
                </a:cxn>
                <a:cxn ang="0">
                  <a:pos x="2" y="20"/>
                </a:cxn>
                <a:cxn ang="0">
                  <a:pos x="0" y="26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0" y="38"/>
                </a:cxn>
                <a:cxn ang="0">
                  <a:pos x="2" y="44"/>
                </a:cxn>
                <a:cxn ang="0">
                  <a:pos x="10" y="54"/>
                </a:cxn>
                <a:cxn ang="0">
                  <a:pos x="20" y="62"/>
                </a:cxn>
                <a:cxn ang="0">
                  <a:pos x="26" y="64"/>
                </a:cxn>
                <a:cxn ang="0">
                  <a:pos x="32" y="64"/>
                </a:cxn>
                <a:cxn ang="0">
                  <a:pos x="32" y="64"/>
                </a:cxn>
                <a:cxn ang="0">
                  <a:pos x="38" y="64"/>
                </a:cxn>
                <a:cxn ang="0">
                  <a:pos x="44" y="62"/>
                </a:cxn>
                <a:cxn ang="0">
                  <a:pos x="54" y="54"/>
                </a:cxn>
                <a:cxn ang="0">
                  <a:pos x="62" y="44"/>
                </a:cxn>
                <a:cxn ang="0">
                  <a:pos x="64" y="38"/>
                </a:cxn>
                <a:cxn ang="0">
                  <a:pos x="64" y="32"/>
                </a:cxn>
                <a:cxn ang="0">
                  <a:pos x="64" y="32"/>
                </a:cxn>
                <a:cxn ang="0">
                  <a:pos x="64" y="26"/>
                </a:cxn>
                <a:cxn ang="0">
                  <a:pos x="62" y="20"/>
                </a:cxn>
                <a:cxn ang="0">
                  <a:pos x="54" y="10"/>
                </a:cxn>
                <a:cxn ang="0">
                  <a:pos x="44" y="2"/>
                </a:cxn>
                <a:cxn ang="0">
                  <a:pos x="38" y="0"/>
                </a:cxn>
                <a:cxn ang="0">
                  <a:pos x="32" y="0"/>
                </a:cxn>
                <a:cxn ang="0">
                  <a:pos x="32" y="56"/>
                </a:cxn>
                <a:cxn ang="0">
                  <a:pos x="32" y="56"/>
                </a:cxn>
                <a:cxn ang="0">
                  <a:pos x="22" y="54"/>
                </a:cxn>
                <a:cxn ang="0">
                  <a:pos x="16" y="48"/>
                </a:cxn>
                <a:cxn ang="0">
                  <a:pos x="10" y="4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10" y="22"/>
                </a:cxn>
                <a:cxn ang="0">
                  <a:pos x="16" y="16"/>
                </a:cxn>
                <a:cxn ang="0">
                  <a:pos x="22" y="10"/>
                </a:cxn>
                <a:cxn ang="0">
                  <a:pos x="32" y="8"/>
                </a:cxn>
                <a:cxn ang="0">
                  <a:pos x="32" y="8"/>
                </a:cxn>
                <a:cxn ang="0">
                  <a:pos x="42" y="10"/>
                </a:cxn>
                <a:cxn ang="0">
                  <a:pos x="48" y="16"/>
                </a:cxn>
                <a:cxn ang="0">
                  <a:pos x="54" y="22"/>
                </a:cxn>
                <a:cxn ang="0">
                  <a:pos x="56" y="32"/>
                </a:cxn>
                <a:cxn ang="0">
                  <a:pos x="56" y="32"/>
                </a:cxn>
                <a:cxn ang="0">
                  <a:pos x="54" y="42"/>
                </a:cxn>
                <a:cxn ang="0">
                  <a:pos x="48" y="48"/>
                </a:cxn>
                <a:cxn ang="0">
                  <a:pos x="42" y="54"/>
                </a:cxn>
                <a:cxn ang="0">
                  <a:pos x="32" y="56"/>
                </a:cxn>
              </a:cxnLst>
              <a:rect l="0" t="0" r="r" b="b"/>
              <a:pathLst>
                <a:path w="64" h="64">
                  <a:moveTo>
                    <a:pt x="32" y="0"/>
                  </a:moveTo>
                  <a:lnTo>
                    <a:pt x="32" y="0"/>
                  </a:lnTo>
                  <a:lnTo>
                    <a:pt x="26" y="0"/>
                  </a:lnTo>
                  <a:lnTo>
                    <a:pt x="20" y="2"/>
                  </a:lnTo>
                  <a:lnTo>
                    <a:pt x="10" y="10"/>
                  </a:lnTo>
                  <a:lnTo>
                    <a:pt x="2" y="20"/>
                  </a:lnTo>
                  <a:lnTo>
                    <a:pt x="0" y="2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8"/>
                  </a:lnTo>
                  <a:lnTo>
                    <a:pt x="2" y="44"/>
                  </a:lnTo>
                  <a:lnTo>
                    <a:pt x="10" y="54"/>
                  </a:lnTo>
                  <a:lnTo>
                    <a:pt x="20" y="62"/>
                  </a:lnTo>
                  <a:lnTo>
                    <a:pt x="26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8" y="64"/>
                  </a:lnTo>
                  <a:lnTo>
                    <a:pt x="44" y="62"/>
                  </a:lnTo>
                  <a:lnTo>
                    <a:pt x="54" y="54"/>
                  </a:lnTo>
                  <a:lnTo>
                    <a:pt x="62" y="44"/>
                  </a:lnTo>
                  <a:lnTo>
                    <a:pt x="64" y="3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26"/>
                  </a:lnTo>
                  <a:lnTo>
                    <a:pt x="62" y="20"/>
                  </a:lnTo>
                  <a:lnTo>
                    <a:pt x="54" y="10"/>
                  </a:lnTo>
                  <a:lnTo>
                    <a:pt x="44" y="2"/>
                  </a:lnTo>
                  <a:lnTo>
                    <a:pt x="38" y="0"/>
                  </a:lnTo>
                  <a:lnTo>
                    <a:pt x="32" y="0"/>
                  </a:lnTo>
                  <a:close/>
                  <a:moveTo>
                    <a:pt x="32" y="56"/>
                  </a:moveTo>
                  <a:lnTo>
                    <a:pt x="32" y="56"/>
                  </a:lnTo>
                  <a:lnTo>
                    <a:pt x="22" y="54"/>
                  </a:lnTo>
                  <a:lnTo>
                    <a:pt x="16" y="48"/>
                  </a:lnTo>
                  <a:lnTo>
                    <a:pt x="10" y="4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0" y="22"/>
                  </a:lnTo>
                  <a:lnTo>
                    <a:pt x="16" y="16"/>
                  </a:lnTo>
                  <a:lnTo>
                    <a:pt x="22" y="10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42" y="10"/>
                  </a:lnTo>
                  <a:lnTo>
                    <a:pt x="48" y="16"/>
                  </a:lnTo>
                  <a:lnTo>
                    <a:pt x="54" y="2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54"/>
                  </a:lnTo>
                  <a:lnTo>
                    <a:pt x="32" y="5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</p:grpSp>
      <p:sp>
        <p:nvSpPr>
          <p:cNvPr id="13" name="Oval 12"/>
          <p:cNvSpPr/>
          <p:nvPr/>
        </p:nvSpPr>
        <p:spPr>
          <a:xfrm>
            <a:off x="838200" y="2771140"/>
            <a:ext cx="914400" cy="914400"/>
          </a:xfrm>
          <a:prstGeom prst="ellipse">
            <a:avLst/>
          </a:prstGeom>
          <a:solidFill>
            <a:srgbClr val="5C8E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838200" y="4879340"/>
            <a:ext cx="914400" cy="914400"/>
          </a:xfrm>
          <a:prstGeom prst="ellipse">
            <a:avLst/>
          </a:prstGeom>
          <a:solidFill>
            <a:srgbClr val="084A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/>
          <p:cNvSpPr/>
          <p:nvPr/>
        </p:nvSpPr>
        <p:spPr>
          <a:xfrm>
            <a:off x="838200" y="3825240"/>
            <a:ext cx="914400" cy="914400"/>
          </a:xfrm>
          <a:prstGeom prst="ellipse">
            <a:avLst/>
          </a:prstGeom>
          <a:solidFill>
            <a:srgbClr val="686C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up 15"/>
          <p:cNvGrpSpPr/>
          <p:nvPr/>
        </p:nvGrpSpPr>
        <p:grpSpPr>
          <a:xfrm>
            <a:off x="1158210" y="3028790"/>
            <a:ext cx="274381" cy="399100"/>
            <a:chOff x="4838700" y="2774950"/>
            <a:chExt cx="279400" cy="406400"/>
          </a:xfrm>
          <a:solidFill>
            <a:schemeClr val="bg2"/>
          </a:solidFill>
        </p:grpSpPr>
        <p:sp>
          <p:nvSpPr>
            <p:cNvPr id="17" name="Freeform 60"/>
            <p:cNvSpPr>
              <a:spLocks noEditPoints="1"/>
            </p:cNvSpPr>
            <p:nvPr/>
          </p:nvSpPr>
          <p:spPr bwMode="auto">
            <a:xfrm>
              <a:off x="4838700" y="2774950"/>
              <a:ext cx="279400" cy="406400"/>
            </a:xfrm>
            <a:custGeom>
              <a:avLst/>
              <a:gdLst/>
              <a:ahLst/>
              <a:cxnLst>
                <a:cxn ang="0">
                  <a:pos x="88" y="0"/>
                </a:cxn>
                <a:cxn ang="0">
                  <a:pos x="54" y="6"/>
                </a:cxn>
                <a:cxn ang="0">
                  <a:pos x="26" y="26"/>
                </a:cxn>
                <a:cxn ang="0">
                  <a:pos x="6" y="54"/>
                </a:cxn>
                <a:cxn ang="0">
                  <a:pos x="0" y="88"/>
                </a:cxn>
                <a:cxn ang="0">
                  <a:pos x="2" y="100"/>
                </a:cxn>
                <a:cxn ang="0">
                  <a:pos x="16" y="138"/>
                </a:cxn>
                <a:cxn ang="0">
                  <a:pos x="40" y="184"/>
                </a:cxn>
                <a:cxn ang="0">
                  <a:pos x="50" y="214"/>
                </a:cxn>
                <a:cxn ang="0">
                  <a:pos x="62" y="246"/>
                </a:cxn>
                <a:cxn ang="0">
                  <a:pos x="76" y="254"/>
                </a:cxn>
                <a:cxn ang="0">
                  <a:pos x="88" y="256"/>
                </a:cxn>
                <a:cxn ang="0">
                  <a:pos x="108" y="252"/>
                </a:cxn>
                <a:cxn ang="0">
                  <a:pos x="118" y="238"/>
                </a:cxn>
                <a:cxn ang="0">
                  <a:pos x="136" y="184"/>
                </a:cxn>
                <a:cxn ang="0">
                  <a:pos x="146" y="162"/>
                </a:cxn>
                <a:cxn ang="0">
                  <a:pos x="172" y="112"/>
                </a:cxn>
                <a:cxn ang="0">
                  <a:pos x="176" y="88"/>
                </a:cxn>
                <a:cxn ang="0">
                  <a:pos x="174" y="70"/>
                </a:cxn>
                <a:cxn ang="0">
                  <a:pos x="160" y="38"/>
                </a:cxn>
                <a:cxn ang="0">
                  <a:pos x="138" y="16"/>
                </a:cxn>
                <a:cxn ang="0">
                  <a:pos x="106" y="2"/>
                </a:cxn>
                <a:cxn ang="0">
                  <a:pos x="108" y="218"/>
                </a:cxn>
                <a:cxn ang="0">
                  <a:pos x="70" y="222"/>
                </a:cxn>
                <a:cxn ang="0">
                  <a:pos x="64" y="208"/>
                </a:cxn>
                <a:cxn ang="0">
                  <a:pos x="114" y="200"/>
                </a:cxn>
                <a:cxn ang="0">
                  <a:pos x="112" y="208"/>
                </a:cxn>
                <a:cxn ang="0">
                  <a:pos x="108" y="218"/>
                </a:cxn>
                <a:cxn ang="0">
                  <a:pos x="62" y="200"/>
                </a:cxn>
                <a:cxn ang="0">
                  <a:pos x="120" y="184"/>
                </a:cxn>
                <a:cxn ang="0">
                  <a:pos x="116" y="192"/>
                </a:cxn>
                <a:cxn ang="0">
                  <a:pos x="88" y="240"/>
                </a:cxn>
                <a:cxn ang="0">
                  <a:pos x="82" y="240"/>
                </a:cxn>
                <a:cxn ang="0">
                  <a:pos x="76" y="236"/>
                </a:cxn>
                <a:cxn ang="0">
                  <a:pos x="106" y="226"/>
                </a:cxn>
                <a:cxn ang="0">
                  <a:pos x="102" y="234"/>
                </a:cxn>
                <a:cxn ang="0">
                  <a:pos x="94" y="240"/>
                </a:cxn>
                <a:cxn ang="0">
                  <a:pos x="126" y="168"/>
                </a:cxn>
                <a:cxn ang="0">
                  <a:pos x="50" y="168"/>
                </a:cxn>
                <a:cxn ang="0">
                  <a:pos x="38" y="142"/>
                </a:cxn>
                <a:cxn ang="0">
                  <a:pos x="18" y="100"/>
                </a:cxn>
                <a:cxn ang="0">
                  <a:pos x="16" y="88"/>
                </a:cxn>
                <a:cxn ang="0">
                  <a:pos x="22" y="60"/>
                </a:cxn>
                <a:cxn ang="0">
                  <a:pos x="38" y="38"/>
                </a:cxn>
                <a:cxn ang="0">
                  <a:pos x="60" y="22"/>
                </a:cxn>
                <a:cxn ang="0">
                  <a:pos x="88" y="16"/>
                </a:cxn>
                <a:cxn ang="0">
                  <a:pos x="102" y="18"/>
                </a:cxn>
                <a:cxn ang="0">
                  <a:pos x="128" y="28"/>
                </a:cxn>
                <a:cxn ang="0">
                  <a:pos x="148" y="48"/>
                </a:cxn>
                <a:cxn ang="0">
                  <a:pos x="158" y="74"/>
                </a:cxn>
                <a:cxn ang="0">
                  <a:pos x="160" y="88"/>
                </a:cxn>
                <a:cxn ang="0">
                  <a:pos x="154" y="114"/>
                </a:cxn>
                <a:cxn ang="0">
                  <a:pos x="138" y="142"/>
                </a:cxn>
              </a:cxnLst>
              <a:rect l="0" t="0" r="r" b="b"/>
              <a:pathLst>
                <a:path w="176" h="256">
                  <a:moveTo>
                    <a:pt x="88" y="0"/>
                  </a:moveTo>
                  <a:lnTo>
                    <a:pt x="88" y="0"/>
                  </a:lnTo>
                  <a:lnTo>
                    <a:pt x="70" y="2"/>
                  </a:lnTo>
                  <a:lnTo>
                    <a:pt x="54" y="6"/>
                  </a:lnTo>
                  <a:lnTo>
                    <a:pt x="38" y="16"/>
                  </a:lnTo>
                  <a:lnTo>
                    <a:pt x="26" y="26"/>
                  </a:lnTo>
                  <a:lnTo>
                    <a:pt x="16" y="38"/>
                  </a:lnTo>
                  <a:lnTo>
                    <a:pt x="6" y="54"/>
                  </a:lnTo>
                  <a:lnTo>
                    <a:pt x="2" y="70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2" y="100"/>
                  </a:lnTo>
                  <a:lnTo>
                    <a:pt x="4" y="112"/>
                  </a:lnTo>
                  <a:lnTo>
                    <a:pt x="16" y="138"/>
                  </a:lnTo>
                  <a:lnTo>
                    <a:pt x="30" y="162"/>
                  </a:lnTo>
                  <a:lnTo>
                    <a:pt x="40" y="184"/>
                  </a:lnTo>
                  <a:lnTo>
                    <a:pt x="40" y="184"/>
                  </a:lnTo>
                  <a:lnTo>
                    <a:pt x="50" y="214"/>
                  </a:lnTo>
                  <a:lnTo>
                    <a:pt x="58" y="238"/>
                  </a:lnTo>
                  <a:lnTo>
                    <a:pt x="62" y="246"/>
                  </a:lnTo>
                  <a:lnTo>
                    <a:pt x="68" y="252"/>
                  </a:lnTo>
                  <a:lnTo>
                    <a:pt x="76" y="254"/>
                  </a:lnTo>
                  <a:lnTo>
                    <a:pt x="88" y="256"/>
                  </a:lnTo>
                  <a:lnTo>
                    <a:pt x="88" y="256"/>
                  </a:lnTo>
                  <a:lnTo>
                    <a:pt x="100" y="254"/>
                  </a:lnTo>
                  <a:lnTo>
                    <a:pt x="108" y="252"/>
                  </a:lnTo>
                  <a:lnTo>
                    <a:pt x="114" y="246"/>
                  </a:lnTo>
                  <a:lnTo>
                    <a:pt x="118" y="238"/>
                  </a:lnTo>
                  <a:lnTo>
                    <a:pt x="126" y="214"/>
                  </a:lnTo>
                  <a:lnTo>
                    <a:pt x="136" y="184"/>
                  </a:lnTo>
                  <a:lnTo>
                    <a:pt x="136" y="184"/>
                  </a:lnTo>
                  <a:lnTo>
                    <a:pt x="146" y="162"/>
                  </a:lnTo>
                  <a:lnTo>
                    <a:pt x="160" y="138"/>
                  </a:lnTo>
                  <a:lnTo>
                    <a:pt x="172" y="112"/>
                  </a:lnTo>
                  <a:lnTo>
                    <a:pt x="174" y="100"/>
                  </a:lnTo>
                  <a:lnTo>
                    <a:pt x="176" y="88"/>
                  </a:lnTo>
                  <a:lnTo>
                    <a:pt x="176" y="88"/>
                  </a:lnTo>
                  <a:lnTo>
                    <a:pt x="174" y="70"/>
                  </a:lnTo>
                  <a:lnTo>
                    <a:pt x="170" y="54"/>
                  </a:lnTo>
                  <a:lnTo>
                    <a:pt x="160" y="38"/>
                  </a:lnTo>
                  <a:lnTo>
                    <a:pt x="150" y="26"/>
                  </a:lnTo>
                  <a:lnTo>
                    <a:pt x="138" y="16"/>
                  </a:lnTo>
                  <a:lnTo>
                    <a:pt x="122" y="6"/>
                  </a:lnTo>
                  <a:lnTo>
                    <a:pt x="106" y="2"/>
                  </a:lnTo>
                  <a:lnTo>
                    <a:pt x="88" y="0"/>
                  </a:lnTo>
                  <a:close/>
                  <a:moveTo>
                    <a:pt x="108" y="218"/>
                  </a:moveTo>
                  <a:lnTo>
                    <a:pt x="70" y="222"/>
                  </a:lnTo>
                  <a:lnTo>
                    <a:pt x="70" y="222"/>
                  </a:lnTo>
                  <a:lnTo>
                    <a:pt x="64" y="208"/>
                  </a:lnTo>
                  <a:lnTo>
                    <a:pt x="64" y="208"/>
                  </a:lnTo>
                  <a:lnTo>
                    <a:pt x="64" y="206"/>
                  </a:lnTo>
                  <a:lnTo>
                    <a:pt x="114" y="200"/>
                  </a:lnTo>
                  <a:lnTo>
                    <a:pt x="114" y="200"/>
                  </a:lnTo>
                  <a:lnTo>
                    <a:pt x="112" y="208"/>
                  </a:lnTo>
                  <a:lnTo>
                    <a:pt x="112" y="208"/>
                  </a:lnTo>
                  <a:lnTo>
                    <a:pt x="108" y="218"/>
                  </a:lnTo>
                  <a:close/>
                  <a:moveTo>
                    <a:pt x="62" y="200"/>
                  </a:moveTo>
                  <a:lnTo>
                    <a:pt x="62" y="200"/>
                  </a:lnTo>
                  <a:lnTo>
                    <a:pt x="56" y="184"/>
                  </a:lnTo>
                  <a:lnTo>
                    <a:pt x="120" y="184"/>
                  </a:lnTo>
                  <a:lnTo>
                    <a:pt x="120" y="184"/>
                  </a:lnTo>
                  <a:lnTo>
                    <a:pt x="116" y="192"/>
                  </a:lnTo>
                  <a:lnTo>
                    <a:pt x="62" y="200"/>
                  </a:lnTo>
                  <a:close/>
                  <a:moveTo>
                    <a:pt x="88" y="240"/>
                  </a:moveTo>
                  <a:lnTo>
                    <a:pt x="88" y="240"/>
                  </a:lnTo>
                  <a:lnTo>
                    <a:pt x="82" y="240"/>
                  </a:lnTo>
                  <a:lnTo>
                    <a:pt x="78" y="238"/>
                  </a:lnTo>
                  <a:lnTo>
                    <a:pt x="76" y="236"/>
                  </a:lnTo>
                  <a:lnTo>
                    <a:pt x="72" y="230"/>
                  </a:lnTo>
                  <a:lnTo>
                    <a:pt x="106" y="226"/>
                  </a:lnTo>
                  <a:lnTo>
                    <a:pt x="106" y="226"/>
                  </a:lnTo>
                  <a:lnTo>
                    <a:pt x="102" y="234"/>
                  </a:lnTo>
                  <a:lnTo>
                    <a:pt x="98" y="238"/>
                  </a:lnTo>
                  <a:lnTo>
                    <a:pt x="94" y="240"/>
                  </a:lnTo>
                  <a:lnTo>
                    <a:pt x="88" y="240"/>
                  </a:lnTo>
                  <a:close/>
                  <a:moveTo>
                    <a:pt x="126" y="168"/>
                  </a:moveTo>
                  <a:lnTo>
                    <a:pt x="50" y="168"/>
                  </a:lnTo>
                  <a:lnTo>
                    <a:pt x="50" y="168"/>
                  </a:lnTo>
                  <a:lnTo>
                    <a:pt x="38" y="142"/>
                  </a:lnTo>
                  <a:lnTo>
                    <a:pt x="38" y="142"/>
                  </a:lnTo>
                  <a:lnTo>
                    <a:pt x="22" y="114"/>
                  </a:lnTo>
                  <a:lnTo>
                    <a:pt x="18" y="100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8" y="74"/>
                  </a:lnTo>
                  <a:lnTo>
                    <a:pt x="22" y="60"/>
                  </a:lnTo>
                  <a:lnTo>
                    <a:pt x="28" y="48"/>
                  </a:lnTo>
                  <a:lnTo>
                    <a:pt x="38" y="38"/>
                  </a:lnTo>
                  <a:lnTo>
                    <a:pt x="48" y="28"/>
                  </a:lnTo>
                  <a:lnTo>
                    <a:pt x="60" y="22"/>
                  </a:lnTo>
                  <a:lnTo>
                    <a:pt x="74" y="18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102" y="18"/>
                  </a:lnTo>
                  <a:lnTo>
                    <a:pt x="116" y="22"/>
                  </a:lnTo>
                  <a:lnTo>
                    <a:pt x="128" y="28"/>
                  </a:lnTo>
                  <a:lnTo>
                    <a:pt x="138" y="38"/>
                  </a:lnTo>
                  <a:lnTo>
                    <a:pt x="148" y="48"/>
                  </a:lnTo>
                  <a:lnTo>
                    <a:pt x="154" y="60"/>
                  </a:lnTo>
                  <a:lnTo>
                    <a:pt x="158" y="74"/>
                  </a:lnTo>
                  <a:lnTo>
                    <a:pt x="160" y="88"/>
                  </a:lnTo>
                  <a:lnTo>
                    <a:pt x="160" y="88"/>
                  </a:lnTo>
                  <a:lnTo>
                    <a:pt x="158" y="100"/>
                  </a:lnTo>
                  <a:lnTo>
                    <a:pt x="154" y="114"/>
                  </a:lnTo>
                  <a:lnTo>
                    <a:pt x="138" y="142"/>
                  </a:lnTo>
                  <a:lnTo>
                    <a:pt x="138" y="142"/>
                  </a:lnTo>
                  <a:lnTo>
                    <a:pt x="126" y="1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18" name="Freeform 66"/>
            <p:cNvSpPr>
              <a:spLocks/>
            </p:cNvSpPr>
            <p:nvPr/>
          </p:nvSpPr>
          <p:spPr bwMode="auto">
            <a:xfrm>
              <a:off x="4902200" y="2838450"/>
              <a:ext cx="82550" cy="82550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48" y="0"/>
                </a:cxn>
                <a:cxn ang="0">
                  <a:pos x="38" y="0"/>
                </a:cxn>
                <a:cxn ang="0">
                  <a:pos x="30" y="4"/>
                </a:cxn>
                <a:cxn ang="0">
                  <a:pos x="22" y="8"/>
                </a:cxn>
                <a:cxn ang="0">
                  <a:pos x="14" y="14"/>
                </a:cxn>
                <a:cxn ang="0">
                  <a:pos x="8" y="22"/>
                </a:cxn>
                <a:cxn ang="0">
                  <a:pos x="4" y="30"/>
                </a:cxn>
                <a:cxn ang="0">
                  <a:pos x="0" y="38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2" y="50"/>
                </a:cxn>
                <a:cxn ang="0">
                  <a:pos x="4" y="52"/>
                </a:cxn>
                <a:cxn ang="0">
                  <a:pos x="4" y="52"/>
                </a:cxn>
                <a:cxn ang="0">
                  <a:pos x="6" y="50"/>
                </a:cxn>
                <a:cxn ang="0">
                  <a:pos x="8" y="48"/>
                </a:cxn>
                <a:cxn ang="0">
                  <a:pos x="8" y="48"/>
                </a:cxn>
                <a:cxn ang="0">
                  <a:pos x="8" y="40"/>
                </a:cxn>
                <a:cxn ang="0">
                  <a:pos x="12" y="32"/>
                </a:cxn>
                <a:cxn ang="0">
                  <a:pos x="14" y="26"/>
                </a:cxn>
                <a:cxn ang="0">
                  <a:pos x="20" y="20"/>
                </a:cxn>
                <a:cxn ang="0">
                  <a:pos x="26" y="14"/>
                </a:cxn>
                <a:cxn ang="0">
                  <a:pos x="32" y="12"/>
                </a:cxn>
                <a:cxn ang="0">
                  <a:pos x="40" y="8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50" y="6"/>
                </a:cxn>
                <a:cxn ang="0">
                  <a:pos x="52" y="4"/>
                </a:cxn>
                <a:cxn ang="0">
                  <a:pos x="52" y="4"/>
                </a:cxn>
                <a:cxn ang="0">
                  <a:pos x="50" y="2"/>
                </a:cxn>
                <a:cxn ang="0">
                  <a:pos x="48" y="0"/>
                </a:cxn>
              </a:cxnLst>
              <a:rect l="0" t="0" r="r" b="b"/>
              <a:pathLst>
                <a:path w="52" h="52">
                  <a:moveTo>
                    <a:pt x="48" y="0"/>
                  </a:moveTo>
                  <a:lnTo>
                    <a:pt x="48" y="0"/>
                  </a:lnTo>
                  <a:lnTo>
                    <a:pt x="38" y="0"/>
                  </a:lnTo>
                  <a:lnTo>
                    <a:pt x="30" y="4"/>
                  </a:lnTo>
                  <a:lnTo>
                    <a:pt x="22" y="8"/>
                  </a:lnTo>
                  <a:lnTo>
                    <a:pt x="14" y="14"/>
                  </a:lnTo>
                  <a:lnTo>
                    <a:pt x="8" y="22"/>
                  </a:lnTo>
                  <a:lnTo>
                    <a:pt x="4" y="30"/>
                  </a:lnTo>
                  <a:lnTo>
                    <a:pt x="0" y="3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2" y="50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6" y="50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0"/>
                  </a:lnTo>
                  <a:lnTo>
                    <a:pt x="12" y="32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6" y="14"/>
                  </a:lnTo>
                  <a:lnTo>
                    <a:pt x="32" y="12"/>
                  </a:lnTo>
                  <a:lnTo>
                    <a:pt x="40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0" y="6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0" y="2"/>
                  </a:lnTo>
                  <a:lnTo>
                    <a:pt x="4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19" name="Freeform 67"/>
            <p:cNvSpPr>
              <a:spLocks/>
            </p:cNvSpPr>
            <p:nvPr/>
          </p:nvSpPr>
          <p:spPr bwMode="auto">
            <a:xfrm>
              <a:off x="4902200" y="2838450"/>
              <a:ext cx="82550" cy="82550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48" y="0"/>
                </a:cxn>
                <a:cxn ang="0">
                  <a:pos x="38" y="0"/>
                </a:cxn>
                <a:cxn ang="0">
                  <a:pos x="30" y="4"/>
                </a:cxn>
                <a:cxn ang="0">
                  <a:pos x="22" y="8"/>
                </a:cxn>
                <a:cxn ang="0">
                  <a:pos x="14" y="14"/>
                </a:cxn>
                <a:cxn ang="0">
                  <a:pos x="8" y="22"/>
                </a:cxn>
                <a:cxn ang="0">
                  <a:pos x="4" y="30"/>
                </a:cxn>
                <a:cxn ang="0">
                  <a:pos x="0" y="38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2" y="50"/>
                </a:cxn>
                <a:cxn ang="0">
                  <a:pos x="4" y="52"/>
                </a:cxn>
                <a:cxn ang="0">
                  <a:pos x="4" y="52"/>
                </a:cxn>
                <a:cxn ang="0">
                  <a:pos x="6" y="50"/>
                </a:cxn>
                <a:cxn ang="0">
                  <a:pos x="8" y="48"/>
                </a:cxn>
                <a:cxn ang="0">
                  <a:pos x="8" y="48"/>
                </a:cxn>
                <a:cxn ang="0">
                  <a:pos x="8" y="40"/>
                </a:cxn>
                <a:cxn ang="0">
                  <a:pos x="12" y="32"/>
                </a:cxn>
                <a:cxn ang="0">
                  <a:pos x="14" y="26"/>
                </a:cxn>
                <a:cxn ang="0">
                  <a:pos x="20" y="20"/>
                </a:cxn>
                <a:cxn ang="0">
                  <a:pos x="26" y="14"/>
                </a:cxn>
                <a:cxn ang="0">
                  <a:pos x="32" y="12"/>
                </a:cxn>
                <a:cxn ang="0">
                  <a:pos x="40" y="8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50" y="6"/>
                </a:cxn>
                <a:cxn ang="0">
                  <a:pos x="52" y="4"/>
                </a:cxn>
                <a:cxn ang="0">
                  <a:pos x="52" y="4"/>
                </a:cxn>
                <a:cxn ang="0">
                  <a:pos x="50" y="2"/>
                </a:cxn>
                <a:cxn ang="0">
                  <a:pos x="48" y="0"/>
                </a:cxn>
              </a:cxnLst>
              <a:rect l="0" t="0" r="r" b="b"/>
              <a:pathLst>
                <a:path w="52" h="52">
                  <a:moveTo>
                    <a:pt x="48" y="0"/>
                  </a:moveTo>
                  <a:lnTo>
                    <a:pt x="48" y="0"/>
                  </a:lnTo>
                  <a:lnTo>
                    <a:pt x="38" y="0"/>
                  </a:lnTo>
                  <a:lnTo>
                    <a:pt x="30" y="4"/>
                  </a:lnTo>
                  <a:lnTo>
                    <a:pt x="22" y="8"/>
                  </a:lnTo>
                  <a:lnTo>
                    <a:pt x="14" y="14"/>
                  </a:lnTo>
                  <a:lnTo>
                    <a:pt x="8" y="22"/>
                  </a:lnTo>
                  <a:lnTo>
                    <a:pt x="4" y="30"/>
                  </a:lnTo>
                  <a:lnTo>
                    <a:pt x="0" y="3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2" y="50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6" y="50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0"/>
                  </a:lnTo>
                  <a:lnTo>
                    <a:pt x="12" y="32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6" y="14"/>
                  </a:lnTo>
                  <a:lnTo>
                    <a:pt x="32" y="12"/>
                  </a:lnTo>
                  <a:lnTo>
                    <a:pt x="40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0" y="6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0" y="2"/>
                  </a:lnTo>
                  <a:lnTo>
                    <a:pt x="48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</p:grpSp>
      <p:sp>
        <p:nvSpPr>
          <p:cNvPr id="20" name="Freeform 52"/>
          <p:cNvSpPr>
            <a:spLocks noEditPoints="1"/>
          </p:cNvSpPr>
          <p:nvPr/>
        </p:nvSpPr>
        <p:spPr bwMode="auto">
          <a:xfrm>
            <a:off x="1112189" y="4099229"/>
            <a:ext cx="366422" cy="366422"/>
          </a:xfrm>
          <a:custGeom>
            <a:avLst/>
            <a:gdLst/>
            <a:ahLst/>
            <a:cxnLst>
              <a:cxn ang="0">
                <a:pos x="224" y="12"/>
              </a:cxn>
              <a:cxn ang="0">
                <a:pos x="188" y="0"/>
              </a:cxn>
              <a:cxn ang="0">
                <a:pos x="168" y="4"/>
              </a:cxn>
              <a:cxn ang="0">
                <a:pos x="112" y="54"/>
              </a:cxn>
              <a:cxn ang="0">
                <a:pos x="110" y="54"/>
              </a:cxn>
              <a:cxn ang="0">
                <a:pos x="28" y="138"/>
              </a:cxn>
              <a:cxn ang="0">
                <a:pos x="20" y="152"/>
              </a:cxn>
              <a:cxn ang="0">
                <a:pos x="0" y="228"/>
              </a:cxn>
              <a:cxn ang="0">
                <a:pos x="8" y="248"/>
              </a:cxn>
              <a:cxn ang="0">
                <a:pos x="28" y="256"/>
              </a:cxn>
              <a:cxn ang="0">
                <a:pos x="106" y="236"/>
              </a:cxn>
              <a:cxn ang="0">
                <a:pos x="240" y="106"/>
              </a:cxn>
              <a:cxn ang="0">
                <a:pos x="252" y="86"/>
              </a:cxn>
              <a:cxn ang="0">
                <a:pos x="254" y="52"/>
              </a:cxn>
              <a:cxn ang="0">
                <a:pos x="236" y="20"/>
              </a:cxn>
              <a:cxn ang="0">
                <a:pos x="126" y="180"/>
              </a:cxn>
              <a:cxn ang="0">
                <a:pos x="198" y="94"/>
              </a:cxn>
              <a:cxn ang="0">
                <a:pos x="196" y="126"/>
              </a:cxn>
              <a:cxn ang="0">
                <a:pos x="190" y="134"/>
              </a:cxn>
              <a:cxn ang="0">
                <a:pos x="128" y="196"/>
              </a:cxn>
              <a:cxn ang="0">
                <a:pos x="118" y="162"/>
              </a:cxn>
              <a:cxn ang="0">
                <a:pos x="100" y="142"/>
              </a:cxn>
              <a:cxn ang="0">
                <a:pos x="168" y="60"/>
              </a:cxn>
              <a:cxn ang="0">
                <a:pos x="184" y="72"/>
              </a:cxn>
              <a:cxn ang="0">
                <a:pos x="118" y="162"/>
              </a:cxn>
              <a:cxn ang="0">
                <a:pos x="72" y="130"/>
              </a:cxn>
              <a:cxn ang="0">
                <a:pos x="122" y="66"/>
              </a:cxn>
              <a:cxn ang="0">
                <a:pos x="150" y="56"/>
              </a:cxn>
              <a:cxn ang="0">
                <a:pos x="34" y="238"/>
              </a:cxn>
              <a:cxn ang="0">
                <a:pos x="28" y="240"/>
              </a:cxn>
              <a:cxn ang="0">
                <a:pos x="16" y="232"/>
              </a:cxn>
              <a:cxn ang="0">
                <a:pos x="16" y="224"/>
              </a:cxn>
              <a:cxn ang="0">
                <a:pos x="32" y="194"/>
              </a:cxn>
              <a:cxn ang="0">
                <a:pos x="52" y="204"/>
              </a:cxn>
              <a:cxn ang="0">
                <a:pos x="60" y="218"/>
              </a:cxn>
              <a:cxn ang="0">
                <a:pos x="34" y="238"/>
              </a:cxn>
              <a:cxn ang="0">
                <a:pos x="70" y="222"/>
              </a:cxn>
              <a:cxn ang="0">
                <a:pos x="58" y="198"/>
              </a:cxn>
              <a:cxn ang="0">
                <a:pos x="44" y="188"/>
              </a:cxn>
              <a:cxn ang="0">
                <a:pos x="36" y="156"/>
              </a:cxn>
              <a:cxn ang="0">
                <a:pos x="38" y="150"/>
              </a:cxn>
              <a:cxn ang="0">
                <a:pos x="60" y="144"/>
              </a:cxn>
              <a:cxn ang="0">
                <a:pos x="82" y="150"/>
              </a:cxn>
              <a:cxn ang="0">
                <a:pos x="96" y="160"/>
              </a:cxn>
              <a:cxn ang="0">
                <a:pos x="110" y="182"/>
              </a:cxn>
              <a:cxn ang="0">
                <a:pos x="110" y="206"/>
              </a:cxn>
              <a:cxn ang="0">
                <a:pos x="104" y="220"/>
              </a:cxn>
              <a:cxn ang="0">
                <a:pos x="230" y="94"/>
              </a:cxn>
              <a:cxn ang="0">
                <a:pos x="216" y="102"/>
              </a:cxn>
              <a:cxn ang="0">
                <a:pos x="210" y="80"/>
              </a:cxn>
              <a:cxn ang="0">
                <a:pos x="196" y="60"/>
              </a:cxn>
              <a:cxn ang="0">
                <a:pos x="162" y="42"/>
              </a:cxn>
              <a:cxn ang="0">
                <a:pos x="162" y="26"/>
              </a:cxn>
              <a:cxn ang="0">
                <a:pos x="180" y="16"/>
              </a:cxn>
              <a:cxn ang="0">
                <a:pos x="198" y="18"/>
              </a:cxn>
              <a:cxn ang="0">
                <a:pos x="224" y="32"/>
              </a:cxn>
              <a:cxn ang="0">
                <a:pos x="236" y="48"/>
              </a:cxn>
              <a:cxn ang="0">
                <a:pos x="240" y="66"/>
              </a:cxn>
              <a:cxn ang="0">
                <a:pos x="234" y="88"/>
              </a:cxn>
            </a:cxnLst>
            <a:rect l="0" t="0" r="r" b="b"/>
            <a:pathLst>
              <a:path w="256" h="256">
                <a:moveTo>
                  <a:pt x="236" y="20"/>
                </a:moveTo>
                <a:lnTo>
                  <a:pt x="236" y="20"/>
                </a:lnTo>
                <a:lnTo>
                  <a:pt x="224" y="12"/>
                </a:lnTo>
                <a:lnTo>
                  <a:pt x="212" y="6"/>
                </a:lnTo>
                <a:lnTo>
                  <a:pt x="200" y="2"/>
                </a:lnTo>
                <a:lnTo>
                  <a:pt x="188" y="0"/>
                </a:lnTo>
                <a:lnTo>
                  <a:pt x="188" y="0"/>
                </a:lnTo>
                <a:lnTo>
                  <a:pt x="178" y="0"/>
                </a:lnTo>
                <a:lnTo>
                  <a:pt x="168" y="4"/>
                </a:lnTo>
                <a:lnTo>
                  <a:pt x="158" y="8"/>
                </a:lnTo>
                <a:lnTo>
                  <a:pt x="150" y="16"/>
                </a:lnTo>
                <a:lnTo>
                  <a:pt x="112" y="54"/>
                </a:lnTo>
                <a:lnTo>
                  <a:pt x="112" y="54"/>
                </a:lnTo>
                <a:lnTo>
                  <a:pt x="110" y="54"/>
                </a:lnTo>
                <a:lnTo>
                  <a:pt x="110" y="54"/>
                </a:lnTo>
                <a:lnTo>
                  <a:pt x="110" y="54"/>
                </a:lnTo>
                <a:lnTo>
                  <a:pt x="110" y="54"/>
                </a:lnTo>
                <a:lnTo>
                  <a:pt x="28" y="138"/>
                </a:lnTo>
                <a:lnTo>
                  <a:pt x="28" y="138"/>
                </a:lnTo>
                <a:lnTo>
                  <a:pt x="24" y="144"/>
                </a:lnTo>
                <a:lnTo>
                  <a:pt x="20" y="152"/>
                </a:lnTo>
                <a:lnTo>
                  <a:pt x="2" y="220"/>
                </a:lnTo>
                <a:lnTo>
                  <a:pt x="2" y="220"/>
                </a:lnTo>
                <a:lnTo>
                  <a:pt x="0" y="228"/>
                </a:lnTo>
                <a:lnTo>
                  <a:pt x="0" y="228"/>
                </a:lnTo>
                <a:lnTo>
                  <a:pt x="2" y="238"/>
                </a:lnTo>
                <a:lnTo>
                  <a:pt x="8" y="248"/>
                </a:lnTo>
                <a:lnTo>
                  <a:pt x="18" y="254"/>
                </a:lnTo>
                <a:lnTo>
                  <a:pt x="28" y="256"/>
                </a:lnTo>
                <a:lnTo>
                  <a:pt x="28" y="256"/>
                </a:lnTo>
                <a:lnTo>
                  <a:pt x="38" y="254"/>
                </a:lnTo>
                <a:lnTo>
                  <a:pt x="106" y="236"/>
                </a:lnTo>
                <a:lnTo>
                  <a:pt x="106" y="236"/>
                </a:lnTo>
                <a:lnTo>
                  <a:pt x="112" y="234"/>
                </a:lnTo>
                <a:lnTo>
                  <a:pt x="118" y="228"/>
                </a:lnTo>
                <a:lnTo>
                  <a:pt x="240" y="106"/>
                </a:lnTo>
                <a:lnTo>
                  <a:pt x="240" y="106"/>
                </a:lnTo>
                <a:lnTo>
                  <a:pt x="248" y="96"/>
                </a:lnTo>
                <a:lnTo>
                  <a:pt x="252" y="86"/>
                </a:lnTo>
                <a:lnTo>
                  <a:pt x="256" y="76"/>
                </a:lnTo>
                <a:lnTo>
                  <a:pt x="256" y="64"/>
                </a:lnTo>
                <a:lnTo>
                  <a:pt x="254" y="52"/>
                </a:lnTo>
                <a:lnTo>
                  <a:pt x="250" y="42"/>
                </a:lnTo>
                <a:lnTo>
                  <a:pt x="244" y="30"/>
                </a:lnTo>
                <a:lnTo>
                  <a:pt x="236" y="20"/>
                </a:lnTo>
                <a:close/>
                <a:moveTo>
                  <a:pt x="128" y="190"/>
                </a:moveTo>
                <a:lnTo>
                  <a:pt x="128" y="190"/>
                </a:lnTo>
                <a:lnTo>
                  <a:pt x="126" y="180"/>
                </a:lnTo>
                <a:lnTo>
                  <a:pt x="122" y="170"/>
                </a:lnTo>
                <a:lnTo>
                  <a:pt x="198" y="94"/>
                </a:lnTo>
                <a:lnTo>
                  <a:pt x="198" y="94"/>
                </a:lnTo>
                <a:lnTo>
                  <a:pt x="200" y="104"/>
                </a:lnTo>
                <a:lnTo>
                  <a:pt x="200" y="116"/>
                </a:lnTo>
                <a:lnTo>
                  <a:pt x="196" y="126"/>
                </a:lnTo>
                <a:lnTo>
                  <a:pt x="190" y="134"/>
                </a:lnTo>
                <a:lnTo>
                  <a:pt x="190" y="134"/>
                </a:lnTo>
                <a:lnTo>
                  <a:pt x="190" y="134"/>
                </a:lnTo>
                <a:lnTo>
                  <a:pt x="190" y="134"/>
                </a:lnTo>
                <a:lnTo>
                  <a:pt x="128" y="196"/>
                </a:lnTo>
                <a:lnTo>
                  <a:pt x="128" y="196"/>
                </a:lnTo>
                <a:lnTo>
                  <a:pt x="128" y="190"/>
                </a:lnTo>
                <a:close/>
                <a:moveTo>
                  <a:pt x="118" y="162"/>
                </a:moveTo>
                <a:lnTo>
                  <a:pt x="118" y="162"/>
                </a:lnTo>
                <a:lnTo>
                  <a:pt x="108" y="148"/>
                </a:lnTo>
                <a:lnTo>
                  <a:pt x="108" y="148"/>
                </a:lnTo>
                <a:lnTo>
                  <a:pt x="100" y="142"/>
                </a:lnTo>
                <a:lnTo>
                  <a:pt x="92" y="136"/>
                </a:lnTo>
                <a:lnTo>
                  <a:pt x="168" y="60"/>
                </a:lnTo>
                <a:lnTo>
                  <a:pt x="168" y="60"/>
                </a:lnTo>
                <a:lnTo>
                  <a:pt x="176" y="64"/>
                </a:lnTo>
                <a:lnTo>
                  <a:pt x="184" y="72"/>
                </a:lnTo>
                <a:lnTo>
                  <a:pt x="184" y="72"/>
                </a:lnTo>
                <a:lnTo>
                  <a:pt x="190" y="78"/>
                </a:lnTo>
                <a:lnTo>
                  <a:pt x="194" y="86"/>
                </a:lnTo>
                <a:lnTo>
                  <a:pt x="118" y="162"/>
                </a:lnTo>
                <a:close/>
                <a:moveTo>
                  <a:pt x="84" y="132"/>
                </a:moveTo>
                <a:lnTo>
                  <a:pt x="84" y="132"/>
                </a:lnTo>
                <a:lnTo>
                  <a:pt x="72" y="130"/>
                </a:lnTo>
                <a:lnTo>
                  <a:pt x="60" y="128"/>
                </a:lnTo>
                <a:lnTo>
                  <a:pt x="122" y="66"/>
                </a:lnTo>
                <a:lnTo>
                  <a:pt x="122" y="66"/>
                </a:lnTo>
                <a:lnTo>
                  <a:pt x="130" y="60"/>
                </a:lnTo>
                <a:lnTo>
                  <a:pt x="140" y="56"/>
                </a:lnTo>
                <a:lnTo>
                  <a:pt x="150" y="56"/>
                </a:lnTo>
                <a:lnTo>
                  <a:pt x="160" y="58"/>
                </a:lnTo>
                <a:lnTo>
                  <a:pt x="84" y="132"/>
                </a:lnTo>
                <a:close/>
                <a:moveTo>
                  <a:pt x="34" y="238"/>
                </a:moveTo>
                <a:lnTo>
                  <a:pt x="34" y="238"/>
                </a:lnTo>
                <a:lnTo>
                  <a:pt x="28" y="240"/>
                </a:lnTo>
                <a:lnTo>
                  <a:pt x="28" y="240"/>
                </a:lnTo>
                <a:lnTo>
                  <a:pt x="24" y="240"/>
                </a:lnTo>
                <a:lnTo>
                  <a:pt x="20" y="236"/>
                </a:lnTo>
                <a:lnTo>
                  <a:pt x="16" y="232"/>
                </a:lnTo>
                <a:lnTo>
                  <a:pt x="16" y="228"/>
                </a:lnTo>
                <a:lnTo>
                  <a:pt x="16" y="228"/>
                </a:lnTo>
                <a:lnTo>
                  <a:pt x="16" y="224"/>
                </a:lnTo>
                <a:lnTo>
                  <a:pt x="26" y="192"/>
                </a:lnTo>
                <a:lnTo>
                  <a:pt x="26" y="192"/>
                </a:lnTo>
                <a:lnTo>
                  <a:pt x="32" y="194"/>
                </a:lnTo>
                <a:lnTo>
                  <a:pt x="40" y="196"/>
                </a:lnTo>
                <a:lnTo>
                  <a:pt x="46" y="200"/>
                </a:lnTo>
                <a:lnTo>
                  <a:pt x="52" y="204"/>
                </a:lnTo>
                <a:lnTo>
                  <a:pt x="52" y="204"/>
                </a:lnTo>
                <a:lnTo>
                  <a:pt x="58" y="210"/>
                </a:lnTo>
                <a:lnTo>
                  <a:pt x="60" y="218"/>
                </a:lnTo>
                <a:lnTo>
                  <a:pt x="62" y="224"/>
                </a:lnTo>
                <a:lnTo>
                  <a:pt x="64" y="232"/>
                </a:lnTo>
                <a:lnTo>
                  <a:pt x="34" y="238"/>
                </a:lnTo>
                <a:close/>
                <a:moveTo>
                  <a:pt x="70" y="230"/>
                </a:moveTo>
                <a:lnTo>
                  <a:pt x="70" y="230"/>
                </a:lnTo>
                <a:lnTo>
                  <a:pt x="70" y="222"/>
                </a:lnTo>
                <a:lnTo>
                  <a:pt x="68" y="214"/>
                </a:lnTo>
                <a:lnTo>
                  <a:pt x="64" y="206"/>
                </a:lnTo>
                <a:lnTo>
                  <a:pt x="58" y="198"/>
                </a:lnTo>
                <a:lnTo>
                  <a:pt x="58" y="198"/>
                </a:lnTo>
                <a:lnTo>
                  <a:pt x="50" y="192"/>
                </a:lnTo>
                <a:lnTo>
                  <a:pt x="44" y="188"/>
                </a:lnTo>
                <a:lnTo>
                  <a:pt x="36" y="186"/>
                </a:lnTo>
                <a:lnTo>
                  <a:pt x="28" y="184"/>
                </a:lnTo>
                <a:lnTo>
                  <a:pt x="36" y="156"/>
                </a:lnTo>
                <a:lnTo>
                  <a:pt x="36" y="156"/>
                </a:lnTo>
                <a:lnTo>
                  <a:pt x="38" y="150"/>
                </a:lnTo>
                <a:lnTo>
                  <a:pt x="38" y="150"/>
                </a:lnTo>
                <a:lnTo>
                  <a:pt x="44" y="146"/>
                </a:lnTo>
                <a:lnTo>
                  <a:pt x="52" y="144"/>
                </a:lnTo>
                <a:lnTo>
                  <a:pt x="60" y="144"/>
                </a:lnTo>
                <a:lnTo>
                  <a:pt x="68" y="144"/>
                </a:lnTo>
                <a:lnTo>
                  <a:pt x="74" y="146"/>
                </a:lnTo>
                <a:lnTo>
                  <a:pt x="82" y="150"/>
                </a:lnTo>
                <a:lnTo>
                  <a:pt x="90" y="154"/>
                </a:lnTo>
                <a:lnTo>
                  <a:pt x="96" y="160"/>
                </a:lnTo>
                <a:lnTo>
                  <a:pt x="96" y="160"/>
                </a:lnTo>
                <a:lnTo>
                  <a:pt x="102" y="166"/>
                </a:lnTo>
                <a:lnTo>
                  <a:pt x="108" y="174"/>
                </a:lnTo>
                <a:lnTo>
                  <a:pt x="110" y="182"/>
                </a:lnTo>
                <a:lnTo>
                  <a:pt x="112" y="190"/>
                </a:lnTo>
                <a:lnTo>
                  <a:pt x="112" y="198"/>
                </a:lnTo>
                <a:lnTo>
                  <a:pt x="110" y="206"/>
                </a:lnTo>
                <a:lnTo>
                  <a:pt x="108" y="214"/>
                </a:lnTo>
                <a:lnTo>
                  <a:pt x="104" y="220"/>
                </a:lnTo>
                <a:lnTo>
                  <a:pt x="104" y="220"/>
                </a:lnTo>
                <a:lnTo>
                  <a:pt x="100" y="222"/>
                </a:lnTo>
                <a:lnTo>
                  <a:pt x="70" y="230"/>
                </a:lnTo>
                <a:close/>
                <a:moveTo>
                  <a:pt x="230" y="94"/>
                </a:moveTo>
                <a:lnTo>
                  <a:pt x="216" y="108"/>
                </a:lnTo>
                <a:lnTo>
                  <a:pt x="216" y="108"/>
                </a:lnTo>
                <a:lnTo>
                  <a:pt x="216" y="102"/>
                </a:lnTo>
                <a:lnTo>
                  <a:pt x="216" y="102"/>
                </a:lnTo>
                <a:lnTo>
                  <a:pt x="214" y="90"/>
                </a:lnTo>
                <a:lnTo>
                  <a:pt x="210" y="80"/>
                </a:lnTo>
                <a:lnTo>
                  <a:pt x="204" y="70"/>
                </a:lnTo>
                <a:lnTo>
                  <a:pt x="196" y="60"/>
                </a:lnTo>
                <a:lnTo>
                  <a:pt x="196" y="60"/>
                </a:lnTo>
                <a:lnTo>
                  <a:pt x="186" y="52"/>
                </a:lnTo>
                <a:lnTo>
                  <a:pt x="174" y="46"/>
                </a:lnTo>
                <a:lnTo>
                  <a:pt x="162" y="42"/>
                </a:lnTo>
                <a:lnTo>
                  <a:pt x="148" y="40"/>
                </a:lnTo>
                <a:lnTo>
                  <a:pt x="162" y="26"/>
                </a:lnTo>
                <a:lnTo>
                  <a:pt x="162" y="26"/>
                </a:lnTo>
                <a:lnTo>
                  <a:pt x="168" y="22"/>
                </a:lnTo>
                <a:lnTo>
                  <a:pt x="174" y="18"/>
                </a:lnTo>
                <a:lnTo>
                  <a:pt x="180" y="16"/>
                </a:lnTo>
                <a:lnTo>
                  <a:pt x="188" y="16"/>
                </a:lnTo>
                <a:lnTo>
                  <a:pt x="188" y="16"/>
                </a:lnTo>
                <a:lnTo>
                  <a:pt x="198" y="18"/>
                </a:lnTo>
                <a:lnTo>
                  <a:pt x="206" y="20"/>
                </a:lnTo>
                <a:lnTo>
                  <a:pt x="216" y="26"/>
                </a:lnTo>
                <a:lnTo>
                  <a:pt x="224" y="32"/>
                </a:lnTo>
                <a:lnTo>
                  <a:pt x="224" y="32"/>
                </a:lnTo>
                <a:lnTo>
                  <a:pt x="230" y="40"/>
                </a:lnTo>
                <a:lnTo>
                  <a:pt x="236" y="48"/>
                </a:lnTo>
                <a:lnTo>
                  <a:pt x="238" y="56"/>
                </a:lnTo>
                <a:lnTo>
                  <a:pt x="240" y="66"/>
                </a:lnTo>
                <a:lnTo>
                  <a:pt x="240" y="66"/>
                </a:lnTo>
                <a:lnTo>
                  <a:pt x="240" y="74"/>
                </a:lnTo>
                <a:lnTo>
                  <a:pt x="238" y="82"/>
                </a:lnTo>
                <a:lnTo>
                  <a:pt x="234" y="88"/>
                </a:lnTo>
                <a:lnTo>
                  <a:pt x="230" y="94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/>
          </a:p>
        </p:txBody>
      </p:sp>
      <p:grpSp>
        <p:nvGrpSpPr>
          <p:cNvPr id="21" name="Group 20"/>
          <p:cNvGrpSpPr/>
          <p:nvPr/>
        </p:nvGrpSpPr>
        <p:grpSpPr>
          <a:xfrm>
            <a:off x="1113065" y="5154205"/>
            <a:ext cx="364671" cy="364671"/>
            <a:chOff x="3149600" y="2774950"/>
            <a:chExt cx="406400" cy="406400"/>
          </a:xfrm>
          <a:solidFill>
            <a:schemeClr val="bg2"/>
          </a:solidFill>
        </p:grpSpPr>
        <p:sp>
          <p:nvSpPr>
            <p:cNvPr id="22" name="Freeform 110"/>
            <p:cNvSpPr>
              <a:spLocks noEditPoints="1"/>
            </p:cNvSpPr>
            <p:nvPr/>
          </p:nvSpPr>
          <p:spPr bwMode="auto">
            <a:xfrm>
              <a:off x="3327400" y="2978150"/>
              <a:ext cx="63500" cy="63500"/>
            </a:xfrm>
            <a:custGeom>
              <a:avLst/>
              <a:gdLst/>
              <a:ahLst/>
              <a:cxnLst>
                <a:cxn ang="0">
                  <a:pos x="20" y="40"/>
                </a:cxn>
                <a:cxn ang="0">
                  <a:pos x="20" y="40"/>
                </a:cxn>
                <a:cxn ang="0">
                  <a:pos x="28" y="38"/>
                </a:cxn>
                <a:cxn ang="0">
                  <a:pos x="34" y="34"/>
                </a:cxn>
                <a:cxn ang="0">
                  <a:pos x="38" y="28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38" y="12"/>
                </a:cxn>
                <a:cxn ang="0">
                  <a:pos x="34" y="6"/>
                </a:cxn>
                <a:cxn ang="0">
                  <a:pos x="28" y="2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12" y="2"/>
                </a:cxn>
                <a:cxn ang="0">
                  <a:pos x="6" y="6"/>
                </a:cxn>
                <a:cxn ang="0">
                  <a:pos x="2" y="12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2" y="28"/>
                </a:cxn>
                <a:cxn ang="0">
                  <a:pos x="6" y="34"/>
                </a:cxn>
                <a:cxn ang="0">
                  <a:pos x="12" y="38"/>
                </a:cxn>
                <a:cxn ang="0">
                  <a:pos x="20" y="40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8" y="12"/>
                </a:cxn>
                <a:cxn ang="0">
                  <a:pos x="32" y="16"/>
                </a:cxn>
                <a:cxn ang="0">
                  <a:pos x="32" y="20"/>
                </a:cxn>
                <a:cxn ang="0">
                  <a:pos x="32" y="20"/>
                </a:cxn>
                <a:cxn ang="0">
                  <a:pos x="32" y="24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2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12" y="12"/>
                </a:cxn>
                <a:cxn ang="0">
                  <a:pos x="16" y="8"/>
                </a:cxn>
                <a:cxn ang="0">
                  <a:pos x="20" y="8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lnTo>
                    <a:pt x="20" y="40"/>
                  </a:lnTo>
                  <a:lnTo>
                    <a:pt x="28" y="38"/>
                  </a:lnTo>
                  <a:lnTo>
                    <a:pt x="34" y="34"/>
                  </a:lnTo>
                  <a:lnTo>
                    <a:pt x="38" y="28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8" y="12"/>
                  </a:lnTo>
                  <a:lnTo>
                    <a:pt x="34" y="6"/>
                  </a:lnTo>
                  <a:lnTo>
                    <a:pt x="28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2" y="2"/>
                  </a:lnTo>
                  <a:lnTo>
                    <a:pt x="6" y="6"/>
                  </a:lnTo>
                  <a:lnTo>
                    <a:pt x="2" y="1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2" y="28"/>
                  </a:lnTo>
                  <a:lnTo>
                    <a:pt x="6" y="34"/>
                  </a:lnTo>
                  <a:lnTo>
                    <a:pt x="12" y="38"/>
                  </a:lnTo>
                  <a:lnTo>
                    <a:pt x="20" y="40"/>
                  </a:lnTo>
                  <a:close/>
                  <a:moveTo>
                    <a:pt x="20" y="8"/>
                  </a:moveTo>
                  <a:lnTo>
                    <a:pt x="20" y="8"/>
                  </a:lnTo>
                  <a:lnTo>
                    <a:pt x="24" y="8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28" y="28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2" y="28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2"/>
                  </a:lnTo>
                  <a:lnTo>
                    <a:pt x="16" y="8"/>
                  </a:lnTo>
                  <a:lnTo>
                    <a:pt x="20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23" name="Freeform 113"/>
            <p:cNvSpPr>
              <a:spLocks noEditPoints="1"/>
            </p:cNvSpPr>
            <p:nvPr/>
          </p:nvSpPr>
          <p:spPr bwMode="auto">
            <a:xfrm>
              <a:off x="3492500" y="2774950"/>
              <a:ext cx="63500" cy="6350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20" y="0"/>
                </a:cxn>
                <a:cxn ang="0">
                  <a:pos x="12" y="2"/>
                </a:cxn>
                <a:cxn ang="0">
                  <a:pos x="6" y="6"/>
                </a:cxn>
                <a:cxn ang="0">
                  <a:pos x="2" y="12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2" y="28"/>
                </a:cxn>
                <a:cxn ang="0">
                  <a:pos x="6" y="34"/>
                </a:cxn>
                <a:cxn ang="0">
                  <a:pos x="12" y="38"/>
                </a:cxn>
                <a:cxn ang="0">
                  <a:pos x="20" y="40"/>
                </a:cxn>
                <a:cxn ang="0">
                  <a:pos x="20" y="40"/>
                </a:cxn>
                <a:cxn ang="0">
                  <a:pos x="28" y="38"/>
                </a:cxn>
                <a:cxn ang="0">
                  <a:pos x="34" y="34"/>
                </a:cxn>
                <a:cxn ang="0">
                  <a:pos x="38" y="28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38" y="12"/>
                </a:cxn>
                <a:cxn ang="0">
                  <a:pos x="34" y="6"/>
                </a:cxn>
                <a:cxn ang="0">
                  <a:pos x="28" y="2"/>
                </a:cxn>
                <a:cxn ang="0">
                  <a:pos x="20" y="0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2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12" y="12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8" y="12"/>
                </a:cxn>
                <a:cxn ang="0">
                  <a:pos x="32" y="16"/>
                </a:cxn>
                <a:cxn ang="0">
                  <a:pos x="32" y="20"/>
                </a:cxn>
                <a:cxn ang="0">
                  <a:pos x="32" y="20"/>
                </a:cxn>
                <a:cxn ang="0">
                  <a:pos x="32" y="24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20" y="32"/>
                </a:cxn>
              </a:cxnLst>
              <a:rect l="0" t="0" r="r" b="b"/>
              <a:pathLst>
                <a:path w="40" h="40">
                  <a:moveTo>
                    <a:pt x="20" y="0"/>
                  </a:moveTo>
                  <a:lnTo>
                    <a:pt x="20" y="0"/>
                  </a:lnTo>
                  <a:lnTo>
                    <a:pt x="12" y="2"/>
                  </a:lnTo>
                  <a:lnTo>
                    <a:pt x="6" y="6"/>
                  </a:lnTo>
                  <a:lnTo>
                    <a:pt x="2" y="1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2" y="28"/>
                  </a:lnTo>
                  <a:lnTo>
                    <a:pt x="6" y="34"/>
                  </a:lnTo>
                  <a:lnTo>
                    <a:pt x="12" y="38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8" y="38"/>
                  </a:lnTo>
                  <a:lnTo>
                    <a:pt x="34" y="34"/>
                  </a:lnTo>
                  <a:lnTo>
                    <a:pt x="38" y="28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8" y="12"/>
                  </a:lnTo>
                  <a:lnTo>
                    <a:pt x="34" y="6"/>
                  </a:lnTo>
                  <a:lnTo>
                    <a:pt x="28" y="2"/>
                  </a:lnTo>
                  <a:lnTo>
                    <a:pt x="20" y="0"/>
                  </a:lnTo>
                  <a:close/>
                  <a:moveTo>
                    <a:pt x="20" y="32"/>
                  </a:moveTo>
                  <a:lnTo>
                    <a:pt x="20" y="32"/>
                  </a:lnTo>
                  <a:lnTo>
                    <a:pt x="16" y="32"/>
                  </a:lnTo>
                  <a:lnTo>
                    <a:pt x="12" y="28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2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28" y="28"/>
                  </a:lnTo>
                  <a:lnTo>
                    <a:pt x="24" y="32"/>
                  </a:lnTo>
                  <a:lnTo>
                    <a:pt x="20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24" name="Freeform 116"/>
            <p:cNvSpPr>
              <a:spLocks noEditPoints="1"/>
            </p:cNvSpPr>
            <p:nvPr/>
          </p:nvSpPr>
          <p:spPr bwMode="auto">
            <a:xfrm>
              <a:off x="3251200" y="2965450"/>
              <a:ext cx="50800" cy="50800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0" y="16"/>
                </a:cxn>
                <a:cxn ang="0">
                  <a:pos x="2" y="22"/>
                </a:cxn>
                <a:cxn ang="0">
                  <a:pos x="4" y="28"/>
                </a:cxn>
                <a:cxn ang="0">
                  <a:pos x="10" y="30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22" y="30"/>
                </a:cxn>
                <a:cxn ang="0">
                  <a:pos x="28" y="28"/>
                </a:cxn>
                <a:cxn ang="0">
                  <a:pos x="30" y="22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30" y="10"/>
                </a:cxn>
                <a:cxn ang="0">
                  <a:pos x="28" y="4"/>
                </a:cxn>
                <a:cxn ang="0">
                  <a:pos x="22" y="2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0" y="2"/>
                </a:cxn>
                <a:cxn ang="0">
                  <a:pos x="4" y="4"/>
                </a:cxn>
                <a:cxn ang="0">
                  <a:pos x="2" y="10"/>
                </a:cxn>
                <a:cxn ang="0">
                  <a:pos x="0" y="16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2" y="10"/>
                </a:cxn>
                <a:cxn ang="0">
                  <a:pos x="24" y="12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4" y="20"/>
                </a:cxn>
                <a:cxn ang="0">
                  <a:pos x="22" y="22"/>
                </a:cxn>
                <a:cxn ang="0">
                  <a:pos x="20" y="24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2" y="24"/>
                </a:cxn>
                <a:cxn ang="0">
                  <a:pos x="10" y="22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6" y="8"/>
                </a:cxn>
              </a:cxnLst>
              <a:rect l="0" t="0" r="r" b="b"/>
              <a:pathLst>
                <a:path w="32" h="32">
                  <a:moveTo>
                    <a:pt x="0" y="16"/>
                  </a:moveTo>
                  <a:lnTo>
                    <a:pt x="0" y="16"/>
                  </a:lnTo>
                  <a:lnTo>
                    <a:pt x="2" y="22"/>
                  </a:lnTo>
                  <a:lnTo>
                    <a:pt x="4" y="28"/>
                  </a:lnTo>
                  <a:lnTo>
                    <a:pt x="10" y="30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22" y="30"/>
                  </a:lnTo>
                  <a:lnTo>
                    <a:pt x="28" y="28"/>
                  </a:lnTo>
                  <a:lnTo>
                    <a:pt x="30" y="2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6"/>
                  </a:lnTo>
                  <a:close/>
                  <a:moveTo>
                    <a:pt x="16" y="8"/>
                  </a:moveTo>
                  <a:lnTo>
                    <a:pt x="16" y="8"/>
                  </a:lnTo>
                  <a:lnTo>
                    <a:pt x="20" y="8"/>
                  </a:lnTo>
                  <a:lnTo>
                    <a:pt x="22" y="10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2" y="22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0" y="22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6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25" name="Freeform 119"/>
            <p:cNvSpPr>
              <a:spLocks/>
            </p:cNvSpPr>
            <p:nvPr/>
          </p:nvSpPr>
          <p:spPr bwMode="auto">
            <a:xfrm>
              <a:off x="3302000" y="3054350"/>
              <a:ext cx="25400" cy="25400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8" y="16"/>
                </a:cxn>
                <a:cxn ang="0">
                  <a:pos x="12" y="16"/>
                </a:cxn>
                <a:cxn ang="0">
                  <a:pos x="14" y="14"/>
                </a:cxn>
                <a:cxn ang="0">
                  <a:pos x="16" y="12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14" y="2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8" y="16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lnTo>
                    <a:pt x="8" y="16"/>
                  </a:lnTo>
                  <a:lnTo>
                    <a:pt x="12" y="16"/>
                  </a:lnTo>
                  <a:lnTo>
                    <a:pt x="14" y="14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26" name="Freeform 121"/>
            <p:cNvSpPr>
              <a:spLocks/>
            </p:cNvSpPr>
            <p:nvPr/>
          </p:nvSpPr>
          <p:spPr bwMode="auto">
            <a:xfrm>
              <a:off x="3505200" y="2863850"/>
              <a:ext cx="25400" cy="2540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12" y="16"/>
                </a:cxn>
                <a:cxn ang="0">
                  <a:pos x="14" y="14"/>
                </a:cxn>
                <a:cxn ang="0">
                  <a:pos x="16" y="12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14" y="2"/>
                </a:cxn>
                <a:cxn ang="0">
                  <a:pos x="12" y="0"/>
                </a:cxn>
                <a:cxn ang="0">
                  <a:pos x="8" y="0"/>
                </a:cxn>
              </a:cxnLst>
              <a:rect l="0" t="0" r="r" b="b"/>
              <a:pathLst>
                <a:path w="16" h="16">
                  <a:moveTo>
                    <a:pt x="8" y="0"/>
                  </a:move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4" y="14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27" name="Freeform 106"/>
            <p:cNvSpPr>
              <a:spLocks noEditPoints="1"/>
            </p:cNvSpPr>
            <p:nvPr/>
          </p:nvSpPr>
          <p:spPr bwMode="auto">
            <a:xfrm>
              <a:off x="3149600" y="2813050"/>
              <a:ext cx="371475" cy="368300"/>
            </a:xfrm>
            <a:custGeom>
              <a:avLst/>
              <a:gdLst/>
              <a:ahLst/>
              <a:cxnLst>
                <a:cxn ang="0">
                  <a:pos x="166" y="6"/>
                </a:cxn>
                <a:cxn ang="0">
                  <a:pos x="152" y="0"/>
                </a:cxn>
                <a:cxn ang="0">
                  <a:pos x="144" y="2"/>
                </a:cxn>
                <a:cxn ang="0">
                  <a:pos x="126" y="18"/>
                </a:cxn>
                <a:cxn ang="0">
                  <a:pos x="122" y="24"/>
                </a:cxn>
                <a:cxn ang="0">
                  <a:pos x="120" y="32"/>
                </a:cxn>
                <a:cxn ang="0">
                  <a:pos x="122" y="42"/>
                </a:cxn>
                <a:cxn ang="0">
                  <a:pos x="14" y="86"/>
                </a:cxn>
                <a:cxn ang="0">
                  <a:pos x="6" y="92"/>
                </a:cxn>
                <a:cxn ang="0">
                  <a:pos x="0" y="102"/>
                </a:cxn>
                <a:cxn ang="0">
                  <a:pos x="0" y="108"/>
                </a:cxn>
                <a:cxn ang="0">
                  <a:pos x="4" y="120"/>
                </a:cxn>
                <a:cxn ang="0">
                  <a:pos x="108" y="224"/>
                </a:cxn>
                <a:cxn ang="0">
                  <a:pos x="116" y="230"/>
                </a:cxn>
                <a:cxn ang="0">
                  <a:pos x="126" y="232"/>
                </a:cxn>
                <a:cxn ang="0">
                  <a:pos x="126" y="232"/>
                </a:cxn>
                <a:cxn ang="0">
                  <a:pos x="130" y="232"/>
                </a:cxn>
                <a:cxn ang="0">
                  <a:pos x="142" y="226"/>
                </a:cxn>
                <a:cxn ang="0">
                  <a:pos x="148" y="216"/>
                </a:cxn>
                <a:cxn ang="0">
                  <a:pos x="190" y="110"/>
                </a:cxn>
                <a:cxn ang="0">
                  <a:pos x="202" y="114"/>
                </a:cxn>
                <a:cxn ang="0">
                  <a:pos x="210" y="112"/>
                </a:cxn>
                <a:cxn ang="0">
                  <a:pos x="228" y="96"/>
                </a:cxn>
                <a:cxn ang="0">
                  <a:pos x="232" y="90"/>
                </a:cxn>
                <a:cxn ang="0">
                  <a:pos x="234" y="82"/>
                </a:cxn>
                <a:cxn ang="0">
                  <a:pos x="228" y="68"/>
                </a:cxn>
                <a:cxn ang="0">
                  <a:pos x="134" y="210"/>
                </a:cxn>
                <a:cxn ang="0">
                  <a:pos x="130" y="214"/>
                </a:cxn>
                <a:cxn ang="0">
                  <a:pos x="128" y="216"/>
                </a:cxn>
                <a:cxn ang="0">
                  <a:pos x="126" y="216"/>
                </a:cxn>
                <a:cxn ang="0">
                  <a:pos x="18" y="112"/>
                </a:cxn>
                <a:cxn ang="0">
                  <a:pos x="16" y="110"/>
                </a:cxn>
                <a:cxn ang="0">
                  <a:pos x="16" y="106"/>
                </a:cxn>
                <a:cxn ang="0">
                  <a:pos x="20" y="100"/>
                </a:cxn>
                <a:cxn ang="0">
                  <a:pos x="70" y="80"/>
                </a:cxn>
                <a:cxn ang="0">
                  <a:pos x="96" y="86"/>
                </a:cxn>
                <a:cxn ang="0">
                  <a:pos x="134" y="92"/>
                </a:cxn>
                <a:cxn ang="0">
                  <a:pos x="158" y="104"/>
                </a:cxn>
                <a:cxn ang="0">
                  <a:pos x="134" y="210"/>
                </a:cxn>
                <a:cxn ang="0">
                  <a:pos x="204" y="96"/>
                </a:cxn>
                <a:cxn ang="0">
                  <a:pos x="202" y="98"/>
                </a:cxn>
                <a:cxn ang="0">
                  <a:pos x="184" y="82"/>
                </a:cxn>
                <a:cxn ang="0">
                  <a:pos x="174" y="108"/>
                </a:cxn>
                <a:cxn ang="0">
                  <a:pos x="166" y="100"/>
                </a:cxn>
                <a:cxn ang="0">
                  <a:pos x="138" y="86"/>
                </a:cxn>
                <a:cxn ang="0">
                  <a:pos x="104" y="78"/>
                </a:cxn>
                <a:cxn ang="0">
                  <a:pos x="82" y="76"/>
                </a:cxn>
                <a:cxn ang="0">
                  <a:pos x="138" y="34"/>
                </a:cxn>
                <a:cxn ang="0">
                  <a:pos x="136" y="32"/>
                </a:cxn>
                <a:cxn ang="0">
                  <a:pos x="148" y="18"/>
                </a:cxn>
                <a:cxn ang="0">
                  <a:pos x="152" y="16"/>
                </a:cxn>
                <a:cxn ang="0">
                  <a:pos x="216" y="78"/>
                </a:cxn>
                <a:cxn ang="0">
                  <a:pos x="218" y="82"/>
                </a:cxn>
              </a:cxnLst>
              <a:rect l="0" t="0" r="r" b="b"/>
              <a:pathLst>
                <a:path w="234" h="232">
                  <a:moveTo>
                    <a:pt x="166" y="6"/>
                  </a:moveTo>
                  <a:lnTo>
                    <a:pt x="166" y="6"/>
                  </a:lnTo>
                  <a:lnTo>
                    <a:pt x="158" y="2"/>
                  </a:lnTo>
                  <a:lnTo>
                    <a:pt x="152" y="0"/>
                  </a:lnTo>
                  <a:lnTo>
                    <a:pt x="152" y="0"/>
                  </a:lnTo>
                  <a:lnTo>
                    <a:pt x="144" y="2"/>
                  </a:lnTo>
                  <a:lnTo>
                    <a:pt x="138" y="6"/>
                  </a:lnTo>
                  <a:lnTo>
                    <a:pt x="126" y="18"/>
                  </a:lnTo>
                  <a:lnTo>
                    <a:pt x="126" y="18"/>
                  </a:lnTo>
                  <a:lnTo>
                    <a:pt x="122" y="24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6"/>
                  </a:lnTo>
                  <a:lnTo>
                    <a:pt x="122" y="42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0" y="88"/>
                  </a:lnTo>
                  <a:lnTo>
                    <a:pt x="6" y="92"/>
                  </a:lnTo>
                  <a:lnTo>
                    <a:pt x="2" y="98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108"/>
                  </a:lnTo>
                  <a:lnTo>
                    <a:pt x="2" y="114"/>
                  </a:lnTo>
                  <a:lnTo>
                    <a:pt x="4" y="120"/>
                  </a:lnTo>
                  <a:lnTo>
                    <a:pt x="8" y="124"/>
                  </a:lnTo>
                  <a:lnTo>
                    <a:pt x="108" y="224"/>
                  </a:lnTo>
                  <a:lnTo>
                    <a:pt x="108" y="224"/>
                  </a:lnTo>
                  <a:lnTo>
                    <a:pt x="116" y="230"/>
                  </a:lnTo>
                  <a:lnTo>
                    <a:pt x="126" y="232"/>
                  </a:lnTo>
                  <a:lnTo>
                    <a:pt x="126" y="232"/>
                  </a:lnTo>
                  <a:lnTo>
                    <a:pt x="126" y="232"/>
                  </a:lnTo>
                  <a:lnTo>
                    <a:pt x="126" y="232"/>
                  </a:lnTo>
                  <a:lnTo>
                    <a:pt x="130" y="232"/>
                  </a:lnTo>
                  <a:lnTo>
                    <a:pt x="130" y="232"/>
                  </a:lnTo>
                  <a:lnTo>
                    <a:pt x="136" y="230"/>
                  </a:lnTo>
                  <a:lnTo>
                    <a:pt x="142" y="226"/>
                  </a:lnTo>
                  <a:lnTo>
                    <a:pt x="146" y="222"/>
                  </a:lnTo>
                  <a:lnTo>
                    <a:pt x="148" y="216"/>
                  </a:lnTo>
                  <a:lnTo>
                    <a:pt x="190" y="110"/>
                  </a:lnTo>
                  <a:lnTo>
                    <a:pt x="190" y="110"/>
                  </a:lnTo>
                  <a:lnTo>
                    <a:pt x="196" y="112"/>
                  </a:lnTo>
                  <a:lnTo>
                    <a:pt x="202" y="114"/>
                  </a:lnTo>
                  <a:lnTo>
                    <a:pt x="202" y="114"/>
                  </a:lnTo>
                  <a:lnTo>
                    <a:pt x="210" y="112"/>
                  </a:lnTo>
                  <a:lnTo>
                    <a:pt x="216" y="108"/>
                  </a:lnTo>
                  <a:lnTo>
                    <a:pt x="228" y="96"/>
                  </a:lnTo>
                  <a:lnTo>
                    <a:pt x="228" y="96"/>
                  </a:lnTo>
                  <a:lnTo>
                    <a:pt x="232" y="90"/>
                  </a:lnTo>
                  <a:lnTo>
                    <a:pt x="234" y="82"/>
                  </a:lnTo>
                  <a:lnTo>
                    <a:pt x="234" y="82"/>
                  </a:lnTo>
                  <a:lnTo>
                    <a:pt x="232" y="74"/>
                  </a:lnTo>
                  <a:lnTo>
                    <a:pt x="228" y="68"/>
                  </a:lnTo>
                  <a:lnTo>
                    <a:pt x="166" y="6"/>
                  </a:lnTo>
                  <a:close/>
                  <a:moveTo>
                    <a:pt x="134" y="210"/>
                  </a:moveTo>
                  <a:lnTo>
                    <a:pt x="134" y="210"/>
                  </a:lnTo>
                  <a:lnTo>
                    <a:pt x="130" y="214"/>
                  </a:lnTo>
                  <a:lnTo>
                    <a:pt x="128" y="216"/>
                  </a:lnTo>
                  <a:lnTo>
                    <a:pt x="128" y="216"/>
                  </a:lnTo>
                  <a:lnTo>
                    <a:pt x="126" y="216"/>
                  </a:lnTo>
                  <a:lnTo>
                    <a:pt x="126" y="216"/>
                  </a:lnTo>
                  <a:lnTo>
                    <a:pt x="120" y="214"/>
                  </a:lnTo>
                  <a:lnTo>
                    <a:pt x="18" y="112"/>
                  </a:lnTo>
                  <a:lnTo>
                    <a:pt x="18" y="112"/>
                  </a:lnTo>
                  <a:lnTo>
                    <a:pt x="16" y="110"/>
                  </a:lnTo>
                  <a:lnTo>
                    <a:pt x="16" y="106"/>
                  </a:lnTo>
                  <a:lnTo>
                    <a:pt x="16" y="106"/>
                  </a:lnTo>
                  <a:lnTo>
                    <a:pt x="18" y="102"/>
                  </a:lnTo>
                  <a:lnTo>
                    <a:pt x="20" y="10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84" y="84"/>
                  </a:lnTo>
                  <a:lnTo>
                    <a:pt x="96" y="86"/>
                  </a:lnTo>
                  <a:lnTo>
                    <a:pt x="120" y="88"/>
                  </a:lnTo>
                  <a:lnTo>
                    <a:pt x="134" y="92"/>
                  </a:lnTo>
                  <a:lnTo>
                    <a:pt x="146" y="98"/>
                  </a:lnTo>
                  <a:lnTo>
                    <a:pt x="158" y="104"/>
                  </a:lnTo>
                  <a:lnTo>
                    <a:pt x="172" y="116"/>
                  </a:lnTo>
                  <a:lnTo>
                    <a:pt x="134" y="210"/>
                  </a:lnTo>
                  <a:close/>
                  <a:moveTo>
                    <a:pt x="216" y="84"/>
                  </a:moveTo>
                  <a:lnTo>
                    <a:pt x="204" y="96"/>
                  </a:lnTo>
                  <a:lnTo>
                    <a:pt x="204" y="96"/>
                  </a:lnTo>
                  <a:lnTo>
                    <a:pt x="202" y="98"/>
                  </a:lnTo>
                  <a:lnTo>
                    <a:pt x="198" y="96"/>
                  </a:lnTo>
                  <a:lnTo>
                    <a:pt x="184" y="82"/>
                  </a:lnTo>
                  <a:lnTo>
                    <a:pt x="174" y="110"/>
                  </a:lnTo>
                  <a:lnTo>
                    <a:pt x="174" y="108"/>
                  </a:lnTo>
                  <a:lnTo>
                    <a:pt x="174" y="108"/>
                  </a:lnTo>
                  <a:lnTo>
                    <a:pt x="166" y="100"/>
                  </a:lnTo>
                  <a:lnTo>
                    <a:pt x="156" y="94"/>
                  </a:lnTo>
                  <a:lnTo>
                    <a:pt x="138" y="86"/>
                  </a:lnTo>
                  <a:lnTo>
                    <a:pt x="120" y="80"/>
                  </a:lnTo>
                  <a:lnTo>
                    <a:pt x="104" y="78"/>
                  </a:lnTo>
                  <a:lnTo>
                    <a:pt x="104" y="78"/>
                  </a:lnTo>
                  <a:lnTo>
                    <a:pt x="82" y="76"/>
                  </a:lnTo>
                  <a:lnTo>
                    <a:pt x="150" y="48"/>
                  </a:lnTo>
                  <a:lnTo>
                    <a:pt x="138" y="34"/>
                  </a:lnTo>
                  <a:lnTo>
                    <a:pt x="138" y="34"/>
                  </a:lnTo>
                  <a:lnTo>
                    <a:pt x="136" y="32"/>
                  </a:lnTo>
                  <a:lnTo>
                    <a:pt x="138" y="28"/>
                  </a:lnTo>
                  <a:lnTo>
                    <a:pt x="148" y="18"/>
                  </a:lnTo>
                  <a:lnTo>
                    <a:pt x="148" y="18"/>
                  </a:lnTo>
                  <a:lnTo>
                    <a:pt x="152" y="16"/>
                  </a:lnTo>
                  <a:lnTo>
                    <a:pt x="154" y="18"/>
                  </a:lnTo>
                  <a:lnTo>
                    <a:pt x="216" y="78"/>
                  </a:lnTo>
                  <a:lnTo>
                    <a:pt x="216" y="78"/>
                  </a:lnTo>
                  <a:lnTo>
                    <a:pt x="218" y="82"/>
                  </a:lnTo>
                  <a:lnTo>
                    <a:pt x="216" y="8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</p:grpSp>
      <p:sp>
        <p:nvSpPr>
          <p:cNvPr id="30" name="Rectangle 29"/>
          <p:cNvSpPr/>
          <p:nvPr/>
        </p:nvSpPr>
        <p:spPr>
          <a:xfrm>
            <a:off x="2026199" y="1839533"/>
            <a:ext cx="3658713" cy="6694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</a:pPr>
            <a:r>
              <a:rPr lang="en-US" sz="1000">
                <a:solidFill>
                  <a:srgbClr val="063853"/>
                </a:solidFill>
                <a:latin typeface="Montserrat" panose="00000500000000000000" pitchFamily="50" charset="0"/>
                <a:ea typeface="Roboto Light" panose="02000000000000000000" pitchFamily="2" charset="0"/>
              </a:rPr>
              <a:t>Completely unleash frictionless opportunities for interactive technology. Continually conceptualize strategic technology and vertical total linkage. </a:t>
            </a:r>
          </a:p>
        </p:txBody>
      </p:sp>
      <p:sp>
        <p:nvSpPr>
          <p:cNvPr id="31" name="Rectangle 30"/>
          <p:cNvSpPr/>
          <p:nvPr/>
        </p:nvSpPr>
        <p:spPr>
          <a:xfrm>
            <a:off x="2026198" y="2893633"/>
            <a:ext cx="3658713" cy="6694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</a:pPr>
            <a:r>
              <a:rPr lang="en-US" sz="1000">
                <a:solidFill>
                  <a:srgbClr val="063853"/>
                </a:solidFill>
                <a:latin typeface="Montserrat" panose="00000500000000000000" pitchFamily="50" charset="0"/>
                <a:ea typeface="Roboto Light" panose="02000000000000000000" pitchFamily="2" charset="0"/>
              </a:rPr>
              <a:t>Completely unleash frictionless opportunities for interactive technology. Continually conceptualize strategic technology and vertical total linkage. </a:t>
            </a:r>
          </a:p>
        </p:txBody>
      </p:sp>
      <p:sp>
        <p:nvSpPr>
          <p:cNvPr id="32" name="Rectangle 31"/>
          <p:cNvSpPr/>
          <p:nvPr/>
        </p:nvSpPr>
        <p:spPr>
          <a:xfrm>
            <a:off x="2026197" y="3947733"/>
            <a:ext cx="3658713" cy="6694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</a:pPr>
            <a:r>
              <a:rPr lang="en-US" sz="1000">
                <a:solidFill>
                  <a:srgbClr val="063853"/>
                </a:solidFill>
                <a:latin typeface="Montserrat" panose="00000500000000000000" pitchFamily="50" charset="0"/>
                <a:ea typeface="Roboto Light" panose="02000000000000000000" pitchFamily="2" charset="0"/>
              </a:rPr>
              <a:t>Completely unleash frictionless opportunities for interactive technology. Continually conceptualize strategic technology and vertical total linkage. </a:t>
            </a:r>
          </a:p>
        </p:txBody>
      </p:sp>
      <p:sp>
        <p:nvSpPr>
          <p:cNvPr id="33" name="Rectangle 32"/>
          <p:cNvSpPr/>
          <p:nvPr/>
        </p:nvSpPr>
        <p:spPr>
          <a:xfrm>
            <a:off x="2026196" y="5037905"/>
            <a:ext cx="3658713" cy="6694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</a:pPr>
            <a:r>
              <a:rPr lang="en-US" sz="1000">
                <a:solidFill>
                  <a:srgbClr val="063853"/>
                </a:solidFill>
                <a:latin typeface="Montserrat" panose="00000500000000000000" pitchFamily="50" charset="0"/>
                <a:ea typeface="Roboto Light" panose="02000000000000000000" pitchFamily="2" charset="0"/>
              </a:rPr>
              <a:t>Completely unleash frictionless opportunities for interactive technology. Continually conceptualize strategic technology and vertical total linkage. 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A7D2859-3CAF-337F-5E67-ADDACDBC684E}"/>
              </a:ext>
            </a:extLst>
          </p:cNvPr>
          <p:cNvSpPr/>
          <p:nvPr/>
        </p:nvSpPr>
        <p:spPr>
          <a:xfrm>
            <a:off x="6596589" y="1717040"/>
            <a:ext cx="914400" cy="914400"/>
          </a:xfrm>
          <a:prstGeom prst="ellipse">
            <a:avLst/>
          </a:prstGeom>
          <a:solidFill>
            <a:srgbClr val="0E7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DC0D4EB-43FD-0EDC-781F-57C7CDD59B55}"/>
              </a:ext>
            </a:extLst>
          </p:cNvPr>
          <p:cNvGrpSpPr/>
          <p:nvPr/>
        </p:nvGrpSpPr>
        <p:grpSpPr>
          <a:xfrm>
            <a:off x="6870188" y="1990639"/>
            <a:ext cx="367203" cy="367203"/>
            <a:chOff x="5588000" y="1962150"/>
            <a:chExt cx="406400" cy="406400"/>
          </a:xfrm>
          <a:solidFill>
            <a:schemeClr val="bg2"/>
          </a:solidFill>
        </p:grpSpPr>
        <p:sp>
          <p:nvSpPr>
            <p:cNvPr id="29" name="Freeform 106">
              <a:extLst>
                <a:ext uri="{FF2B5EF4-FFF2-40B4-BE49-F238E27FC236}">
                  <a16:creationId xmlns:a16="http://schemas.microsoft.com/office/drawing/2014/main" id="{B1E0DB90-E21D-609E-4B7A-2200FBE1E5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88000" y="1962150"/>
              <a:ext cx="406400" cy="406400"/>
            </a:xfrm>
            <a:custGeom>
              <a:avLst/>
              <a:gdLst/>
              <a:ahLst/>
              <a:cxnLst>
                <a:cxn ang="0">
                  <a:pos x="214" y="86"/>
                </a:cxn>
                <a:cxn ang="0">
                  <a:pos x="230" y="54"/>
                </a:cxn>
                <a:cxn ang="0">
                  <a:pos x="210" y="30"/>
                </a:cxn>
                <a:cxn ang="0">
                  <a:pos x="194" y="26"/>
                </a:cxn>
                <a:cxn ang="0">
                  <a:pos x="160" y="38"/>
                </a:cxn>
                <a:cxn ang="0">
                  <a:pos x="150" y="4"/>
                </a:cxn>
                <a:cxn ang="0">
                  <a:pos x="118" y="0"/>
                </a:cxn>
                <a:cxn ang="0">
                  <a:pos x="102" y="12"/>
                </a:cxn>
                <a:cxn ang="0">
                  <a:pos x="66" y="28"/>
                </a:cxn>
                <a:cxn ang="0">
                  <a:pos x="56" y="26"/>
                </a:cxn>
                <a:cxn ang="0">
                  <a:pos x="30" y="46"/>
                </a:cxn>
                <a:cxn ang="0">
                  <a:pos x="28" y="66"/>
                </a:cxn>
                <a:cxn ang="0">
                  <a:pos x="12" y="102"/>
                </a:cxn>
                <a:cxn ang="0">
                  <a:pos x="0" y="112"/>
                </a:cxn>
                <a:cxn ang="0">
                  <a:pos x="0" y="144"/>
                </a:cxn>
                <a:cxn ang="0">
                  <a:pos x="38" y="160"/>
                </a:cxn>
                <a:cxn ang="0">
                  <a:pos x="28" y="190"/>
                </a:cxn>
                <a:cxn ang="0">
                  <a:pos x="30" y="210"/>
                </a:cxn>
                <a:cxn ang="0">
                  <a:pos x="56" y="230"/>
                </a:cxn>
                <a:cxn ang="0">
                  <a:pos x="86" y="214"/>
                </a:cxn>
                <a:cxn ang="0">
                  <a:pos x="102" y="244"/>
                </a:cxn>
                <a:cxn ang="0">
                  <a:pos x="118" y="256"/>
                </a:cxn>
                <a:cxn ang="0">
                  <a:pos x="150" y="252"/>
                </a:cxn>
                <a:cxn ang="0">
                  <a:pos x="160" y="218"/>
                </a:cxn>
                <a:cxn ang="0">
                  <a:pos x="194" y="230"/>
                </a:cxn>
                <a:cxn ang="0">
                  <a:pos x="210" y="226"/>
                </a:cxn>
                <a:cxn ang="0">
                  <a:pos x="230" y="202"/>
                </a:cxn>
                <a:cxn ang="0">
                  <a:pos x="214" y="170"/>
                </a:cxn>
                <a:cxn ang="0">
                  <a:pos x="248" y="152"/>
                </a:cxn>
                <a:cxn ang="0">
                  <a:pos x="256" y="118"/>
                </a:cxn>
                <a:cxn ang="0">
                  <a:pos x="248" y="104"/>
                </a:cxn>
                <a:cxn ang="0">
                  <a:pos x="208" y="148"/>
                </a:cxn>
                <a:cxn ang="0">
                  <a:pos x="200" y="162"/>
                </a:cxn>
                <a:cxn ang="0">
                  <a:pos x="200" y="214"/>
                </a:cxn>
                <a:cxn ang="0">
                  <a:pos x="170" y="198"/>
                </a:cxn>
                <a:cxn ang="0">
                  <a:pos x="154" y="204"/>
                </a:cxn>
                <a:cxn ang="0">
                  <a:pos x="138" y="240"/>
                </a:cxn>
                <a:cxn ang="0">
                  <a:pos x="108" y="208"/>
                </a:cxn>
                <a:cxn ang="0">
                  <a:pos x="94" y="200"/>
                </a:cxn>
                <a:cxn ang="0">
                  <a:pos x="78" y="202"/>
                </a:cxn>
                <a:cxn ang="0">
                  <a:pos x="54" y="178"/>
                </a:cxn>
                <a:cxn ang="0">
                  <a:pos x="52" y="154"/>
                </a:cxn>
                <a:cxn ang="0">
                  <a:pos x="16" y="138"/>
                </a:cxn>
                <a:cxn ang="0">
                  <a:pos x="48" y="108"/>
                </a:cxn>
                <a:cxn ang="0">
                  <a:pos x="56" y="94"/>
                </a:cxn>
                <a:cxn ang="0">
                  <a:pos x="56" y="42"/>
                </a:cxn>
                <a:cxn ang="0">
                  <a:pos x="86" y="58"/>
                </a:cxn>
                <a:cxn ang="0">
                  <a:pos x="102" y="52"/>
                </a:cxn>
                <a:cxn ang="0">
                  <a:pos x="118" y="16"/>
                </a:cxn>
                <a:cxn ang="0">
                  <a:pos x="148" y="48"/>
                </a:cxn>
                <a:cxn ang="0">
                  <a:pos x="162" y="56"/>
                </a:cxn>
                <a:cxn ang="0">
                  <a:pos x="178" y="54"/>
                </a:cxn>
                <a:cxn ang="0">
                  <a:pos x="202" y="78"/>
                </a:cxn>
                <a:cxn ang="0">
                  <a:pos x="204" y="102"/>
                </a:cxn>
                <a:cxn ang="0">
                  <a:pos x="240" y="118"/>
                </a:cxn>
              </a:cxnLst>
              <a:rect l="0" t="0" r="r" b="b"/>
              <a:pathLst>
                <a:path w="256" h="256">
                  <a:moveTo>
                    <a:pt x="244" y="102"/>
                  </a:moveTo>
                  <a:lnTo>
                    <a:pt x="218" y="96"/>
                  </a:lnTo>
                  <a:lnTo>
                    <a:pt x="218" y="96"/>
                  </a:lnTo>
                  <a:lnTo>
                    <a:pt x="214" y="86"/>
                  </a:lnTo>
                  <a:lnTo>
                    <a:pt x="228" y="66"/>
                  </a:lnTo>
                  <a:lnTo>
                    <a:pt x="228" y="66"/>
                  </a:lnTo>
                  <a:lnTo>
                    <a:pt x="230" y="60"/>
                  </a:lnTo>
                  <a:lnTo>
                    <a:pt x="230" y="54"/>
                  </a:lnTo>
                  <a:lnTo>
                    <a:pt x="230" y="50"/>
                  </a:lnTo>
                  <a:lnTo>
                    <a:pt x="226" y="46"/>
                  </a:lnTo>
                  <a:lnTo>
                    <a:pt x="210" y="30"/>
                  </a:lnTo>
                  <a:lnTo>
                    <a:pt x="210" y="30"/>
                  </a:lnTo>
                  <a:lnTo>
                    <a:pt x="206" y="26"/>
                  </a:lnTo>
                  <a:lnTo>
                    <a:pt x="200" y="26"/>
                  </a:lnTo>
                  <a:lnTo>
                    <a:pt x="200" y="26"/>
                  </a:lnTo>
                  <a:lnTo>
                    <a:pt x="194" y="26"/>
                  </a:lnTo>
                  <a:lnTo>
                    <a:pt x="190" y="28"/>
                  </a:lnTo>
                  <a:lnTo>
                    <a:pt x="170" y="42"/>
                  </a:lnTo>
                  <a:lnTo>
                    <a:pt x="170" y="42"/>
                  </a:lnTo>
                  <a:lnTo>
                    <a:pt x="160" y="38"/>
                  </a:lnTo>
                  <a:lnTo>
                    <a:pt x="154" y="12"/>
                  </a:lnTo>
                  <a:lnTo>
                    <a:pt x="154" y="12"/>
                  </a:lnTo>
                  <a:lnTo>
                    <a:pt x="152" y="8"/>
                  </a:lnTo>
                  <a:lnTo>
                    <a:pt x="150" y="4"/>
                  </a:lnTo>
                  <a:lnTo>
                    <a:pt x="144" y="0"/>
                  </a:lnTo>
                  <a:lnTo>
                    <a:pt x="138" y="0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12" y="0"/>
                  </a:lnTo>
                  <a:lnTo>
                    <a:pt x="106" y="4"/>
                  </a:lnTo>
                  <a:lnTo>
                    <a:pt x="104" y="8"/>
                  </a:lnTo>
                  <a:lnTo>
                    <a:pt x="102" y="12"/>
                  </a:lnTo>
                  <a:lnTo>
                    <a:pt x="96" y="38"/>
                  </a:lnTo>
                  <a:lnTo>
                    <a:pt x="96" y="38"/>
                  </a:lnTo>
                  <a:lnTo>
                    <a:pt x="86" y="42"/>
                  </a:lnTo>
                  <a:lnTo>
                    <a:pt x="66" y="28"/>
                  </a:lnTo>
                  <a:lnTo>
                    <a:pt x="66" y="28"/>
                  </a:lnTo>
                  <a:lnTo>
                    <a:pt x="62" y="26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0" y="26"/>
                  </a:lnTo>
                  <a:lnTo>
                    <a:pt x="46" y="30"/>
                  </a:lnTo>
                  <a:lnTo>
                    <a:pt x="30" y="46"/>
                  </a:lnTo>
                  <a:lnTo>
                    <a:pt x="30" y="46"/>
                  </a:lnTo>
                  <a:lnTo>
                    <a:pt x="26" y="50"/>
                  </a:lnTo>
                  <a:lnTo>
                    <a:pt x="26" y="54"/>
                  </a:lnTo>
                  <a:lnTo>
                    <a:pt x="26" y="60"/>
                  </a:lnTo>
                  <a:lnTo>
                    <a:pt x="28" y="66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38" y="96"/>
                  </a:lnTo>
                  <a:lnTo>
                    <a:pt x="12" y="102"/>
                  </a:lnTo>
                  <a:lnTo>
                    <a:pt x="12" y="102"/>
                  </a:lnTo>
                  <a:lnTo>
                    <a:pt x="8" y="104"/>
                  </a:lnTo>
                  <a:lnTo>
                    <a:pt x="4" y="106"/>
                  </a:lnTo>
                  <a:lnTo>
                    <a:pt x="0" y="112"/>
                  </a:lnTo>
                  <a:lnTo>
                    <a:pt x="0" y="118"/>
                  </a:lnTo>
                  <a:lnTo>
                    <a:pt x="0" y="138"/>
                  </a:lnTo>
                  <a:lnTo>
                    <a:pt x="0" y="138"/>
                  </a:lnTo>
                  <a:lnTo>
                    <a:pt x="0" y="144"/>
                  </a:lnTo>
                  <a:lnTo>
                    <a:pt x="4" y="150"/>
                  </a:lnTo>
                  <a:lnTo>
                    <a:pt x="8" y="152"/>
                  </a:lnTo>
                  <a:lnTo>
                    <a:pt x="12" y="154"/>
                  </a:lnTo>
                  <a:lnTo>
                    <a:pt x="38" y="160"/>
                  </a:lnTo>
                  <a:lnTo>
                    <a:pt x="38" y="160"/>
                  </a:lnTo>
                  <a:lnTo>
                    <a:pt x="42" y="170"/>
                  </a:lnTo>
                  <a:lnTo>
                    <a:pt x="28" y="190"/>
                  </a:lnTo>
                  <a:lnTo>
                    <a:pt x="28" y="190"/>
                  </a:lnTo>
                  <a:lnTo>
                    <a:pt x="26" y="196"/>
                  </a:lnTo>
                  <a:lnTo>
                    <a:pt x="26" y="202"/>
                  </a:lnTo>
                  <a:lnTo>
                    <a:pt x="26" y="206"/>
                  </a:lnTo>
                  <a:lnTo>
                    <a:pt x="30" y="210"/>
                  </a:lnTo>
                  <a:lnTo>
                    <a:pt x="46" y="226"/>
                  </a:lnTo>
                  <a:lnTo>
                    <a:pt x="46" y="226"/>
                  </a:lnTo>
                  <a:lnTo>
                    <a:pt x="50" y="230"/>
                  </a:lnTo>
                  <a:lnTo>
                    <a:pt x="56" y="230"/>
                  </a:lnTo>
                  <a:lnTo>
                    <a:pt x="56" y="230"/>
                  </a:lnTo>
                  <a:lnTo>
                    <a:pt x="62" y="230"/>
                  </a:lnTo>
                  <a:lnTo>
                    <a:pt x="66" y="228"/>
                  </a:lnTo>
                  <a:lnTo>
                    <a:pt x="86" y="214"/>
                  </a:lnTo>
                  <a:lnTo>
                    <a:pt x="86" y="214"/>
                  </a:lnTo>
                  <a:lnTo>
                    <a:pt x="96" y="218"/>
                  </a:lnTo>
                  <a:lnTo>
                    <a:pt x="102" y="244"/>
                  </a:lnTo>
                  <a:lnTo>
                    <a:pt x="102" y="244"/>
                  </a:lnTo>
                  <a:lnTo>
                    <a:pt x="104" y="248"/>
                  </a:lnTo>
                  <a:lnTo>
                    <a:pt x="106" y="252"/>
                  </a:lnTo>
                  <a:lnTo>
                    <a:pt x="112" y="256"/>
                  </a:lnTo>
                  <a:lnTo>
                    <a:pt x="118" y="256"/>
                  </a:lnTo>
                  <a:lnTo>
                    <a:pt x="138" y="256"/>
                  </a:lnTo>
                  <a:lnTo>
                    <a:pt x="138" y="256"/>
                  </a:lnTo>
                  <a:lnTo>
                    <a:pt x="144" y="256"/>
                  </a:lnTo>
                  <a:lnTo>
                    <a:pt x="150" y="252"/>
                  </a:lnTo>
                  <a:lnTo>
                    <a:pt x="152" y="248"/>
                  </a:lnTo>
                  <a:lnTo>
                    <a:pt x="154" y="244"/>
                  </a:lnTo>
                  <a:lnTo>
                    <a:pt x="160" y="218"/>
                  </a:lnTo>
                  <a:lnTo>
                    <a:pt x="160" y="218"/>
                  </a:lnTo>
                  <a:lnTo>
                    <a:pt x="170" y="214"/>
                  </a:lnTo>
                  <a:lnTo>
                    <a:pt x="190" y="228"/>
                  </a:lnTo>
                  <a:lnTo>
                    <a:pt x="190" y="228"/>
                  </a:lnTo>
                  <a:lnTo>
                    <a:pt x="194" y="230"/>
                  </a:lnTo>
                  <a:lnTo>
                    <a:pt x="200" y="230"/>
                  </a:lnTo>
                  <a:lnTo>
                    <a:pt x="200" y="230"/>
                  </a:lnTo>
                  <a:lnTo>
                    <a:pt x="206" y="230"/>
                  </a:lnTo>
                  <a:lnTo>
                    <a:pt x="210" y="226"/>
                  </a:lnTo>
                  <a:lnTo>
                    <a:pt x="226" y="210"/>
                  </a:lnTo>
                  <a:lnTo>
                    <a:pt x="226" y="210"/>
                  </a:lnTo>
                  <a:lnTo>
                    <a:pt x="230" y="206"/>
                  </a:lnTo>
                  <a:lnTo>
                    <a:pt x="230" y="202"/>
                  </a:lnTo>
                  <a:lnTo>
                    <a:pt x="230" y="196"/>
                  </a:lnTo>
                  <a:lnTo>
                    <a:pt x="228" y="190"/>
                  </a:lnTo>
                  <a:lnTo>
                    <a:pt x="214" y="170"/>
                  </a:lnTo>
                  <a:lnTo>
                    <a:pt x="214" y="170"/>
                  </a:lnTo>
                  <a:lnTo>
                    <a:pt x="218" y="160"/>
                  </a:lnTo>
                  <a:lnTo>
                    <a:pt x="244" y="154"/>
                  </a:lnTo>
                  <a:lnTo>
                    <a:pt x="244" y="154"/>
                  </a:lnTo>
                  <a:lnTo>
                    <a:pt x="248" y="152"/>
                  </a:lnTo>
                  <a:lnTo>
                    <a:pt x="252" y="150"/>
                  </a:lnTo>
                  <a:lnTo>
                    <a:pt x="256" y="144"/>
                  </a:lnTo>
                  <a:lnTo>
                    <a:pt x="256" y="138"/>
                  </a:lnTo>
                  <a:lnTo>
                    <a:pt x="256" y="118"/>
                  </a:lnTo>
                  <a:lnTo>
                    <a:pt x="256" y="118"/>
                  </a:lnTo>
                  <a:lnTo>
                    <a:pt x="256" y="112"/>
                  </a:lnTo>
                  <a:lnTo>
                    <a:pt x="252" y="106"/>
                  </a:lnTo>
                  <a:lnTo>
                    <a:pt x="248" y="104"/>
                  </a:lnTo>
                  <a:lnTo>
                    <a:pt x="244" y="102"/>
                  </a:lnTo>
                  <a:close/>
                  <a:moveTo>
                    <a:pt x="216" y="144"/>
                  </a:moveTo>
                  <a:lnTo>
                    <a:pt x="216" y="144"/>
                  </a:lnTo>
                  <a:lnTo>
                    <a:pt x="208" y="148"/>
                  </a:lnTo>
                  <a:lnTo>
                    <a:pt x="204" y="154"/>
                  </a:lnTo>
                  <a:lnTo>
                    <a:pt x="204" y="154"/>
                  </a:lnTo>
                  <a:lnTo>
                    <a:pt x="200" y="162"/>
                  </a:lnTo>
                  <a:lnTo>
                    <a:pt x="200" y="162"/>
                  </a:lnTo>
                  <a:lnTo>
                    <a:pt x="198" y="170"/>
                  </a:lnTo>
                  <a:lnTo>
                    <a:pt x="202" y="178"/>
                  </a:lnTo>
                  <a:lnTo>
                    <a:pt x="214" y="200"/>
                  </a:lnTo>
                  <a:lnTo>
                    <a:pt x="200" y="214"/>
                  </a:lnTo>
                  <a:lnTo>
                    <a:pt x="178" y="202"/>
                  </a:lnTo>
                  <a:lnTo>
                    <a:pt x="178" y="202"/>
                  </a:lnTo>
                  <a:lnTo>
                    <a:pt x="174" y="198"/>
                  </a:lnTo>
                  <a:lnTo>
                    <a:pt x="170" y="198"/>
                  </a:lnTo>
                  <a:lnTo>
                    <a:pt x="170" y="198"/>
                  </a:lnTo>
                  <a:lnTo>
                    <a:pt x="162" y="200"/>
                  </a:lnTo>
                  <a:lnTo>
                    <a:pt x="162" y="200"/>
                  </a:lnTo>
                  <a:lnTo>
                    <a:pt x="154" y="204"/>
                  </a:lnTo>
                  <a:lnTo>
                    <a:pt x="154" y="204"/>
                  </a:lnTo>
                  <a:lnTo>
                    <a:pt x="148" y="208"/>
                  </a:lnTo>
                  <a:lnTo>
                    <a:pt x="144" y="216"/>
                  </a:lnTo>
                  <a:lnTo>
                    <a:pt x="138" y="240"/>
                  </a:lnTo>
                  <a:lnTo>
                    <a:pt x="118" y="240"/>
                  </a:lnTo>
                  <a:lnTo>
                    <a:pt x="112" y="216"/>
                  </a:lnTo>
                  <a:lnTo>
                    <a:pt x="112" y="216"/>
                  </a:lnTo>
                  <a:lnTo>
                    <a:pt x="108" y="208"/>
                  </a:lnTo>
                  <a:lnTo>
                    <a:pt x="102" y="204"/>
                  </a:lnTo>
                  <a:lnTo>
                    <a:pt x="102" y="204"/>
                  </a:lnTo>
                  <a:lnTo>
                    <a:pt x="94" y="200"/>
                  </a:lnTo>
                  <a:lnTo>
                    <a:pt x="94" y="200"/>
                  </a:lnTo>
                  <a:lnTo>
                    <a:pt x="86" y="198"/>
                  </a:lnTo>
                  <a:lnTo>
                    <a:pt x="86" y="198"/>
                  </a:lnTo>
                  <a:lnTo>
                    <a:pt x="82" y="198"/>
                  </a:lnTo>
                  <a:lnTo>
                    <a:pt x="78" y="202"/>
                  </a:lnTo>
                  <a:lnTo>
                    <a:pt x="56" y="214"/>
                  </a:lnTo>
                  <a:lnTo>
                    <a:pt x="42" y="200"/>
                  </a:lnTo>
                  <a:lnTo>
                    <a:pt x="54" y="178"/>
                  </a:lnTo>
                  <a:lnTo>
                    <a:pt x="54" y="178"/>
                  </a:lnTo>
                  <a:lnTo>
                    <a:pt x="58" y="170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2" y="154"/>
                  </a:lnTo>
                  <a:lnTo>
                    <a:pt x="52" y="154"/>
                  </a:lnTo>
                  <a:lnTo>
                    <a:pt x="48" y="148"/>
                  </a:lnTo>
                  <a:lnTo>
                    <a:pt x="40" y="144"/>
                  </a:lnTo>
                  <a:lnTo>
                    <a:pt x="16" y="138"/>
                  </a:lnTo>
                  <a:lnTo>
                    <a:pt x="16" y="118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8" y="108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8" y="86"/>
                  </a:lnTo>
                  <a:lnTo>
                    <a:pt x="54" y="78"/>
                  </a:lnTo>
                  <a:lnTo>
                    <a:pt x="42" y="56"/>
                  </a:lnTo>
                  <a:lnTo>
                    <a:pt x="56" y="42"/>
                  </a:lnTo>
                  <a:lnTo>
                    <a:pt x="78" y="54"/>
                  </a:lnTo>
                  <a:lnTo>
                    <a:pt x="78" y="54"/>
                  </a:lnTo>
                  <a:lnTo>
                    <a:pt x="82" y="58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94" y="56"/>
                  </a:lnTo>
                  <a:lnTo>
                    <a:pt x="94" y="56"/>
                  </a:lnTo>
                  <a:lnTo>
                    <a:pt x="102" y="52"/>
                  </a:lnTo>
                  <a:lnTo>
                    <a:pt x="102" y="52"/>
                  </a:lnTo>
                  <a:lnTo>
                    <a:pt x="108" y="48"/>
                  </a:lnTo>
                  <a:lnTo>
                    <a:pt x="112" y="40"/>
                  </a:lnTo>
                  <a:lnTo>
                    <a:pt x="118" y="16"/>
                  </a:lnTo>
                  <a:lnTo>
                    <a:pt x="138" y="16"/>
                  </a:lnTo>
                  <a:lnTo>
                    <a:pt x="144" y="40"/>
                  </a:lnTo>
                  <a:lnTo>
                    <a:pt x="144" y="40"/>
                  </a:lnTo>
                  <a:lnTo>
                    <a:pt x="148" y="48"/>
                  </a:lnTo>
                  <a:lnTo>
                    <a:pt x="154" y="52"/>
                  </a:lnTo>
                  <a:lnTo>
                    <a:pt x="154" y="52"/>
                  </a:lnTo>
                  <a:lnTo>
                    <a:pt x="162" y="56"/>
                  </a:lnTo>
                  <a:lnTo>
                    <a:pt x="162" y="56"/>
                  </a:lnTo>
                  <a:lnTo>
                    <a:pt x="170" y="58"/>
                  </a:lnTo>
                  <a:lnTo>
                    <a:pt x="170" y="58"/>
                  </a:lnTo>
                  <a:lnTo>
                    <a:pt x="174" y="58"/>
                  </a:lnTo>
                  <a:lnTo>
                    <a:pt x="178" y="54"/>
                  </a:lnTo>
                  <a:lnTo>
                    <a:pt x="200" y="42"/>
                  </a:lnTo>
                  <a:lnTo>
                    <a:pt x="214" y="56"/>
                  </a:lnTo>
                  <a:lnTo>
                    <a:pt x="202" y="78"/>
                  </a:lnTo>
                  <a:lnTo>
                    <a:pt x="202" y="78"/>
                  </a:lnTo>
                  <a:lnTo>
                    <a:pt x="198" y="86"/>
                  </a:lnTo>
                  <a:lnTo>
                    <a:pt x="200" y="94"/>
                  </a:lnTo>
                  <a:lnTo>
                    <a:pt x="200" y="94"/>
                  </a:lnTo>
                  <a:lnTo>
                    <a:pt x="204" y="102"/>
                  </a:lnTo>
                  <a:lnTo>
                    <a:pt x="204" y="102"/>
                  </a:lnTo>
                  <a:lnTo>
                    <a:pt x="208" y="108"/>
                  </a:lnTo>
                  <a:lnTo>
                    <a:pt x="216" y="112"/>
                  </a:lnTo>
                  <a:lnTo>
                    <a:pt x="240" y="118"/>
                  </a:lnTo>
                  <a:lnTo>
                    <a:pt x="240" y="138"/>
                  </a:lnTo>
                  <a:lnTo>
                    <a:pt x="216" y="14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34" name="Freeform 109">
              <a:extLst>
                <a:ext uri="{FF2B5EF4-FFF2-40B4-BE49-F238E27FC236}">
                  <a16:creationId xmlns:a16="http://schemas.microsoft.com/office/drawing/2014/main" id="{E9D51181-FDA0-ED75-5275-34957FB7F5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02300" y="2076450"/>
              <a:ext cx="177800" cy="177800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34" y="4"/>
                </a:cxn>
                <a:cxn ang="0">
                  <a:pos x="16" y="16"/>
                </a:cxn>
                <a:cxn ang="0">
                  <a:pos x="4" y="34"/>
                </a:cxn>
                <a:cxn ang="0">
                  <a:pos x="0" y="56"/>
                </a:cxn>
                <a:cxn ang="0">
                  <a:pos x="2" y="68"/>
                </a:cxn>
                <a:cxn ang="0">
                  <a:pos x="10" y="88"/>
                </a:cxn>
                <a:cxn ang="0">
                  <a:pos x="24" y="102"/>
                </a:cxn>
                <a:cxn ang="0">
                  <a:pos x="44" y="110"/>
                </a:cxn>
                <a:cxn ang="0">
                  <a:pos x="56" y="112"/>
                </a:cxn>
                <a:cxn ang="0">
                  <a:pos x="78" y="108"/>
                </a:cxn>
                <a:cxn ang="0">
                  <a:pos x="96" y="96"/>
                </a:cxn>
                <a:cxn ang="0">
                  <a:pos x="108" y="78"/>
                </a:cxn>
                <a:cxn ang="0">
                  <a:pos x="112" y="56"/>
                </a:cxn>
                <a:cxn ang="0">
                  <a:pos x="110" y="44"/>
                </a:cxn>
                <a:cxn ang="0">
                  <a:pos x="102" y="24"/>
                </a:cxn>
                <a:cxn ang="0">
                  <a:pos x="88" y="10"/>
                </a:cxn>
                <a:cxn ang="0">
                  <a:pos x="68" y="2"/>
                </a:cxn>
                <a:cxn ang="0">
                  <a:pos x="56" y="104"/>
                </a:cxn>
                <a:cxn ang="0">
                  <a:pos x="46" y="104"/>
                </a:cxn>
                <a:cxn ang="0">
                  <a:pos x="28" y="96"/>
                </a:cxn>
                <a:cxn ang="0">
                  <a:pos x="16" y="84"/>
                </a:cxn>
                <a:cxn ang="0">
                  <a:pos x="8" y="66"/>
                </a:cxn>
                <a:cxn ang="0">
                  <a:pos x="8" y="56"/>
                </a:cxn>
                <a:cxn ang="0">
                  <a:pos x="10" y="36"/>
                </a:cxn>
                <a:cxn ang="0">
                  <a:pos x="22" y="22"/>
                </a:cxn>
                <a:cxn ang="0">
                  <a:pos x="36" y="10"/>
                </a:cxn>
                <a:cxn ang="0">
                  <a:pos x="56" y="6"/>
                </a:cxn>
                <a:cxn ang="0">
                  <a:pos x="66" y="8"/>
                </a:cxn>
                <a:cxn ang="0">
                  <a:pos x="84" y="16"/>
                </a:cxn>
                <a:cxn ang="0">
                  <a:pos x="96" y="28"/>
                </a:cxn>
                <a:cxn ang="0">
                  <a:pos x="104" y="46"/>
                </a:cxn>
                <a:cxn ang="0">
                  <a:pos x="106" y="56"/>
                </a:cxn>
                <a:cxn ang="0">
                  <a:pos x="102" y="76"/>
                </a:cxn>
                <a:cxn ang="0">
                  <a:pos x="90" y="90"/>
                </a:cxn>
                <a:cxn ang="0">
                  <a:pos x="76" y="102"/>
                </a:cxn>
                <a:cxn ang="0">
                  <a:pos x="56" y="104"/>
                </a:cxn>
              </a:cxnLst>
              <a:rect l="0" t="0" r="r" b="b"/>
              <a:pathLst>
                <a:path w="112" h="112">
                  <a:moveTo>
                    <a:pt x="56" y="0"/>
                  </a:moveTo>
                  <a:lnTo>
                    <a:pt x="56" y="0"/>
                  </a:lnTo>
                  <a:lnTo>
                    <a:pt x="44" y="2"/>
                  </a:lnTo>
                  <a:lnTo>
                    <a:pt x="34" y="4"/>
                  </a:lnTo>
                  <a:lnTo>
                    <a:pt x="24" y="10"/>
                  </a:lnTo>
                  <a:lnTo>
                    <a:pt x="16" y="16"/>
                  </a:lnTo>
                  <a:lnTo>
                    <a:pt x="10" y="24"/>
                  </a:lnTo>
                  <a:lnTo>
                    <a:pt x="4" y="34"/>
                  </a:lnTo>
                  <a:lnTo>
                    <a:pt x="2" y="44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2" y="68"/>
                  </a:lnTo>
                  <a:lnTo>
                    <a:pt x="4" y="78"/>
                  </a:lnTo>
                  <a:lnTo>
                    <a:pt x="10" y="88"/>
                  </a:lnTo>
                  <a:lnTo>
                    <a:pt x="16" y="96"/>
                  </a:lnTo>
                  <a:lnTo>
                    <a:pt x="24" y="102"/>
                  </a:lnTo>
                  <a:lnTo>
                    <a:pt x="34" y="108"/>
                  </a:lnTo>
                  <a:lnTo>
                    <a:pt x="44" y="110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68" y="110"/>
                  </a:lnTo>
                  <a:lnTo>
                    <a:pt x="78" y="108"/>
                  </a:lnTo>
                  <a:lnTo>
                    <a:pt x="88" y="102"/>
                  </a:lnTo>
                  <a:lnTo>
                    <a:pt x="96" y="96"/>
                  </a:lnTo>
                  <a:lnTo>
                    <a:pt x="102" y="88"/>
                  </a:lnTo>
                  <a:lnTo>
                    <a:pt x="108" y="78"/>
                  </a:lnTo>
                  <a:lnTo>
                    <a:pt x="110" y="68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0" y="44"/>
                  </a:lnTo>
                  <a:lnTo>
                    <a:pt x="108" y="34"/>
                  </a:lnTo>
                  <a:lnTo>
                    <a:pt x="102" y="24"/>
                  </a:lnTo>
                  <a:lnTo>
                    <a:pt x="96" y="16"/>
                  </a:lnTo>
                  <a:lnTo>
                    <a:pt x="88" y="10"/>
                  </a:lnTo>
                  <a:lnTo>
                    <a:pt x="78" y="4"/>
                  </a:lnTo>
                  <a:lnTo>
                    <a:pt x="68" y="2"/>
                  </a:lnTo>
                  <a:lnTo>
                    <a:pt x="56" y="0"/>
                  </a:lnTo>
                  <a:close/>
                  <a:moveTo>
                    <a:pt x="56" y="104"/>
                  </a:moveTo>
                  <a:lnTo>
                    <a:pt x="56" y="104"/>
                  </a:lnTo>
                  <a:lnTo>
                    <a:pt x="46" y="104"/>
                  </a:lnTo>
                  <a:lnTo>
                    <a:pt x="36" y="102"/>
                  </a:lnTo>
                  <a:lnTo>
                    <a:pt x="28" y="96"/>
                  </a:lnTo>
                  <a:lnTo>
                    <a:pt x="22" y="90"/>
                  </a:lnTo>
                  <a:lnTo>
                    <a:pt x="16" y="84"/>
                  </a:lnTo>
                  <a:lnTo>
                    <a:pt x="10" y="76"/>
                  </a:lnTo>
                  <a:lnTo>
                    <a:pt x="8" y="6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46"/>
                  </a:lnTo>
                  <a:lnTo>
                    <a:pt x="10" y="36"/>
                  </a:lnTo>
                  <a:lnTo>
                    <a:pt x="16" y="28"/>
                  </a:lnTo>
                  <a:lnTo>
                    <a:pt x="22" y="22"/>
                  </a:lnTo>
                  <a:lnTo>
                    <a:pt x="28" y="16"/>
                  </a:lnTo>
                  <a:lnTo>
                    <a:pt x="36" y="10"/>
                  </a:lnTo>
                  <a:lnTo>
                    <a:pt x="46" y="8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66" y="8"/>
                  </a:lnTo>
                  <a:lnTo>
                    <a:pt x="76" y="10"/>
                  </a:lnTo>
                  <a:lnTo>
                    <a:pt x="84" y="16"/>
                  </a:lnTo>
                  <a:lnTo>
                    <a:pt x="90" y="22"/>
                  </a:lnTo>
                  <a:lnTo>
                    <a:pt x="96" y="28"/>
                  </a:lnTo>
                  <a:lnTo>
                    <a:pt x="102" y="36"/>
                  </a:lnTo>
                  <a:lnTo>
                    <a:pt x="104" y="46"/>
                  </a:lnTo>
                  <a:lnTo>
                    <a:pt x="106" y="56"/>
                  </a:lnTo>
                  <a:lnTo>
                    <a:pt x="106" y="56"/>
                  </a:lnTo>
                  <a:lnTo>
                    <a:pt x="104" y="66"/>
                  </a:lnTo>
                  <a:lnTo>
                    <a:pt x="102" y="7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6" y="102"/>
                  </a:lnTo>
                  <a:lnTo>
                    <a:pt x="66" y="104"/>
                  </a:lnTo>
                  <a:lnTo>
                    <a:pt x="56" y="10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35" name="Freeform 112">
              <a:extLst>
                <a:ext uri="{FF2B5EF4-FFF2-40B4-BE49-F238E27FC236}">
                  <a16:creationId xmlns:a16="http://schemas.microsoft.com/office/drawing/2014/main" id="{38595E88-5318-1ED0-C4A3-06DE07BBF7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40400" y="2114550"/>
              <a:ext cx="101600" cy="101600"/>
            </a:xfrm>
            <a:custGeom>
              <a:avLst/>
              <a:gdLst/>
              <a:ahLst/>
              <a:cxnLst>
                <a:cxn ang="0">
                  <a:pos x="32" y="0"/>
                </a:cxn>
                <a:cxn ang="0">
                  <a:pos x="32" y="0"/>
                </a:cxn>
                <a:cxn ang="0">
                  <a:pos x="26" y="0"/>
                </a:cxn>
                <a:cxn ang="0">
                  <a:pos x="20" y="2"/>
                </a:cxn>
                <a:cxn ang="0">
                  <a:pos x="10" y="10"/>
                </a:cxn>
                <a:cxn ang="0">
                  <a:pos x="2" y="20"/>
                </a:cxn>
                <a:cxn ang="0">
                  <a:pos x="0" y="26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0" y="38"/>
                </a:cxn>
                <a:cxn ang="0">
                  <a:pos x="2" y="44"/>
                </a:cxn>
                <a:cxn ang="0">
                  <a:pos x="10" y="54"/>
                </a:cxn>
                <a:cxn ang="0">
                  <a:pos x="20" y="62"/>
                </a:cxn>
                <a:cxn ang="0">
                  <a:pos x="26" y="64"/>
                </a:cxn>
                <a:cxn ang="0">
                  <a:pos x="32" y="64"/>
                </a:cxn>
                <a:cxn ang="0">
                  <a:pos x="32" y="64"/>
                </a:cxn>
                <a:cxn ang="0">
                  <a:pos x="38" y="64"/>
                </a:cxn>
                <a:cxn ang="0">
                  <a:pos x="44" y="62"/>
                </a:cxn>
                <a:cxn ang="0">
                  <a:pos x="54" y="54"/>
                </a:cxn>
                <a:cxn ang="0">
                  <a:pos x="62" y="44"/>
                </a:cxn>
                <a:cxn ang="0">
                  <a:pos x="64" y="38"/>
                </a:cxn>
                <a:cxn ang="0">
                  <a:pos x="64" y="32"/>
                </a:cxn>
                <a:cxn ang="0">
                  <a:pos x="64" y="32"/>
                </a:cxn>
                <a:cxn ang="0">
                  <a:pos x="64" y="26"/>
                </a:cxn>
                <a:cxn ang="0">
                  <a:pos x="62" y="20"/>
                </a:cxn>
                <a:cxn ang="0">
                  <a:pos x="54" y="10"/>
                </a:cxn>
                <a:cxn ang="0">
                  <a:pos x="44" y="2"/>
                </a:cxn>
                <a:cxn ang="0">
                  <a:pos x="38" y="0"/>
                </a:cxn>
                <a:cxn ang="0">
                  <a:pos x="32" y="0"/>
                </a:cxn>
                <a:cxn ang="0">
                  <a:pos x="32" y="56"/>
                </a:cxn>
                <a:cxn ang="0">
                  <a:pos x="32" y="56"/>
                </a:cxn>
                <a:cxn ang="0">
                  <a:pos x="22" y="54"/>
                </a:cxn>
                <a:cxn ang="0">
                  <a:pos x="16" y="48"/>
                </a:cxn>
                <a:cxn ang="0">
                  <a:pos x="10" y="4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10" y="22"/>
                </a:cxn>
                <a:cxn ang="0">
                  <a:pos x="16" y="16"/>
                </a:cxn>
                <a:cxn ang="0">
                  <a:pos x="22" y="10"/>
                </a:cxn>
                <a:cxn ang="0">
                  <a:pos x="32" y="8"/>
                </a:cxn>
                <a:cxn ang="0">
                  <a:pos x="32" y="8"/>
                </a:cxn>
                <a:cxn ang="0">
                  <a:pos x="42" y="10"/>
                </a:cxn>
                <a:cxn ang="0">
                  <a:pos x="48" y="16"/>
                </a:cxn>
                <a:cxn ang="0">
                  <a:pos x="54" y="22"/>
                </a:cxn>
                <a:cxn ang="0">
                  <a:pos x="56" y="32"/>
                </a:cxn>
                <a:cxn ang="0">
                  <a:pos x="56" y="32"/>
                </a:cxn>
                <a:cxn ang="0">
                  <a:pos x="54" y="42"/>
                </a:cxn>
                <a:cxn ang="0">
                  <a:pos x="48" y="48"/>
                </a:cxn>
                <a:cxn ang="0">
                  <a:pos x="42" y="54"/>
                </a:cxn>
                <a:cxn ang="0">
                  <a:pos x="32" y="56"/>
                </a:cxn>
              </a:cxnLst>
              <a:rect l="0" t="0" r="r" b="b"/>
              <a:pathLst>
                <a:path w="64" h="64">
                  <a:moveTo>
                    <a:pt x="32" y="0"/>
                  </a:moveTo>
                  <a:lnTo>
                    <a:pt x="32" y="0"/>
                  </a:lnTo>
                  <a:lnTo>
                    <a:pt x="26" y="0"/>
                  </a:lnTo>
                  <a:lnTo>
                    <a:pt x="20" y="2"/>
                  </a:lnTo>
                  <a:lnTo>
                    <a:pt x="10" y="10"/>
                  </a:lnTo>
                  <a:lnTo>
                    <a:pt x="2" y="20"/>
                  </a:lnTo>
                  <a:lnTo>
                    <a:pt x="0" y="2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8"/>
                  </a:lnTo>
                  <a:lnTo>
                    <a:pt x="2" y="44"/>
                  </a:lnTo>
                  <a:lnTo>
                    <a:pt x="10" y="54"/>
                  </a:lnTo>
                  <a:lnTo>
                    <a:pt x="20" y="62"/>
                  </a:lnTo>
                  <a:lnTo>
                    <a:pt x="26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8" y="64"/>
                  </a:lnTo>
                  <a:lnTo>
                    <a:pt x="44" y="62"/>
                  </a:lnTo>
                  <a:lnTo>
                    <a:pt x="54" y="54"/>
                  </a:lnTo>
                  <a:lnTo>
                    <a:pt x="62" y="44"/>
                  </a:lnTo>
                  <a:lnTo>
                    <a:pt x="64" y="3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26"/>
                  </a:lnTo>
                  <a:lnTo>
                    <a:pt x="62" y="20"/>
                  </a:lnTo>
                  <a:lnTo>
                    <a:pt x="54" y="10"/>
                  </a:lnTo>
                  <a:lnTo>
                    <a:pt x="44" y="2"/>
                  </a:lnTo>
                  <a:lnTo>
                    <a:pt x="38" y="0"/>
                  </a:lnTo>
                  <a:lnTo>
                    <a:pt x="32" y="0"/>
                  </a:lnTo>
                  <a:close/>
                  <a:moveTo>
                    <a:pt x="32" y="56"/>
                  </a:moveTo>
                  <a:lnTo>
                    <a:pt x="32" y="56"/>
                  </a:lnTo>
                  <a:lnTo>
                    <a:pt x="22" y="54"/>
                  </a:lnTo>
                  <a:lnTo>
                    <a:pt x="16" y="48"/>
                  </a:lnTo>
                  <a:lnTo>
                    <a:pt x="10" y="4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0" y="22"/>
                  </a:lnTo>
                  <a:lnTo>
                    <a:pt x="16" y="16"/>
                  </a:lnTo>
                  <a:lnTo>
                    <a:pt x="22" y="10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42" y="10"/>
                  </a:lnTo>
                  <a:lnTo>
                    <a:pt x="48" y="16"/>
                  </a:lnTo>
                  <a:lnTo>
                    <a:pt x="54" y="2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54"/>
                  </a:lnTo>
                  <a:lnTo>
                    <a:pt x="32" y="5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</p:grpSp>
      <p:sp>
        <p:nvSpPr>
          <p:cNvPr id="36" name="Oval 35">
            <a:extLst>
              <a:ext uri="{FF2B5EF4-FFF2-40B4-BE49-F238E27FC236}">
                <a16:creationId xmlns:a16="http://schemas.microsoft.com/office/drawing/2014/main" id="{134BAA09-2928-652C-42D2-896FF15F1C91}"/>
              </a:ext>
            </a:extLst>
          </p:cNvPr>
          <p:cNvSpPr/>
          <p:nvPr/>
        </p:nvSpPr>
        <p:spPr>
          <a:xfrm>
            <a:off x="6596589" y="2771140"/>
            <a:ext cx="914400" cy="914400"/>
          </a:xfrm>
          <a:prstGeom prst="ellipse">
            <a:avLst/>
          </a:prstGeom>
          <a:solidFill>
            <a:srgbClr val="345E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ECBF5631-EC60-2197-7C57-E9F503083E41}"/>
              </a:ext>
            </a:extLst>
          </p:cNvPr>
          <p:cNvSpPr/>
          <p:nvPr/>
        </p:nvSpPr>
        <p:spPr>
          <a:xfrm>
            <a:off x="6596589" y="4879340"/>
            <a:ext cx="914400" cy="914400"/>
          </a:xfrm>
          <a:prstGeom prst="ellipse">
            <a:avLst/>
          </a:prstGeom>
          <a:solidFill>
            <a:srgbClr val="0D73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8E6B6606-BE5E-1BEB-BE0D-2DCB5F4C0AF6}"/>
              </a:ext>
            </a:extLst>
          </p:cNvPr>
          <p:cNvSpPr/>
          <p:nvPr/>
        </p:nvSpPr>
        <p:spPr>
          <a:xfrm>
            <a:off x="6596589" y="3825240"/>
            <a:ext cx="914400" cy="914400"/>
          </a:xfrm>
          <a:prstGeom prst="ellipse">
            <a:avLst/>
          </a:prstGeom>
          <a:solidFill>
            <a:srgbClr val="0638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C5E6D34E-B70A-EAC9-CA6C-1340CB78D4E1}"/>
              </a:ext>
            </a:extLst>
          </p:cNvPr>
          <p:cNvGrpSpPr/>
          <p:nvPr/>
        </p:nvGrpSpPr>
        <p:grpSpPr>
          <a:xfrm>
            <a:off x="6916599" y="3028790"/>
            <a:ext cx="274381" cy="399100"/>
            <a:chOff x="4838700" y="2774950"/>
            <a:chExt cx="279400" cy="406400"/>
          </a:xfrm>
          <a:solidFill>
            <a:schemeClr val="bg2"/>
          </a:solidFill>
        </p:grpSpPr>
        <p:sp>
          <p:nvSpPr>
            <p:cNvPr id="40" name="Freeform 60">
              <a:extLst>
                <a:ext uri="{FF2B5EF4-FFF2-40B4-BE49-F238E27FC236}">
                  <a16:creationId xmlns:a16="http://schemas.microsoft.com/office/drawing/2014/main" id="{0C7B6AE6-242C-2882-EB05-EE7E8ABDAE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8700" y="2774950"/>
              <a:ext cx="279400" cy="406400"/>
            </a:xfrm>
            <a:custGeom>
              <a:avLst/>
              <a:gdLst/>
              <a:ahLst/>
              <a:cxnLst>
                <a:cxn ang="0">
                  <a:pos x="88" y="0"/>
                </a:cxn>
                <a:cxn ang="0">
                  <a:pos x="54" y="6"/>
                </a:cxn>
                <a:cxn ang="0">
                  <a:pos x="26" y="26"/>
                </a:cxn>
                <a:cxn ang="0">
                  <a:pos x="6" y="54"/>
                </a:cxn>
                <a:cxn ang="0">
                  <a:pos x="0" y="88"/>
                </a:cxn>
                <a:cxn ang="0">
                  <a:pos x="2" y="100"/>
                </a:cxn>
                <a:cxn ang="0">
                  <a:pos x="16" y="138"/>
                </a:cxn>
                <a:cxn ang="0">
                  <a:pos x="40" y="184"/>
                </a:cxn>
                <a:cxn ang="0">
                  <a:pos x="50" y="214"/>
                </a:cxn>
                <a:cxn ang="0">
                  <a:pos x="62" y="246"/>
                </a:cxn>
                <a:cxn ang="0">
                  <a:pos x="76" y="254"/>
                </a:cxn>
                <a:cxn ang="0">
                  <a:pos x="88" y="256"/>
                </a:cxn>
                <a:cxn ang="0">
                  <a:pos x="108" y="252"/>
                </a:cxn>
                <a:cxn ang="0">
                  <a:pos x="118" y="238"/>
                </a:cxn>
                <a:cxn ang="0">
                  <a:pos x="136" y="184"/>
                </a:cxn>
                <a:cxn ang="0">
                  <a:pos x="146" y="162"/>
                </a:cxn>
                <a:cxn ang="0">
                  <a:pos x="172" y="112"/>
                </a:cxn>
                <a:cxn ang="0">
                  <a:pos x="176" y="88"/>
                </a:cxn>
                <a:cxn ang="0">
                  <a:pos x="174" y="70"/>
                </a:cxn>
                <a:cxn ang="0">
                  <a:pos x="160" y="38"/>
                </a:cxn>
                <a:cxn ang="0">
                  <a:pos x="138" y="16"/>
                </a:cxn>
                <a:cxn ang="0">
                  <a:pos x="106" y="2"/>
                </a:cxn>
                <a:cxn ang="0">
                  <a:pos x="108" y="218"/>
                </a:cxn>
                <a:cxn ang="0">
                  <a:pos x="70" y="222"/>
                </a:cxn>
                <a:cxn ang="0">
                  <a:pos x="64" y="208"/>
                </a:cxn>
                <a:cxn ang="0">
                  <a:pos x="114" y="200"/>
                </a:cxn>
                <a:cxn ang="0">
                  <a:pos x="112" y="208"/>
                </a:cxn>
                <a:cxn ang="0">
                  <a:pos x="108" y="218"/>
                </a:cxn>
                <a:cxn ang="0">
                  <a:pos x="62" y="200"/>
                </a:cxn>
                <a:cxn ang="0">
                  <a:pos x="120" y="184"/>
                </a:cxn>
                <a:cxn ang="0">
                  <a:pos x="116" y="192"/>
                </a:cxn>
                <a:cxn ang="0">
                  <a:pos x="88" y="240"/>
                </a:cxn>
                <a:cxn ang="0">
                  <a:pos x="82" y="240"/>
                </a:cxn>
                <a:cxn ang="0">
                  <a:pos x="76" y="236"/>
                </a:cxn>
                <a:cxn ang="0">
                  <a:pos x="106" y="226"/>
                </a:cxn>
                <a:cxn ang="0">
                  <a:pos x="102" y="234"/>
                </a:cxn>
                <a:cxn ang="0">
                  <a:pos x="94" y="240"/>
                </a:cxn>
                <a:cxn ang="0">
                  <a:pos x="126" y="168"/>
                </a:cxn>
                <a:cxn ang="0">
                  <a:pos x="50" y="168"/>
                </a:cxn>
                <a:cxn ang="0">
                  <a:pos x="38" y="142"/>
                </a:cxn>
                <a:cxn ang="0">
                  <a:pos x="18" y="100"/>
                </a:cxn>
                <a:cxn ang="0">
                  <a:pos x="16" y="88"/>
                </a:cxn>
                <a:cxn ang="0">
                  <a:pos x="22" y="60"/>
                </a:cxn>
                <a:cxn ang="0">
                  <a:pos x="38" y="38"/>
                </a:cxn>
                <a:cxn ang="0">
                  <a:pos x="60" y="22"/>
                </a:cxn>
                <a:cxn ang="0">
                  <a:pos x="88" y="16"/>
                </a:cxn>
                <a:cxn ang="0">
                  <a:pos x="102" y="18"/>
                </a:cxn>
                <a:cxn ang="0">
                  <a:pos x="128" y="28"/>
                </a:cxn>
                <a:cxn ang="0">
                  <a:pos x="148" y="48"/>
                </a:cxn>
                <a:cxn ang="0">
                  <a:pos x="158" y="74"/>
                </a:cxn>
                <a:cxn ang="0">
                  <a:pos x="160" y="88"/>
                </a:cxn>
                <a:cxn ang="0">
                  <a:pos x="154" y="114"/>
                </a:cxn>
                <a:cxn ang="0">
                  <a:pos x="138" y="142"/>
                </a:cxn>
              </a:cxnLst>
              <a:rect l="0" t="0" r="r" b="b"/>
              <a:pathLst>
                <a:path w="176" h="256">
                  <a:moveTo>
                    <a:pt x="88" y="0"/>
                  </a:moveTo>
                  <a:lnTo>
                    <a:pt x="88" y="0"/>
                  </a:lnTo>
                  <a:lnTo>
                    <a:pt x="70" y="2"/>
                  </a:lnTo>
                  <a:lnTo>
                    <a:pt x="54" y="6"/>
                  </a:lnTo>
                  <a:lnTo>
                    <a:pt x="38" y="16"/>
                  </a:lnTo>
                  <a:lnTo>
                    <a:pt x="26" y="26"/>
                  </a:lnTo>
                  <a:lnTo>
                    <a:pt x="16" y="38"/>
                  </a:lnTo>
                  <a:lnTo>
                    <a:pt x="6" y="54"/>
                  </a:lnTo>
                  <a:lnTo>
                    <a:pt x="2" y="70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2" y="100"/>
                  </a:lnTo>
                  <a:lnTo>
                    <a:pt x="4" y="112"/>
                  </a:lnTo>
                  <a:lnTo>
                    <a:pt x="16" y="138"/>
                  </a:lnTo>
                  <a:lnTo>
                    <a:pt x="30" y="162"/>
                  </a:lnTo>
                  <a:lnTo>
                    <a:pt x="40" y="184"/>
                  </a:lnTo>
                  <a:lnTo>
                    <a:pt x="40" y="184"/>
                  </a:lnTo>
                  <a:lnTo>
                    <a:pt x="50" y="214"/>
                  </a:lnTo>
                  <a:lnTo>
                    <a:pt x="58" y="238"/>
                  </a:lnTo>
                  <a:lnTo>
                    <a:pt x="62" y="246"/>
                  </a:lnTo>
                  <a:lnTo>
                    <a:pt x="68" y="252"/>
                  </a:lnTo>
                  <a:lnTo>
                    <a:pt x="76" y="254"/>
                  </a:lnTo>
                  <a:lnTo>
                    <a:pt x="88" y="256"/>
                  </a:lnTo>
                  <a:lnTo>
                    <a:pt x="88" y="256"/>
                  </a:lnTo>
                  <a:lnTo>
                    <a:pt x="100" y="254"/>
                  </a:lnTo>
                  <a:lnTo>
                    <a:pt x="108" y="252"/>
                  </a:lnTo>
                  <a:lnTo>
                    <a:pt x="114" y="246"/>
                  </a:lnTo>
                  <a:lnTo>
                    <a:pt x="118" y="238"/>
                  </a:lnTo>
                  <a:lnTo>
                    <a:pt x="126" y="214"/>
                  </a:lnTo>
                  <a:lnTo>
                    <a:pt x="136" y="184"/>
                  </a:lnTo>
                  <a:lnTo>
                    <a:pt x="136" y="184"/>
                  </a:lnTo>
                  <a:lnTo>
                    <a:pt x="146" y="162"/>
                  </a:lnTo>
                  <a:lnTo>
                    <a:pt x="160" y="138"/>
                  </a:lnTo>
                  <a:lnTo>
                    <a:pt x="172" y="112"/>
                  </a:lnTo>
                  <a:lnTo>
                    <a:pt x="174" y="100"/>
                  </a:lnTo>
                  <a:lnTo>
                    <a:pt x="176" y="88"/>
                  </a:lnTo>
                  <a:lnTo>
                    <a:pt x="176" y="88"/>
                  </a:lnTo>
                  <a:lnTo>
                    <a:pt x="174" y="70"/>
                  </a:lnTo>
                  <a:lnTo>
                    <a:pt x="170" y="54"/>
                  </a:lnTo>
                  <a:lnTo>
                    <a:pt x="160" y="38"/>
                  </a:lnTo>
                  <a:lnTo>
                    <a:pt x="150" y="26"/>
                  </a:lnTo>
                  <a:lnTo>
                    <a:pt x="138" y="16"/>
                  </a:lnTo>
                  <a:lnTo>
                    <a:pt x="122" y="6"/>
                  </a:lnTo>
                  <a:lnTo>
                    <a:pt x="106" y="2"/>
                  </a:lnTo>
                  <a:lnTo>
                    <a:pt x="88" y="0"/>
                  </a:lnTo>
                  <a:close/>
                  <a:moveTo>
                    <a:pt x="108" y="218"/>
                  </a:moveTo>
                  <a:lnTo>
                    <a:pt x="70" y="222"/>
                  </a:lnTo>
                  <a:lnTo>
                    <a:pt x="70" y="222"/>
                  </a:lnTo>
                  <a:lnTo>
                    <a:pt x="64" y="208"/>
                  </a:lnTo>
                  <a:lnTo>
                    <a:pt x="64" y="208"/>
                  </a:lnTo>
                  <a:lnTo>
                    <a:pt x="64" y="206"/>
                  </a:lnTo>
                  <a:lnTo>
                    <a:pt x="114" y="200"/>
                  </a:lnTo>
                  <a:lnTo>
                    <a:pt x="114" y="200"/>
                  </a:lnTo>
                  <a:lnTo>
                    <a:pt x="112" y="208"/>
                  </a:lnTo>
                  <a:lnTo>
                    <a:pt x="112" y="208"/>
                  </a:lnTo>
                  <a:lnTo>
                    <a:pt x="108" y="218"/>
                  </a:lnTo>
                  <a:close/>
                  <a:moveTo>
                    <a:pt x="62" y="200"/>
                  </a:moveTo>
                  <a:lnTo>
                    <a:pt x="62" y="200"/>
                  </a:lnTo>
                  <a:lnTo>
                    <a:pt x="56" y="184"/>
                  </a:lnTo>
                  <a:lnTo>
                    <a:pt x="120" y="184"/>
                  </a:lnTo>
                  <a:lnTo>
                    <a:pt x="120" y="184"/>
                  </a:lnTo>
                  <a:lnTo>
                    <a:pt x="116" y="192"/>
                  </a:lnTo>
                  <a:lnTo>
                    <a:pt x="62" y="200"/>
                  </a:lnTo>
                  <a:close/>
                  <a:moveTo>
                    <a:pt x="88" y="240"/>
                  </a:moveTo>
                  <a:lnTo>
                    <a:pt x="88" y="240"/>
                  </a:lnTo>
                  <a:lnTo>
                    <a:pt x="82" y="240"/>
                  </a:lnTo>
                  <a:lnTo>
                    <a:pt x="78" y="238"/>
                  </a:lnTo>
                  <a:lnTo>
                    <a:pt x="76" y="236"/>
                  </a:lnTo>
                  <a:lnTo>
                    <a:pt x="72" y="230"/>
                  </a:lnTo>
                  <a:lnTo>
                    <a:pt x="106" y="226"/>
                  </a:lnTo>
                  <a:lnTo>
                    <a:pt x="106" y="226"/>
                  </a:lnTo>
                  <a:lnTo>
                    <a:pt x="102" y="234"/>
                  </a:lnTo>
                  <a:lnTo>
                    <a:pt x="98" y="238"/>
                  </a:lnTo>
                  <a:lnTo>
                    <a:pt x="94" y="240"/>
                  </a:lnTo>
                  <a:lnTo>
                    <a:pt x="88" y="240"/>
                  </a:lnTo>
                  <a:close/>
                  <a:moveTo>
                    <a:pt x="126" y="168"/>
                  </a:moveTo>
                  <a:lnTo>
                    <a:pt x="50" y="168"/>
                  </a:lnTo>
                  <a:lnTo>
                    <a:pt x="50" y="168"/>
                  </a:lnTo>
                  <a:lnTo>
                    <a:pt x="38" y="142"/>
                  </a:lnTo>
                  <a:lnTo>
                    <a:pt x="38" y="142"/>
                  </a:lnTo>
                  <a:lnTo>
                    <a:pt x="22" y="114"/>
                  </a:lnTo>
                  <a:lnTo>
                    <a:pt x="18" y="100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8" y="74"/>
                  </a:lnTo>
                  <a:lnTo>
                    <a:pt x="22" y="60"/>
                  </a:lnTo>
                  <a:lnTo>
                    <a:pt x="28" y="48"/>
                  </a:lnTo>
                  <a:lnTo>
                    <a:pt x="38" y="38"/>
                  </a:lnTo>
                  <a:lnTo>
                    <a:pt x="48" y="28"/>
                  </a:lnTo>
                  <a:lnTo>
                    <a:pt x="60" y="22"/>
                  </a:lnTo>
                  <a:lnTo>
                    <a:pt x="74" y="18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102" y="18"/>
                  </a:lnTo>
                  <a:lnTo>
                    <a:pt x="116" y="22"/>
                  </a:lnTo>
                  <a:lnTo>
                    <a:pt x="128" y="28"/>
                  </a:lnTo>
                  <a:lnTo>
                    <a:pt x="138" y="38"/>
                  </a:lnTo>
                  <a:lnTo>
                    <a:pt x="148" y="48"/>
                  </a:lnTo>
                  <a:lnTo>
                    <a:pt x="154" y="60"/>
                  </a:lnTo>
                  <a:lnTo>
                    <a:pt x="158" y="74"/>
                  </a:lnTo>
                  <a:lnTo>
                    <a:pt x="160" y="88"/>
                  </a:lnTo>
                  <a:lnTo>
                    <a:pt x="160" y="88"/>
                  </a:lnTo>
                  <a:lnTo>
                    <a:pt x="158" y="100"/>
                  </a:lnTo>
                  <a:lnTo>
                    <a:pt x="154" y="114"/>
                  </a:lnTo>
                  <a:lnTo>
                    <a:pt x="138" y="142"/>
                  </a:lnTo>
                  <a:lnTo>
                    <a:pt x="138" y="142"/>
                  </a:lnTo>
                  <a:lnTo>
                    <a:pt x="126" y="1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41" name="Freeform 66">
              <a:extLst>
                <a:ext uri="{FF2B5EF4-FFF2-40B4-BE49-F238E27FC236}">
                  <a16:creationId xmlns:a16="http://schemas.microsoft.com/office/drawing/2014/main" id="{92C6098B-DB4D-5426-F04C-34AEA83C74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2200" y="2838450"/>
              <a:ext cx="82550" cy="82550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48" y="0"/>
                </a:cxn>
                <a:cxn ang="0">
                  <a:pos x="38" y="0"/>
                </a:cxn>
                <a:cxn ang="0">
                  <a:pos x="30" y="4"/>
                </a:cxn>
                <a:cxn ang="0">
                  <a:pos x="22" y="8"/>
                </a:cxn>
                <a:cxn ang="0">
                  <a:pos x="14" y="14"/>
                </a:cxn>
                <a:cxn ang="0">
                  <a:pos x="8" y="22"/>
                </a:cxn>
                <a:cxn ang="0">
                  <a:pos x="4" y="30"/>
                </a:cxn>
                <a:cxn ang="0">
                  <a:pos x="0" y="38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2" y="50"/>
                </a:cxn>
                <a:cxn ang="0">
                  <a:pos x="4" y="52"/>
                </a:cxn>
                <a:cxn ang="0">
                  <a:pos x="4" y="52"/>
                </a:cxn>
                <a:cxn ang="0">
                  <a:pos x="6" y="50"/>
                </a:cxn>
                <a:cxn ang="0">
                  <a:pos x="8" y="48"/>
                </a:cxn>
                <a:cxn ang="0">
                  <a:pos x="8" y="48"/>
                </a:cxn>
                <a:cxn ang="0">
                  <a:pos x="8" y="40"/>
                </a:cxn>
                <a:cxn ang="0">
                  <a:pos x="12" y="32"/>
                </a:cxn>
                <a:cxn ang="0">
                  <a:pos x="14" y="26"/>
                </a:cxn>
                <a:cxn ang="0">
                  <a:pos x="20" y="20"/>
                </a:cxn>
                <a:cxn ang="0">
                  <a:pos x="26" y="14"/>
                </a:cxn>
                <a:cxn ang="0">
                  <a:pos x="32" y="12"/>
                </a:cxn>
                <a:cxn ang="0">
                  <a:pos x="40" y="8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50" y="6"/>
                </a:cxn>
                <a:cxn ang="0">
                  <a:pos x="52" y="4"/>
                </a:cxn>
                <a:cxn ang="0">
                  <a:pos x="52" y="4"/>
                </a:cxn>
                <a:cxn ang="0">
                  <a:pos x="50" y="2"/>
                </a:cxn>
                <a:cxn ang="0">
                  <a:pos x="48" y="0"/>
                </a:cxn>
              </a:cxnLst>
              <a:rect l="0" t="0" r="r" b="b"/>
              <a:pathLst>
                <a:path w="52" h="52">
                  <a:moveTo>
                    <a:pt x="48" y="0"/>
                  </a:moveTo>
                  <a:lnTo>
                    <a:pt x="48" y="0"/>
                  </a:lnTo>
                  <a:lnTo>
                    <a:pt x="38" y="0"/>
                  </a:lnTo>
                  <a:lnTo>
                    <a:pt x="30" y="4"/>
                  </a:lnTo>
                  <a:lnTo>
                    <a:pt x="22" y="8"/>
                  </a:lnTo>
                  <a:lnTo>
                    <a:pt x="14" y="14"/>
                  </a:lnTo>
                  <a:lnTo>
                    <a:pt x="8" y="22"/>
                  </a:lnTo>
                  <a:lnTo>
                    <a:pt x="4" y="30"/>
                  </a:lnTo>
                  <a:lnTo>
                    <a:pt x="0" y="3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2" y="50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6" y="50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0"/>
                  </a:lnTo>
                  <a:lnTo>
                    <a:pt x="12" y="32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6" y="14"/>
                  </a:lnTo>
                  <a:lnTo>
                    <a:pt x="32" y="12"/>
                  </a:lnTo>
                  <a:lnTo>
                    <a:pt x="40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0" y="6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0" y="2"/>
                  </a:lnTo>
                  <a:lnTo>
                    <a:pt x="4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42" name="Freeform 67">
              <a:extLst>
                <a:ext uri="{FF2B5EF4-FFF2-40B4-BE49-F238E27FC236}">
                  <a16:creationId xmlns:a16="http://schemas.microsoft.com/office/drawing/2014/main" id="{8A0CB444-9253-D0E2-892E-244F0421BB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2200" y="2838450"/>
              <a:ext cx="82550" cy="82550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48" y="0"/>
                </a:cxn>
                <a:cxn ang="0">
                  <a:pos x="38" y="0"/>
                </a:cxn>
                <a:cxn ang="0">
                  <a:pos x="30" y="4"/>
                </a:cxn>
                <a:cxn ang="0">
                  <a:pos x="22" y="8"/>
                </a:cxn>
                <a:cxn ang="0">
                  <a:pos x="14" y="14"/>
                </a:cxn>
                <a:cxn ang="0">
                  <a:pos x="8" y="22"/>
                </a:cxn>
                <a:cxn ang="0">
                  <a:pos x="4" y="30"/>
                </a:cxn>
                <a:cxn ang="0">
                  <a:pos x="0" y="38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2" y="50"/>
                </a:cxn>
                <a:cxn ang="0">
                  <a:pos x="4" y="52"/>
                </a:cxn>
                <a:cxn ang="0">
                  <a:pos x="4" y="52"/>
                </a:cxn>
                <a:cxn ang="0">
                  <a:pos x="6" y="50"/>
                </a:cxn>
                <a:cxn ang="0">
                  <a:pos x="8" y="48"/>
                </a:cxn>
                <a:cxn ang="0">
                  <a:pos x="8" y="48"/>
                </a:cxn>
                <a:cxn ang="0">
                  <a:pos x="8" y="40"/>
                </a:cxn>
                <a:cxn ang="0">
                  <a:pos x="12" y="32"/>
                </a:cxn>
                <a:cxn ang="0">
                  <a:pos x="14" y="26"/>
                </a:cxn>
                <a:cxn ang="0">
                  <a:pos x="20" y="20"/>
                </a:cxn>
                <a:cxn ang="0">
                  <a:pos x="26" y="14"/>
                </a:cxn>
                <a:cxn ang="0">
                  <a:pos x="32" y="12"/>
                </a:cxn>
                <a:cxn ang="0">
                  <a:pos x="40" y="8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50" y="6"/>
                </a:cxn>
                <a:cxn ang="0">
                  <a:pos x="52" y="4"/>
                </a:cxn>
                <a:cxn ang="0">
                  <a:pos x="52" y="4"/>
                </a:cxn>
                <a:cxn ang="0">
                  <a:pos x="50" y="2"/>
                </a:cxn>
                <a:cxn ang="0">
                  <a:pos x="48" y="0"/>
                </a:cxn>
              </a:cxnLst>
              <a:rect l="0" t="0" r="r" b="b"/>
              <a:pathLst>
                <a:path w="52" h="52">
                  <a:moveTo>
                    <a:pt x="48" y="0"/>
                  </a:moveTo>
                  <a:lnTo>
                    <a:pt x="48" y="0"/>
                  </a:lnTo>
                  <a:lnTo>
                    <a:pt x="38" y="0"/>
                  </a:lnTo>
                  <a:lnTo>
                    <a:pt x="30" y="4"/>
                  </a:lnTo>
                  <a:lnTo>
                    <a:pt x="22" y="8"/>
                  </a:lnTo>
                  <a:lnTo>
                    <a:pt x="14" y="14"/>
                  </a:lnTo>
                  <a:lnTo>
                    <a:pt x="8" y="22"/>
                  </a:lnTo>
                  <a:lnTo>
                    <a:pt x="4" y="30"/>
                  </a:lnTo>
                  <a:lnTo>
                    <a:pt x="0" y="3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2" y="50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6" y="50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0"/>
                  </a:lnTo>
                  <a:lnTo>
                    <a:pt x="12" y="32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6" y="14"/>
                  </a:lnTo>
                  <a:lnTo>
                    <a:pt x="32" y="12"/>
                  </a:lnTo>
                  <a:lnTo>
                    <a:pt x="40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0" y="6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0" y="2"/>
                  </a:lnTo>
                  <a:lnTo>
                    <a:pt x="48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</p:grpSp>
      <p:sp>
        <p:nvSpPr>
          <p:cNvPr id="43" name="Freeform 52">
            <a:extLst>
              <a:ext uri="{FF2B5EF4-FFF2-40B4-BE49-F238E27FC236}">
                <a16:creationId xmlns:a16="http://schemas.microsoft.com/office/drawing/2014/main" id="{8B91679D-1E17-62EC-D911-B7361621AA5A}"/>
              </a:ext>
            </a:extLst>
          </p:cNvPr>
          <p:cNvSpPr>
            <a:spLocks noEditPoints="1"/>
          </p:cNvSpPr>
          <p:nvPr/>
        </p:nvSpPr>
        <p:spPr bwMode="auto">
          <a:xfrm>
            <a:off x="6870578" y="4099229"/>
            <a:ext cx="366422" cy="366422"/>
          </a:xfrm>
          <a:custGeom>
            <a:avLst/>
            <a:gdLst/>
            <a:ahLst/>
            <a:cxnLst>
              <a:cxn ang="0">
                <a:pos x="224" y="12"/>
              </a:cxn>
              <a:cxn ang="0">
                <a:pos x="188" y="0"/>
              </a:cxn>
              <a:cxn ang="0">
                <a:pos x="168" y="4"/>
              </a:cxn>
              <a:cxn ang="0">
                <a:pos x="112" y="54"/>
              </a:cxn>
              <a:cxn ang="0">
                <a:pos x="110" y="54"/>
              </a:cxn>
              <a:cxn ang="0">
                <a:pos x="28" y="138"/>
              </a:cxn>
              <a:cxn ang="0">
                <a:pos x="20" y="152"/>
              </a:cxn>
              <a:cxn ang="0">
                <a:pos x="0" y="228"/>
              </a:cxn>
              <a:cxn ang="0">
                <a:pos x="8" y="248"/>
              </a:cxn>
              <a:cxn ang="0">
                <a:pos x="28" y="256"/>
              </a:cxn>
              <a:cxn ang="0">
                <a:pos x="106" y="236"/>
              </a:cxn>
              <a:cxn ang="0">
                <a:pos x="240" y="106"/>
              </a:cxn>
              <a:cxn ang="0">
                <a:pos x="252" y="86"/>
              </a:cxn>
              <a:cxn ang="0">
                <a:pos x="254" y="52"/>
              </a:cxn>
              <a:cxn ang="0">
                <a:pos x="236" y="20"/>
              </a:cxn>
              <a:cxn ang="0">
                <a:pos x="126" y="180"/>
              </a:cxn>
              <a:cxn ang="0">
                <a:pos x="198" y="94"/>
              </a:cxn>
              <a:cxn ang="0">
                <a:pos x="196" y="126"/>
              </a:cxn>
              <a:cxn ang="0">
                <a:pos x="190" y="134"/>
              </a:cxn>
              <a:cxn ang="0">
                <a:pos x="128" y="196"/>
              </a:cxn>
              <a:cxn ang="0">
                <a:pos x="118" y="162"/>
              </a:cxn>
              <a:cxn ang="0">
                <a:pos x="100" y="142"/>
              </a:cxn>
              <a:cxn ang="0">
                <a:pos x="168" y="60"/>
              </a:cxn>
              <a:cxn ang="0">
                <a:pos x="184" y="72"/>
              </a:cxn>
              <a:cxn ang="0">
                <a:pos x="118" y="162"/>
              </a:cxn>
              <a:cxn ang="0">
                <a:pos x="72" y="130"/>
              </a:cxn>
              <a:cxn ang="0">
                <a:pos x="122" y="66"/>
              </a:cxn>
              <a:cxn ang="0">
                <a:pos x="150" y="56"/>
              </a:cxn>
              <a:cxn ang="0">
                <a:pos x="34" y="238"/>
              </a:cxn>
              <a:cxn ang="0">
                <a:pos x="28" y="240"/>
              </a:cxn>
              <a:cxn ang="0">
                <a:pos x="16" y="232"/>
              </a:cxn>
              <a:cxn ang="0">
                <a:pos x="16" y="224"/>
              </a:cxn>
              <a:cxn ang="0">
                <a:pos x="32" y="194"/>
              </a:cxn>
              <a:cxn ang="0">
                <a:pos x="52" y="204"/>
              </a:cxn>
              <a:cxn ang="0">
                <a:pos x="60" y="218"/>
              </a:cxn>
              <a:cxn ang="0">
                <a:pos x="34" y="238"/>
              </a:cxn>
              <a:cxn ang="0">
                <a:pos x="70" y="222"/>
              </a:cxn>
              <a:cxn ang="0">
                <a:pos x="58" y="198"/>
              </a:cxn>
              <a:cxn ang="0">
                <a:pos x="44" y="188"/>
              </a:cxn>
              <a:cxn ang="0">
                <a:pos x="36" y="156"/>
              </a:cxn>
              <a:cxn ang="0">
                <a:pos x="38" y="150"/>
              </a:cxn>
              <a:cxn ang="0">
                <a:pos x="60" y="144"/>
              </a:cxn>
              <a:cxn ang="0">
                <a:pos x="82" y="150"/>
              </a:cxn>
              <a:cxn ang="0">
                <a:pos x="96" y="160"/>
              </a:cxn>
              <a:cxn ang="0">
                <a:pos x="110" y="182"/>
              </a:cxn>
              <a:cxn ang="0">
                <a:pos x="110" y="206"/>
              </a:cxn>
              <a:cxn ang="0">
                <a:pos x="104" y="220"/>
              </a:cxn>
              <a:cxn ang="0">
                <a:pos x="230" y="94"/>
              </a:cxn>
              <a:cxn ang="0">
                <a:pos x="216" y="102"/>
              </a:cxn>
              <a:cxn ang="0">
                <a:pos x="210" y="80"/>
              </a:cxn>
              <a:cxn ang="0">
                <a:pos x="196" y="60"/>
              </a:cxn>
              <a:cxn ang="0">
                <a:pos x="162" y="42"/>
              </a:cxn>
              <a:cxn ang="0">
                <a:pos x="162" y="26"/>
              </a:cxn>
              <a:cxn ang="0">
                <a:pos x="180" y="16"/>
              </a:cxn>
              <a:cxn ang="0">
                <a:pos x="198" y="18"/>
              </a:cxn>
              <a:cxn ang="0">
                <a:pos x="224" y="32"/>
              </a:cxn>
              <a:cxn ang="0">
                <a:pos x="236" y="48"/>
              </a:cxn>
              <a:cxn ang="0">
                <a:pos x="240" y="66"/>
              </a:cxn>
              <a:cxn ang="0">
                <a:pos x="234" y="88"/>
              </a:cxn>
            </a:cxnLst>
            <a:rect l="0" t="0" r="r" b="b"/>
            <a:pathLst>
              <a:path w="256" h="256">
                <a:moveTo>
                  <a:pt x="236" y="20"/>
                </a:moveTo>
                <a:lnTo>
                  <a:pt x="236" y="20"/>
                </a:lnTo>
                <a:lnTo>
                  <a:pt x="224" y="12"/>
                </a:lnTo>
                <a:lnTo>
                  <a:pt x="212" y="6"/>
                </a:lnTo>
                <a:lnTo>
                  <a:pt x="200" y="2"/>
                </a:lnTo>
                <a:lnTo>
                  <a:pt x="188" y="0"/>
                </a:lnTo>
                <a:lnTo>
                  <a:pt x="188" y="0"/>
                </a:lnTo>
                <a:lnTo>
                  <a:pt x="178" y="0"/>
                </a:lnTo>
                <a:lnTo>
                  <a:pt x="168" y="4"/>
                </a:lnTo>
                <a:lnTo>
                  <a:pt x="158" y="8"/>
                </a:lnTo>
                <a:lnTo>
                  <a:pt x="150" y="16"/>
                </a:lnTo>
                <a:lnTo>
                  <a:pt x="112" y="54"/>
                </a:lnTo>
                <a:lnTo>
                  <a:pt x="112" y="54"/>
                </a:lnTo>
                <a:lnTo>
                  <a:pt x="110" y="54"/>
                </a:lnTo>
                <a:lnTo>
                  <a:pt x="110" y="54"/>
                </a:lnTo>
                <a:lnTo>
                  <a:pt x="110" y="54"/>
                </a:lnTo>
                <a:lnTo>
                  <a:pt x="110" y="54"/>
                </a:lnTo>
                <a:lnTo>
                  <a:pt x="28" y="138"/>
                </a:lnTo>
                <a:lnTo>
                  <a:pt x="28" y="138"/>
                </a:lnTo>
                <a:lnTo>
                  <a:pt x="24" y="144"/>
                </a:lnTo>
                <a:lnTo>
                  <a:pt x="20" y="152"/>
                </a:lnTo>
                <a:lnTo>
                  <a:pt x="2" y="220"/>
                </a:lnTo>
                <a:lnTo>
                  <a:pt x="2" y="220"/>
                </a:lnTo>
                <a:lnTo>
                  <a:pt x="0" y="228"/>
                </a:lnTo>
                <a:lnTo>
                  <a:pt x="0" y="228"/>
                </a:lnTo>
                <a:lnTo>
                  <a:pt x="2" y="238"/>
                </a:lnTo>
                <a:lnTo>
                  <a:pt x="8" y="248"/>
                </a:lnTo>
                <a:lnTo>
                  <a:pt x="18" y="254"/>
                </a:lnTo>
                <a:lnTo>
                  <a:pt x="28" y="256"/>
                </a:lnTo>
                <a:lnTo>
                  <a:pt x="28" y="256"/>
                </a:lnTo>
                <a:lnTo>
                  <a:pt x="38" y="254"/>
                </a:lnTo>
                <a:lnTo>
                  <a:pt x="106" y="236"/>
                </a:lnTo>
                <a:lnTo>
                  <a:pt x="106" y="236"/>
                </a:lnTo>
                <a:lnTo>
                  <a:pt x="112" y="234"/>
                </a:lnTo>
                <a:lnTo>
                  <a:pt x="118" y="228"/>
                </a:lnTo>
                <a:lnTo>
                  <a:pt x="240" y="106"/>
                </a:lnTo>
                <a:lnTo>
                  <a:pt x="240" y="106"/>
                </a:lnTo>
                <a:lnTo>
                  <a:pt x="248" y="96"/>
                </a:lnTo>
                <a:lnTo>
                  <a:pt x="252" y="86"/>
                </a:lnTo>
                <a:lnTo>
                  <a:pt x="256" y="76"/>
                </a:lnTo>
                <a:lnTo>
                  <a:pt x="256" y="64"/>
                </a:lnTo>
                <a:lnTo>
                  <a:pt x="254" y="52"/>
                </a:lnTo>
                <a:lnTo>
                  <a:pt x="250" y="42"/>
                </a:lnTo>
                <a:lnTo>
                  <a:pt x="244" y="30"/>
                </a:lnTo>
                <a:lnTo>
                  <a:pt x="236" y="20"/>
                </a:lnTo>
                <a:close/>
                <a:moveTo>
                  <a:pt x="128" y="190"/>
                </a:moveTo>
                <a:lnTo>
                  <a:pt x="128" y="190"/>
                </a:lnTo>
                <a:lnTo>
                  <a:pt x="126" y="180"/>
                </a:lnTo>
                <a:lnTo>
                  <a:pt x="122" y="170"/>
                </a:lnTo>
                <a:lnTo>
                  <a:pt x="198" y="94"/>
                </a:lnTo>
                <a:lnTo>
                  <a:pt x="198" y="94"/>
                </a:lnTo>
                <a:lnTo>
                  <a:pt x="200" y="104"/>
                </a:lnTo>
                <a:lnTo>
                  <a:pt x="200" y="116"/>
                </a:lnTo>
                <a:lnTo>
                  <a:pt x="196" y="126"/>
                </a:lnTo>
                <a:lnTo>
                  <a:pt x="190" y="134"/>
                </a:lnTo>
                <a:lnTo>
                  <a:pt x="190" y="134"/>
                </a:lnTo>
                <a:lnTo>
                  <a:pt x="190" y="134"/>
                </a:lnTo>
                <a:lnTo>
                  <a:pt x="190" y="134"/>
                </a:lnTo>
                <a:lnTo>
                  <a:pt x="128" y="196"/>
                </a:lnTo>
                <a:lnTo>
                  <a:pt x="128" y="196"/>
                </a:lnTo>
                <a:lnTo>
                  <a:pt x="128" y="190"/>
                </a:lnTo>
                <a:close/>
                <a:moveTo>
                  <a:pt x="118" y="162"/>
                </a:moveTo>
                <a:lnTo>
                  <a:pt x="118" y="162"/>
                </a:lnTo>
                <a:lnTo>
                  <a:pt x="108" y="148"/>
                </a:lnTo>
                <a:lnTo>
                  <a:pt x="108" y="148"/>
                </a:lnTo>
                <a:lnTo>
                  <a:pt x="100" y="142"/>
                </a:lnTo>
                <a:lnTo>
                  <a:pt x="92" y="136"/>
                </a:lnTo>
                <a:lnTo>
                  <a:pt x="168" y="60"/>
                </a:lnTo>
                <a:lnTo>
                  <a:pt x="168" y="60"/>
                </a:lnTo>
                <a:lnTo>
                  <a:pt x="176" y="64"/>
                </a:lnTo>
                <a:lnTo>
                  <a:pt x="184" y="72"/>
                </a:lnTo>
                <a:lnTo>
                  <a:pt x="184" y="72"/>
                </a:lnTo>
                <a:lnTo>
                  <a:pt x="190" y="78"/>
                </a:lnTo>
                <a:lnTo>
                  <a:pt x="194" y="86"/>
                </a:lnTo>
                <a:lnTo>
                  <a:pt x="118" y="162"/>
                </a:lnTo>
                <a:close/>
                <a:moveTo>
                  <a:pt x="84" y="132"/>
                </a:moveTo>
                <a:lnTo>
                  <a:pt x="84" y="132"/>
                </a:lnTo>
                <a:lnTo>
                  <a:pt x="72" y="130"/>
                </a:lnTo>
                <a:lnTo>
                  <a:pt x="60" y="128"/>
                </a:lnTo>
                <a:lnTo>
                  <a:pt x="122" y="66"/>
                </a:lnTo>
                <a:lnTo>
                  <a:pt x="122" y="66"/>
                </a:lnTo>
                <a:lnTo>
                  <a:pt x="130" y="60"/>
                </a:lnTo>
                <a:lnTo>
                  <a:pt x="140" y="56"/>
                </a:lnTo>
                <a:lnTo>
                  <a:pt x="150" y="56"/>
                </a:lnTo>
                <a:lnTo>
                  <a:pt x="160" y="58"/>
                </a:lnTo>
                <a:lnTo>
                  <a:pt x="84" y="132"/>
                </a:lnTo>
                <a:close/>
                <a:moveTo>
                  <a:pt x="34" y="238"/>
                </a:moveTo>
                <a:lnTo>
                  <a:pt x="34" y="238"/>
                </a:lnTo>
                <a:lnTo>
                  <a:pt x="28" y="240"/>
                </a:lnTo>
                <a:lnTo>
                  <a:pt x="28" y="240"/>
                </a:lnTo>
                <a:lnTo>
                  <a:pt x="24" y="240"/>
                </a:lnTo>
                <a:lnTo>
                  <a:pt x="20" y="236"/>
                </a:lnTo>
                <a:lnTo>
                  <a:pt x="16" y="232"/>
                </a:lnTo>
                <a:lnTo>
                  <a:pt x="16" y="228"/>
                </a:lnTo>
                <a:lnTo>
                  <a:pt x="16" y="228"/>
                </a:lnTo>
                <a:lnTo>
                  <a:pt x="16" y="224"/>
                </a:lnTo>
                <a:lnTo>
                  <a:pt x="26" y="192"/>
                </a:lnTo>
                <a:lnTo>
                  <a:pt x="26" y="192"/>
                </a:lnTo>
                <a:lnTo>
                  <a:pt x="32" y="194"/>
                </a:lnTo>
                <a:lnTo>
                  <a:pt x="40" y="196"/>
                </a:lnTo>
                <a:lnTo>
                  <a:pt x="46" y="200"/>
                </a:lnTo>
                <a:lnTo>
                  <a:pt x="52" y="204"/>
                </a:lnTo>
                <a:lnTo>
                  <a:pt x="52" y="204"/>
                </a:lnTo>
                <a:lnTo>
                  <a:pt x="58" y="210"/>
                </a:lnTo>
                <a:lnTo>
                  <a:pt x="60" y="218"/>
                </a:lnTo>
                <a:lnTo>
                  <a:pt x="62" y="224"/>
                </a:lnTo>
                <a:lnTo>
                  <a:pt x="64" y="232"/>
                </a:lnTo>
                <a:lnTo>
                  <a:pt x="34" y="238"/>
                </a:lnTo>
                <a:close/>
                <a:moveTo>
                  <a:pt x="70" y="230"/>
                </a:moveTo>
                <a:lnTo>
                  <a:pt x="70" y="230"/>
                </a:lnTo>
                <a:lnTo>
                  <a:pt x="70" y="222"/>
                </a:lnTo>
                <a:lnTo>
                  <a:pt x="68" y="214"/>
                </a:lnTo>
                <a:lnTo>
                  <a:pt x="64" y="206"/>
                </a:lnTo>
                <a:lnTo>
                  <a:pt x="58" y="198"/>
                </a:lnTo>
                <a:lnTo>
                  <a:pt x="58" y="198"/>
                </a:lnTo>
                <a:lnTo>
                  <a:pt x="50" y="192"/>
                </a:lnTo>
                <a:lnTo>
                  <a:pt x="44" y="188"/>
                </a:lnTo>
                <a:lnTo>
                  <a:pt x="36" y="186"/>
                </a:lnTo>
                <a:lnTo>
                  <a:pt x="28" y="184"/>
                </a:lnTo>
                <a:lnTo>
                  <a:pt x="36" y="156"/>
                </a:lnTo>
                <a:lnTo>
                  <a:pt x="36" y="156"/>
                </a:lnTo>
                <a:lnTo>
                  <a:pt x="38" y="150"/>
                </a:lnTo>
                <a:lnTo>
                  <a:pt x="38" y="150"/>
                </a:lnTo>
                <a:lnTo>
                  <a:pt x="44" y="146"/>
                </a:lnTo>
                <a:lnTo>
                  <a:pt x="52" y="144"/>
                </a:lnTo>
                <a:lnTo>
                  <a:pt x="60" y="144"/>
                </a:lnTo>
                <a:lnTo>
                  <a:pt x="68" y="144"/>
                </a:lnTo>
                <a:lnTo>
                  <a:pt x="74" y="146"/>
                </a:lnTo>
                <a:lnTo>
                  <a:pt x="82" y="150"/>
                </a:lnTo>
                <a:lnTo>
                  <a:pt x="90" y="154"/>
                </a:lnTo>
                <a:lnTo>
                  <a:pt x="96" y="160"/>
                </a:lnTo>
                <a:lnTo>
                  <a:pt x="96" y="160"/>
                </a:lnTo>
                <a:lnTo>
                  <a:pt x="102" y="166"/>
                </a:lnTo>
                <a:lnTo>
                  <a:pt x="108" y="174"/>
                </a:lnTo>
                <a:lnTo>
                  <a:pt x="110" y="182"/>
                </a:lnTo>
                <a:lnTo>
                  <a:pt x="112" y="190"/>
                </a:lnTo>
                <a:lnTo>
                  <a:pt x="112" y="198"/>
                </a:lnTo>
                <a:lnTo>
                  <a:pt x="110" y="206"/>
                </a:lnTo>
                <a:lnTo>
                  <a:pt x="108" y="214"/>
                </a:lnTo>
                <a:lnTo>
                  <a:pt x="104" y="220"/>
                </a:lnTo>
                <a:lnTo>
                  <a:pt x="104" y="220"/>
                </a:lnTo>
                <a:lnTo>
                  <a:pt x="100" y="222"/>
                </a:lnTo>
                <a:lnTo>
                  <a:pt x="70" y="230"/>
                </a:lnTo>
                <a:close/>
                <a:moveTo>
                  <a:pt x="230" y="94"/>
                </a:moveTo>
                <a:lnTo>
                  <a:pt x="216" y="108"/>
                </a:lnTo>
                <a:lnTo>
                  <a:pt x="216" y="108"/>
                </a:lnTo>
                <a:lnTo>
                  <a:pt x="216" y="102"/>
                </a:lnTo>
                <a:lnTo>
                  <a:pt x="216" y="102"/>
                </a:lnTo>
                <a:lnTo>
                  <a:pt x="214" y="90"/>
                </a:lnTo>
                <a:lnTo>
                  <a:pt x="210" y="80"/>
                </a:lnTo>
                <a:lnTo>
                  <a:pt x="204" y="70"/>
                </a:lnTo>
                <a:lnTo>
                  <a:pt x="196" y="60"/>
                </a:lnTo>
                <a:lnTo>
                  <a:pt x="196" y="60"/>
                </a:lnTo>
                <a:lnTo>
                  <a:pt x="186" y="52"/>
                </a:lnTo>
                <a:lnTo>
                  <a:pt x="174" y="46"/>
                </a:lnTo>
                <a:lnTo>
                  <a:pt x="162" y="42"/>
                </a:lnTo>
                <a:lnTo>
                  <a:pt x="148" y="40"/>
                </a:lnTo>
                <a:lnTo>
                  <a:pt x="162" y="26"/>
                </a:lnTo>
                <a:lnTo>
                  <a:pt x="162" y="26"/>
                </a:lnTo>
                <a:lnTo>
                  <a:pt x="168" y="22"/>
                </a:lnTo>
                <a:lnTo>
                  <a:pt x="174" y="18"/>
                </a:lnTo>
                <a:lnTo>
                  <a:pt x="180" y="16"/>
                </a:lnTo>
                <a:lnTo>
                  <a:pt x="188" y="16"/>
                </a:lnTo>
                <a:lnTo>
                  <a:pt x="188" y="16"/>
                </a:lnTo>
                <a:lnTo>
                  <a:pt x="198" y="18"/>
                </a:lnTo>
                <a:lnTo>
                  <a:pt x="206" y="20"/>
                </a:lnTo>
                <a:lnTo>
                  <a:pt x="216" y="26"/>
                </a:lnTo>
                <a:lnTo>
                  <a:pt x="224" y="32"/>
                </a:lnTo>
                <a:lnTo>
                  <a:pt x="224" y="32"/>
                </a:lnTo>
                <a:lnTo>
                  <a:pt x="230" y="40"/>
                </a:lnTo>
                <a:lnTo>
                  <a:pt x="236" y="48"/>
                </a:lnTo>
                <a:lnTo>
                  <a:pt x="238" y="56"/>
                </a:lnTo>
                <a:lnTo>
                  <a:pt x="240" y="66"/>
                </a:lnTo>
                <a:lnTo>
                  <a:pt x="240" y="66"/>
                </a:lnTo>
                <a:lnTo>
                  <a:pt x="240" y="74"/>
                </a:lnTo>
                <a:lnTo>
                  <a:pt x="238" y="82"/>
                </a:lnTo>
                <a:lnTo>
                  <a:pt x="234" y="88"/>
                </a:lnTo>
                <a:lnTo>
                  <a:pt x="230" y="94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ar-SA"/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05A8DA21-3367-82F5-11C7-509C1C1767C8}"/>
              </a:ext>
            </a:extLst>
          </p:cNvPr>
          <p:cNvGrpSpPr/>
          <p:nvPr/>
        </p:nvGrpSpPr>
        <p:grpSpPr>
          <a:xfrm>
            <a:off x="6871454" y="5154205"/>
            <a:ext cx="364671" cy="364671"/>
            <a:chOff x="3149600" y="2774950"/>
            <a:chExt cx="406400" cy="406400"/>
          </a:xfrm>
          <a:solidFill>
            <a:schemeClr val="bg2"/>
          </a:solidFill>
        </p:grpSpPr>
        <p:sp>
          <p:nvSpPr>
            <p:cNvPr id="45" name="Freeform 110">
              <a:extLst>
                <a:ext uri="{FF2B5EF4-FFF2-40B4-BE49-F238E27FC236}">
                  <a16:creationId xmlns:a16="http://schemas.microsoft.com/office/drawing/2014/main" id="{A066BD5E-44DE-23EE-20B5-E46145E6BF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7400" y="2978150"/>
              <a:ext cx="63500" cy="63500"/>
            </a:xfrm>
            <a:custGeom>
              <a:avLst/>
              <a:gdLst/>
              <a:ahLst/>
              <a:cxnLst>
                <a:cxn ang="0">
                  <a:pos x="20" y="40"/>
                </a:cxn>
                <a:cxn ang="0">
                  <a:pos x="20" y="40"/>
                </a:cxn>
                <a:cxn ang="0">
                  <a:pos x="28" y="38"/>
                </a:cxn>
                <a:cxn ang="0">
                  <a:pos x="34" y="34"/>
                </a:cxn>
                <a:cxn ang="0">
                  <a:pos x="38" y="28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38" y="12"/>
                </a:cxn>
                <a:cxn ang="0">
                  <a:pos x="34" y="6"/>
                </a:cxn>
                <a:cxn ang="0">
                  <a:pos x="28" y="2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12" y="2"/>
                </a:cxn>
                <a:cxn ang="0">
                  <a:pos x="6" y="6"/>
                </a:cxn>
                <a:cxn ang="0">
                  <a:pos x="2" y="12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2" y="28"/>
                </a:cxn>
                <a:cxn ang="0">
                  <a:pos x="6" y="34"/>
                </a:cxn>
                <a:cxn ang="0">
                  <a:pos x="12" y="38"/>
                </a:cxn>
                <a:cxn ang="0">
                  <a:pos x="20" y="40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8" y="12"/>
                </a:cxn>
                <a:cxn ang="0">
                  <a:pos x="32" y="16"/>
                </a:cxn>
                <a:cxn ang="0">
                  <a:pos x="32" y="20"/>
                </a:cxn>
                <a:cxn ang="0">
                  <a:pos x="32" y="20"/>
                </a:cxn>
                <a:cxn ang="0">
                  <a:pos x="32" y="24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2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12" y="12"/>
                </a:cxn>
                <a:cxn ang="0">
                  <a:pos x="16" y="8"/>
                </a:cxn>
                <a:cxn ang="0">
                  <a:pos x="20" y="8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lnTo>
                    <a:pt x="20" y="40"/>
                  </a:lnTo>
                  <a:lnTo>
                    <a:pt x="28" y="38"/>
                  </a:lnTo>
                  <a:lnTo>
                    <a:pt x="34" y="34"/>
                  </a:lnTo>
                  <a:lnTo>
                    <a:pt x="38" y="28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8" y="12"/>
                  </a:lnTo>
                  <a:lnTo>
                    <a:pt x="34" y="6"/>
                  </a:lnTo>
                  <a:lnTo>
                    <a:pt x="28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2" y="2"/>
                  </a:lnTo>
                  <a:lnTo>
                    <a:pt x="6" y="6"/>
                  </a:lnTo>
                  <a:lnTo>
                    <a:pt x="2" y="1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2" y="28"/>
                  </a:lnTo>
                  <a:lnTo>
                    <a:pt x="6" y="34"/>
                  </a:lnTo>
                  <a:lnTo>
                    <a:pt x="12" y="38"/>
                  </a:lnTo>
                  <a:lnTo>
                    <a:pt x="20" y="40"/>
                  </a:lnTo>
                  <a:close/>
                  <a:moveTo>
                    <a:pt x="20" y="8"/>
                  </a:moveTo>
                  <a:lnTo>
                    <a:pt x="20" y="8"/>
                  </a:lnTo>
                  <a:lnTo>
                    <a:pt x="24" y="8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28" y="28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2" y="28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2"/>
                  </a:lnTo>
                  <a:lnTo>
                    <a:pt x="16" y="8"/>
                  </a:lnTo>
                  <a:lnTo>
                    <a:pt x="20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46" name="Freeform 113">
              <a:extLst>
                <a:ext uri="{FF2B5EF4-FFF2-40B4-BE49-F238E27FC236}">
                  <a16:creationId xmlns:a16="http://schemas.microsoft.com/office/drawing/2014/main" id="{CADFADEE-DBD3-76B8-1BD6-7DB8D677AF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92500" y="2774950"/>
              <a:ext cx="63500" cy="6350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20" y="0"/>
                </a:cxn>
                <a:cxn ang="0">
                  <a:pos x="12" y="2"/>
                </a:cxn>
                <a:cxn ang="0">
                  <a:pos x="6" y="6"/>
                </a:cxn>
                <a:cxn ang="0">
                  <a:pos x="2" y="12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2" y="28"/>
                </a:cxn>
                <a:cxn ang="0">
                  <a:pos x="6" y="34"/>
                </a:cxn>
                <a:cxn ang="0">
                  <a:pos x="12" y="38"/>
                </a:cxn>
                <a:cxn ang="0">
                  <a:pos x="20" y="40"/>
                </a:cxn>
                <a:cxn ang="0">
                  <a:pos x="20" y="40"/>
                </a:cxn>
                <a:cxn ang="0">
                  <a:pos x="28" y="38"/>
                </a:cxn>
                <a:cxn ang="0">
                  <a:pos x="34" y="34"/>
                </a:cxn>
                <a:cxn ang="0">
                  <a:pos x="38" y="28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38" y="12"/>
                </a:cxn>
                <a:cxn ang="0">
                  <a:pos x="34" y="6"/>
                </a:cxn>
                <a:cxn ang="0">
                  <a:pos x="28" y="2"/>
                </a:cxn>
                <a:cxn ang="0">
                  <a:pos x="20" y="0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2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12" y="12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8" y="12"/>
                </a:cxn>
                <a:cxn ang="0">
                  <a:pos x="32" y="16"/>
                </a:cxn>
                <a:cxn ang="0">
                  <a:pos x="32" y="20"/>
                </a:cxn>
                <a:cxn ang="0">
                  <a:pos x="32" y="20"/>
                </a:cxn>
                <a:cxn ang="0">
                  <a:pos x="32" y="24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20" y="32"/>
                </a:cxn>
              </a:cxnLst>
              <a:rect l="0" t="0" r="r" b="b"/>
              <a:pathLst>
                <a:path w="40" h="40">
                  <a:moveTo>
                    <a:pt x="20" y="0"/>
                  </a:moveTo>
                  <a:lnTo>
                    <a:pt x="20" y="0"/>
                  </a:lnTo>
                  <a:lnTo>
                    <a:pt x="12" y="2"/>
                  </a:lnTo>
                  <a:lnTo>
                    <a:pt x="6" y="6"/>
                  </a:lnTo>
                  <a:lnTo>
                    <a:pt x="2" y="1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2" y="28"/>
                  </a:lnTo>
                  <a:lnTo>
                    <a:pt x="6" y="34"/>
                  </a:lnTo>
                  <a:lnTo>
                    <a:pt x="12" y="38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8" y="38"/>
                  </a:lnTo>
                  <a:lnTo>
                    <a:pt x="34" y="34"/>
                  </a:lnTo>
                  <a:lnTo>
                    <a:pt x="38" y="28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8" y="12"/>
                  </a:lnTo>
                  <a:lnTo>
                    <a:pt x="34" y="6"/>
                  </a:lnTo>
                  <a:lnTo>
                    <a:pt x="28" y="2"/>
                  </a:lnTo>
                  <a:lnTo>
                    <a:pt x="20" y="0"/>
                  </a:lnTo>
                  <a:close/>
                  <a:moveTo>
                    <a:pt x="20" y="32"/>
                  </a:moveTo>
                  <a:lnTo>
                    <a:pt x="20" y="32"/>
                  </a:lnTo>
                  <a:lnTo>
                    <a:pt x="16" y="32"/>
                  </a:lnTo>
                  <a:lnTo>
                    <a:pt x="12" y="28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2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28" y="28"/>
                  </a:lnTo>
                  <a:lnTo>
                    <a:pt x="24" y="32"/>
                  </a:lnTo>
                  <a:lnTo>
                    <a:pt x="20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47" name="Freeform 116">
              <a:extLst>
                <a:ext uri="{FF2B5EF4-FFF2-40B4-BE49-F238E27FC236}">
                  <a16:creationId xmlns:a16="http://schemas.microsoft.com/office/drawing/2014/main" id="{6FA93538-F67E-4118-CEB0-9AB3CD4FD9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51200" y="2965450"/>
              <a:ext cx="50800" cy="50800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0" y="16"/>
                </a:cxn>
                <a:cxn ang="0">
                  <a:pos x="2" y="22"/>
                </a:cxn>
                <a:cxn ang="0">
                  <a:pos x="4" y="28"/>
                </a:cxn>
                <a:cxn ang="0">
                  <a:pos x="10" y="30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22" y="30"/>
                </a:cxn>
                <a:cxn ang="0">
                  <a:pos x="28" y="28"/>
                </a:cxn>
                <a:cxn ang="0">
                  <a:pos x="30" y="22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30" y="10"/>
                </a:cxn>
                <a:cxn ang="0">
                  <a:pos x="28" y="4"/>
                </a:cxn>
                <a:cxn ang="0">
                  <a:pos x="22" y="2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0" y="2"/>
                </a:cxn>
                <a:cxn ang="0">
                  <a:pos x="4" y="4"/>
                </a:cxn>
                <a:cxn ang="0">
                  <a:pos x="2" y="10"/>
                </a:cxn>
                <a:cxn ang="0">
                  <a:pos x="0" y="16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2" y="10"/>
                </a:cxn>
                <a:cxn ang="0">
                  <a:pos x="24" y="12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4" y="20"/>
                </a:cxn>
                <a:cxn ang="0">
                  <a:pos x="22" y="22"/>
                </a:cxn>
                <a:cxn ang="0">
                  <a:pos x="20" y="24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2" y="24"/>
                </a:cxn>
                <a:cxn ang="0">
                  <a:pos x="10" y="22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6" y="8"/>
                </a:cxn>
              </a:cxnLst>
              <a:rect l="0" t="0" r="r" b="b"/>
              <a:pathLst>
                <a:path w="32" h="32">
                  <a:moveTo>
                    <a:pt x="0" y="16"/>
                  </a:moveTo>
                  <a:lnTo>
                    <a:pt x="0" y="16"/>
                  </a:lnTo>
                  <a:lnTo>
                    <a:pt x="2" y="22"/>
                  </a:lnTo>
                  <a:lnTo>
                    <a:pt x="4" y="28"/>
                  </a:lnTo>
                  <a:lnTo>
                    <a:pt x="10" y="30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22" y="30"/>
                  </a:lnTo>
                  <a:lnTo>
                    <a:pt x="28" y="28"/>
                  </a:lnTo>
                  <a:lnTo>
                    <a:pt x="30" y="2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6"/>
                  </a:lnTo>
                  <a:close/>
                  <a:moveTo>
                    <a:pt x="16" y="8"/>
                  </a:moveTo>
                  <a:lnTo>
                    <a:pt x="16" y="8"/>
                  </a:lnTo>
                  <a:lnTo>
                    <a:pt x="20" y="8"/>
                  </a:lnTo>
                  <a:lnTo>
                    <a:pt x="22" y="10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2" y="22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0" y="22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6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48" name="Freeform 119">
              <a:extLst>
                <a:ext uri="{FF2B5EF4-FFF2-40B4-BE49-F238E27FC236}">
                  <a16:creationId xmlns:a16="http://schemas.microsoft.com/office/drawing/2014/main" id="{42A4AB8F-7C65-ECAE-68F5-31ADCB465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2000" y="3054350"/>
              <a:ext cx="25400" cy="25400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8" y="16"/>
                </a:cxn>
                <a:cxn ang="0">
                  <a:pos x="12" y="16"/>
                </a:cxn>
                <a:cxn ang="0">
                  <a:pos x="14" y="14"/>
                </a:cxn>
                <a:cxn ang="0">
                  <a:pos x="16" y="12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14" y="2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8" y="16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lnTo>
                    <a:pt x="8" y="16"/>
                  </a:lnTo>
                  <a:lnTo>
                    <a:pt x="12" y="16"/>
                  </a:lnTo>
                  <a:lnTo>
                    <a:pt x="14" y="14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49" name="Freeform 121">
              <a:extLst>
                <a:ext uri="{FF2B5EF4-FFF2-40B4-BE49-F238E27FC236}">
                  <a16:creationId xmlns:a16="http://schemas.microsoft.com/office/drawing/2014/main" id="{F520F0D4-AF1C-ACD4-0F12-B1AA95259A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5200" y="2863850"/>
              <a:ext cx="25400" cy="2540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12" y="16"/>
                </a:cxn>
                <a:cxn ang="0">
                  <a:pos x="14" y="14"/>
                </a:cxn>
                <a:cxn ang="0">
                  <a:pos x="16" y="12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14" y="2"/>
                </a:cxn>
                <a:cxn ang="0">
                  <a:pos x="12" y="0"/>
                </a:cxn>
                <a:cxn ang="0">
                  <a:pos x="8" y="0"/>
                </a:cxn>
              </a:cxnLst>
              <a:rect l="0" t="0" r="r" b="b"/>
              <a:pathLst>
                <a:path w="16" h="16">
                  <a:moveTo>
                    <a:pt x="8" y="0"/>
                  </a:move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4" y="14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50" name="Freeform 106">
              <a:extLst>
                <a:ext uri="{FF2B5EF4-FFF2-40B4-BE49-F238E27FC236}">
                  <a16:creationId xmlns:a16="http://schemas.microsoft.com/office/drawing/2014/main" id="{3B577174-473A-36B3-9FF8-477FDCFD5E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9600" y="2813050"/>
              <a:ext cx="371475" cy="368300"/>
            </a:xfrm>
            <a:custGeom>
              <a:avLst/>
              <a:gdLst/>
              <a:ahLst/>
              <a:cxnLst>
                <a:cxn ang="0">
                  <a:pos x="166" y="6"/>
                </a:cxn>
                <a:cxn ang="0">
                  <a:pos x="152" y="0"/>
                </a:cxn>
                <a:cxn ang="0">
                  <a:pos x="144" y="2"/>
                </a:cxn>
                <a:cxn ang="0">
                  <a:pos x="126" y="18"/>
                </a:cxn>
                <a:cxn ang="0">
                  <a:pos x="122" y="24"/>
                </a:cxn>
                <a:cxn ang="0">
                  <a:pos x="120" y="32"/>
                </a:cxn>
                <a:cxn ang="0">
                  <a:pos x="122" y="42"/>
                </a:cxn>
                <a:cxn ang="0">
                  <a:pos x="14" y="86"/>
                </a:cxn>
                <a:cxn ang="0">
                  <a:pos x="6" y="92"/>
                </a:cxn>
                <a:cxn ang="0">
                  <a:pos x="0" y="102"/>
                </a:cxn>
                <a:cxn ang="0">
                  <a:pos x="0" y="108"/>
                </a:cxn>
                <a:cxn ang="0">
                  <a:pos x="4" y="120"/>
                </a:cxn>
                <a:cxn ang="0">
                  <a:pos x="108" y="224"/>
                </a:cxn>
                <a:cxn ang="0">
                  <a:pos x="116" y="230"/>
                </a:cxn>
                <a:cxn ang="0">
                  <a:pos x="126" y="232"/>
                </a:cxn>
                <a:cxn ang="0">
                  <a:pos x="126" y="232"/>
                </a:cxn>
                <a:cxn ang="0">
                  <a:pos x="130" y="232"/>
                </a:cxn>
                <a:cxn ang="0">
                  <a:pos x="142" y="226"/>
                </a:cxn>
                <a:cxn ang="0">
                  <a:pos x="148" y="216"/>
                </a:cxn>
                <a:cxn ang="0">
                  <a:pos x="190" y="110"/>
                </a:cxn>
                <a:cxn ang="0">
                  <a:pos x="202" y="114"/>
                </a:cxn>
                <a:cxn ang="0">
                  <a:pos x="210" y="112"/>
                </a:cxn>
                <a:cxn ang="0">
                  <a:pos x="228" y="96"/>
                </a:cxn>
                <a:cxn ang="0">
                  <a:pos x="232" y="90"/>
                </a:cxn>
                <a:cxn ang="0">
                  <a:pos x="234" y="82"/>
                </a:cxn>
                <a:cxn ang="0">
                  <a:pos x="228" y="68"/>
                </a:cxn>
                <a:cxn ang="0">
                  <a:pos x="134" y="210"/>
                </a:cxn>
                <a:cxn ang="0">
                  <a:pos x="130" y="214"/>
                </a:cxn>
                <a:cxn ang="0">
                  <a:pos x="128" y="216"/>
                </a:cxn>
                <a:cxn ang="0">
                  <a:pos x="126" y="216"/>
                </a:cxn>
                <a:cxn ang="0">
                  <a:pos x="18" y="112"/>
                </a:cxn>
                <a:cxn ang="0">
                  <a:pos x="16" y="110"/>
                </a:cxn>
                <a:cxn ang="0">
                  <a:pos x="16" y="106"/>
                </a:cxn>
                <a:cxn ang="0">
                  <a:pos x="20" y="100"/>
                </a:cxn>
                <a:cxn ang="0">
                  <a:pos x="70" y="80"/>
                </a:cxn>
                <a:cxn ang="0">
                  <a:pos x="96" y="86"/>
                </a:cxn>
                <a:cxn ang="0">
                  <a:pos x="134" y="92"/>
                </a:cxn>
                <a:cxn ang="0">
                  <a:pos x="158" y="104"/>
                </a:cxn>
                <a:cxn ang="0">
                  <a:pos x="134" y="210"/>
                </a:cxn>
                <a:cxn ang="0">
                  <a:pos x="204" y="96"/>
                </a:cxn>
                <a:cxn ang="0">
                  <a:pos x="202" y="98"/>
                </a:cxn>
                <a:cxn ang="0">
                  <a:pos x="184" y="82"/>
                </a:cxn>
                <a:cxn ang="0">
                  <a:pos x="174" y="108"/>
                </a:cxn>
                <a:cxn ang="0">
                  <a:pos x="166" y="100"/>
                </a:cxn>
                <a:cxn ang="0">
                  <a:pos x="138" y="86"/>
                </a:cxn>
                <a:cxn ang="0">
                  <a:pos x="104" y="78"/>
                </a:cxn>
                <a:cxn ang="0">
                  <a:pos x="82" y="76"/>
                </a:cxn>
                <a:cxn ang="0">
                  <a:pos x="138" y="34"/>
                </a:cxn>
                <a:cxn ang="0">
                  <a:pos x="136" y="32"/>
                </a:cxn>
                <a:cxn ang="0">
                  <a:pos x="148" y="18"/>
                </a:cxn>
                <a:cxn ang="0">
                  <a:pos x="152" y="16"/>
                </a:cxn>
                <a:cxn ang="0">
                  <a:pos x="216" y="78"/>
                </a:cxn>
                <a:cxn ang="0">
                  <a:pos x="218" y="82"/>
                </a:cxn>
              </a:cxnLst>
              <a:rect l="0" t="0" r="r" b="b"/>
              <a:pathLst>
                <a:path w="234" h="232">
                  <a:moveTo>
                    <a:pt x="166" y="6"/>
                  </a:moveTo>
                  <a:lnTo>
                    <a:pt x="166" y="6"/>
                  </a:lnTo>
                  <a:lnTo>
                    <a:pt x="158" y="2"/>
                  </a:lnTo>
                  <a:lnTo>
                    <a:pt x="152" y="0"/>
                  </a:lnTo>
                  <a:lnTo>
                    <a:pt x="152" y="0"/>
                  </a:lnTo>
                  <a:lnTo>
                    <a:pt x="144" y="2"/>
                  </a:lnTo>
                  <a:lnTo>
                    <a:pt x="138" y="6"/>
                  </a:lnTo>
                  <a:lnTo>
                    <a:pt x="126" y="18"/>
                  </a:lnTo>
                  <a:lnTo>
                    <a:pt x="126" y="18"/>
                  </a:lnTo>
                  <a:lnTo>
                    <a:pt x="122" y="24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6"/>
                  </a:lnTo>
                  <a:lnTo>
                    <a:pt x="122" y="42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0" y="88"/>
                  </a:lnTo>
                  <a:lnTo>
                    <a:pt x="6" y="92"/>
                  </a:lnTo>
                  <a:lnTo>
                    <a:pt x="2" y="98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108"/>
                  </a:lnTo>
                  <a:lnTo>
                    <a:pt x="2" y="114"/>
                  </a:lnTo>
                  <a:lnTo>
                    <a:pt x="4" y="120"/>
                  </a:lnTo>
                  <a:lnTo>
                    <a:pt x="8" y="124"/>
                  </a:lnTo>
                  <a:lnTo>
                    <a:pt x="108" y="224"/>
                  </a:lnTo>
                  <a:lnTo>
                    <a:pt x="108" y="224"/>
                  </a:lnTo>
                  <a:lnTo>
                    <a:pt x="116" y="230"/>
                  </a:lnTo>
                  <a:lnTo>
                    <a:pt x="126" y="232"/>
                  </a:lnTo>
                  <a:lnTo>
                    <a:pt x="126" y="232"/>
                  </a:lnTo>
                  <a:lnTo>
                    <a:pt x="126" y="232"/>
                  </a:lnTo>
                  <a:lnTo>
                    <a:pt x="126" y="232"/>
                  </a:lnTo>
                  <a:lnTo>
                    <a:pt x="130" y="232"/>
                  </a:lnTo>
                  <a:lnTo>
                    <a:pt x="130" y="232"/>
                  </a:lnTo>
                  <a:lnTo>
                    <a:pt x="136" y="230"/>
                  </a:lnTo>
                  <a:lnTo>
                    <a:pt x="142" y="226"/>
                  </a:lnTo>
                  <a:lnTo>
                    <a:pt x="146" y="222"/>
                  </a:lnTo>
                  <a:lnTo>
                    <a:pt x="148" y="216"/>
                  </a:lnTo>
                  <a:lnTo>
                    <a:pt x="190" y="110"/>
                  </a:lnTo>
                  <a:lnTo>
                    <a:pt x="190" y="110"/>
                  </a:lnTo>
                  <a:lnTo>
                    <a:pt x="196" y="112"/>
                  </a:lnTo>
                  <a:lnTo>
                    <a:pt x="202" y="114"/>
                  </a:lnTo>
                  <a:lnTo>
                    <a:pt x="202" y="114"/>
                  </a:lnTo>
                  <a:lnTo>
                    <a:pt x="210" y="112"/>
                  </a:lnTo>
                  <a:lnTo>
                    <a:pt x="216" y="108"/>
                  </a:lnTo>
                  <a:lnTo>
                    <a:pt x="228" y="96"/>
                  </a:lnTo>
                  <a:lnTo>
                    <a:pt x="228" y="96"/>
                  </a:lnTo>
                  <a:lnTo>
                    <a:pt x="232" y="90"/>
                  </a:lnTo>
                  <a:lnTo>
                    <a:pt x="234" y="82"/>
                  </a:lnTo>
                  <a:lnTo>
                    <a:pt x="234" y="82"/>
                  </a:lnTo>
                  <a:lnTo>
                    <a:pt x="232" y="74"/>
                  </a:lnTo>
                  <a:lnTo>
                    <a:pt x="228" y="68"/>
                  </a:lnTo>
                  <a:lnTo>
                    <a:pt x="166" y="6"/>
                  </a:lnTo>
                  <a:close/>
                  <a:moveTo>
                    <a:pt x="134" y="210"/>
                  </a:moveTo>
                  <a:lnTo>
                    <a:pt x="134" y="210"/>
                  </a:lnTo>
                  <a:lnTo>
                    <a:pt x="130" y="214"/>
                  </a:lnTo>
                  <a:lnTo>
                    <a:pt x="128" y="216"/>
                  </a:lnTo>
                  <a:lnTo>
                    <a:pt x="128" y="216"/>
                  </a:lnTo>
                  <a:lnTo>
                    <a:pt x="126" y="216"/>
                  </a:lnTo>
                  <a:lnTo>
                    <a:pt x="126" y="216"/>
                  </a:lnTo>
                  <a:lnTo>
                    <a:pt x="120" y="214"/>
                  </a:lnTo>
                  <a:lnTo>
                    <a:pt x="18" y="112"/>
                  </a:lnTo>
                  <a:lnTo>
                    <a:pt x="18" y="112"/>
                  </a:lnTo>
                  <a:lnTo>
                    <a:pt x="16" y="110"/>
                  </a:lnTo>
                  <a:lnTo>
                    <a:pt x="16" y="106"/>
                  </a:lnTo>
                  <a:lnTo>
                    <a:pt x="16" y="106"/>
                  </a:lnTo>
                  <a:lnTo>
                    <a:pt x="18" y="102"/>
                  </a:lnTo>
                  <a:lnTo>
                    <a:pt x="20" y="10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84" y="84"/>
                  </a:lnTo>
                  <a:lnTo>
                    <a:pt x="96" y="86"/>
                  </a:lnTo>
                  <a:lnTo>
                    <a:pt x="120" y="88"/>
                  </a:lnTo>
                  <a:lnTo>
                    <a:pt x="134" y="92"/>
                  </a:lnTo>
                  <a:lnTo>
                    <a:pt x="146" y="98"/>
                  </a:lnTo>
                  <a:lnTo>
                    <a:pt x="158" y="104"/>
                  </a:lnTo>
                  <a:lnTo>
                    <a:pt x="172" y="116"/>
                  </a:lnTo>
                  <a:lnTo>
                    <a:pt x="134" y="210"/>
                  </a:lnTo>
                  <a:close/>
                  <a:moveTo>
                    <a:pt x="216" y="84"/>
                  </a:moveTo>
                  <a:lnTo>
                    <a:pt x="204" y="96"/>
                  </a:lnTo>
                  <a:lnTo>
                    <a:pt x="204" y="96"/>
                  </a:lnTo>
                  <a:lnTo>
                    <a:pt x="202" y="98"/>
                  </a:lnTo>
                  <a:lnTo>
                    <a:pt x="198" y="96"/>
                  </a:lnTo>
                  <a:lnTo>
                    <a:pt x="184" y="82"/>
                  </a:lnTo>
                  <a:lnTo>
                    <a:pt x="174" y="110"/>
                  </a:lnTo>
                  <a:lnTo>
                    <a:pt x="174" y="108"/>
                  </a:lnTo>
                  <a:lnTo>
                    <a:pt x="174" y="108"/>
                  </a:lnTo>
                  <a:lnTo>
                    <a:pt x="166" y="100"/>
                  </a:lnTo>
                  <a:lnTo>
                    <a:pt x="156" y="94"/>
                  </a:lnTo>
                  <a:lnTo>
                    <a:pt x="138" y="86"/>
                  </a:lnTo>
                  <a:lnTo>
                    <a:pt x="120" y="80"/>
                  </a:lnTo>
                  <a:lnTo>
                    <a:pt x="104" y="78"/>
                  </a:lnTo>
                  <a:lnTo>
                    <a:pt x="104" y="78"/>
                  </a:lnTo>
                  <a:lnTo>
                    <a:pt x="82" y="76"/>
                  </a:lnTo>
                  <a:lnTo>
                    <a:pt x="150" y="48"/>
                  </a:lnTo>
                  <a:lnTo>
                    <a:pt x="138" y="34"/>
                  </a:lnTo>
                  <a:lnTo>
                    <a:pt x="138" y="34"/>
                  </a:lnTo>
                  <a:lnTo>
                    <a:pt x="136" y="32"/>
                  </a:lnTo>
                  <a:lnTo>
                    <a:pt x="138" y="28"/>
                  </a:lnTo>
                  <a:lnTo>
                    <a:pt x="148" y="18"/>
                  </a:lnTo>
                  <a:lnTo>
                    <a:pt x="148" y="18"/>
                  </a:lnTo>
                  <a:lnTo>
                    <a:pt x="152" y="16"/>
                  </a:lnTo>
                  <a:lnTo>
                    <a:pt x="154" y="18"/>
                  </a:lnTo>
                  <a:lnTo>
                    <a:pt x="216" y="78"/>
                  </a:lnTo>
                  <a:lnTo>
                    <a:pt x="216" y="78"/>
                  </a:lnTo>
                  <a:lnTo>
                    <a:pt x="218" y="82"/>
                  </a:lnTo>
                  <a:lnTo>
                    <a:pt x="216" y="8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</p:grpSp>
      <p:sp>
        <p:nvSpPr>
          <p:cNvPr id="51" name="Rectangle 50">
            <a:extLst>
              <a:ext uri="{FF2B5EF4-FFF2-40B4-BE49-F238E27FC236}">
                <a16:creationId xmlns:a16="http://schemas.microsoft.com/office/drawing/2014/main" id="{C5F77303-F573-18A9-5286-3B81A0109837}"/>
              </a:ext>
            </a:extLst>
          </p:cNvPr>
          <p:cNvSpPr/>
          <p:nvPr/>
        </p:nvSpPr>
        <p:spPr>
          <a:xfrm>
            <a:off x="7784588" y="1839533"/>
            <a:ext cx="3658713" cy="6694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</a:pPr>
            <a:r>
              <a:rPr lang="en-US" sz="1000">
                <a:solidFill>
                  <a:srgbClr val="063853"/>
                </a:solidFill>
                <a:latin typeface="Montserrat" panose="00000500000000000000" pitchFamily="50" charset="0"/>
                <a:ea typeface="Roboto Light" panose="02000000000000000000" pitchFamily="2" charset="0"/>
              </a:rPr>
              <a:t>Completely unleash frictionless opportunities for interactive technology. Continually conceptualize strategic technology and vertical total linkage. 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EE66DCA6-B1BA-35C9-8E8F-B5950153AD29}"/>
              </a:ext>
            </a:extLst>
          </p:cNvPr>
          <p:cNvSpPr/>
          <p:nvPr/>
        </p:nvSpPr>
        <p:spPr>
          <a:xfrm>
            <a:off x="7784587" y="2893633"/>
            <a:ext cx="3658713" cy="6694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</a:pPr>
            <a:r>
              <a:rPr lang="en-US" sz="1000">
                <a:solidFill>
                  <a:srgbClr val="063853"/>
                </a:solidFill>
                <a:latin typeface="Montserrat" panose="00000500000000000000" pitchFamily="50" charset="0"/>
                <a:ea typeface="Roboto Light" panose="02000000000000000000" pitchFamily="2" charset="0"/>
              </a:rPr>
              <a:t>Completely unleash frictionless opportunities for interactive technology. Continually conceptualize strategic technology and vertical total linkage. 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9D2125CD-578C-3896-2A5A-5945BFA85C80}"/>
              </a:ext>
            </a:extLst>
          </p:cNvPr>
          <p:cNvSpPr/>
          <p:nvPr/>
        </p:nvSpPr>
        <p:spPr>
          <a:xfrm>
            <a:off x="7784586" y="3947733"/>
            <a:ext cx="3658713" cy="6694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</a:pPr>
            <a:r>
              <a:rPr lang="en-US" sz="1000">
                <a:solidFill>
                  <a:srgbClr val="063853"/>
                </a:solidFill>
                <a:latin typeface="Montserrat" panose="00000500000000000000" pitchFamily="50" charset="0"/>
                <a:ea typeface="Roboto Light" panose="02000000000000000000" pitchFamily="2" charset="0"/>
              </a:rPr>
              <a:t>Completely unleash frictionless opportunities for interactive technology. Continually conceptualize strategic technology and vertical total linkage. 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71918767-36F0-D340-70A1-C909DDC3AD95}"/>
              </a:ext>
            </a:extLst>
          </p:cNvPr>
          <p:cNvSpPr/>
          <p:nvPr/>
        </p:nvSpPr>
        <p:spPr>
          <a:xfrm>
            <a:off x="7784585" y="5037905"/>
            <a:ext cx="3658713" cy="6694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</a:pPr>
            <a:r>
              <a:rPr lang="en-US" sz="1000">
                <a:solidFill>
                  <a:srgbClr val="063853"/>
                </a:solidFill>
                <a:latin typeface="Montserrat" panose="00000500000000000000" pitchFamily="50" charset="0"/>
                <a:ea typeface="Roboto Light" panose="02000000000000000000" pitchFamily="2" charset="0"/>
              </a:rPr>
              <a:t>Completely unleash frictionless opportunities for interactive technology. Continually conceptualize strategic technology and vertical total linkage.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6696AF-4B09-7B8B-8E51-2AD887C80F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solidFill>
                  <a:srgbClr val="063853"/>
                </a:solidFill>
                <a:ea typeface="Roboto" panose="02000000000000000000" pitchFamily="2" charset="0"/>
              </a:rPr>
              <a:t>Step 1:  </a:t>
            </a:r>
            <a:r>
              <a:rPr lang="en-US" err="1">
                <a:solidFill>
                  <a:srgbClr val="063853"/>
                </a:solidFill>
                <a:ea typeface="Roboto" panose="02000000000000000000" pitchFamily="2" charset="0"/>
              </a:rPr>
              <a:t>Polarion</a:t>
            </a:r>
            <a:r>
              <a:rPr lang="en-US">
                <a:solidFill>
                  <a:srgbClr val="063853"/>
                </a:solidFill>
                <a:ea typeface="Roboto" panose="02000000000000000000" pitchFamily="2" charset="0"/>
              </a:rPr>
              <a:t> Implementation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81979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968A8E84-EE60-4BA3-94DF-F1E37633D878}"/>
              </a:ext>
            </a:extLst>
          </p:cNvPr>
          <p:cNvCxnSpPr>
            <a:cxnSpLocks/>
          </p:cNvCxnSpPr>
          <p:nvPr/>
        </p:nvCxnSpPr>
        <p:spPr>
          <a:xfrm>
            <a:off x="1441828" y="3291840"/>
            <a:ext cx="0" cy="2821795"/>
          </a:xfrm>
          <a:prstGeom prst="line">
            <a:avLst/>
          </a:prstGeom>
          <a:ln w="12700">
            <a:solidFill>
              <a:srgbClr val="0638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ounded Rectangle 41">
            <a:extLst>
              <a:ext uri="{FF2B5EF4-FFF2-40B4-BE49-F238E27FC236}">
                <a16:creationId xmlns:a16="http://schemas.microsoft.com/office/drawing/2014/main" id="{9D19E074-647B-4BF8-B88C-C0C47886AE32}"/>
              </a:ext>
            </a:extLst>
          </p:cNvPr>
          <p:cNvSpPr/>
          <p:nvPr/>
        </p:nvSpPr>
        <p:spPr>
          <a:xfrm>
            <a:off x="3300347" y="4347340"/>
            <a:ext cx="1857699" cy="304800"/>
          </a:xfrm>
          <a:prstGeom prst="rect">
            <a:avLst/>
          </a:prstGeom>
          <a:solidFill>
            <a:srgbClr val="5C8E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latin typeface="Montserrat" panose="00000500000000000000" pitchFamily="50" charset="0"/>
              </a:rPr>
              <a:t>Sample Task 1</a:t>
            </a:r>
          </a:p>
        </p:txBody>
      </p:sp>
      <p:sp>
        <p:nvSpPr>
          <p:cNvPr id="125" name="Rounded Rectangle 42">
            <a:extLst>
              <a:ext uri="{FF2B5EF4-FFF2-40B4-BE49-F238E27FC236}">
                <a16:creationId xmlns:a16="http://schemas.microsoft.com/office/drawing/2014/main" id="{69AE8F4D-1704-4C54-ABF9-C7B929BECB86}"/>
              </a:ext>
            </a:extLst>
          </p:cNvPr>
          <p:cNvSpPr/>
          <p:nvPr/>
        </p:nvSpPr>
        <p:spPr>
          <a:xfrm>
            <a:off x="4230456" y="4714645"/>
            <a:ext cx="1857691" cy="304800"/>
          </a:xfrm>
          <a:prstGeom prst="rect">
            <a:avLst/>
          </a:prstGeom>
          <a:solidFill>
            <a:srgbClr val="686C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latin typeface="Montserrat" panose="00000500000000000000" pitchFamily="50" charset="0"/>
              </a:rPr>
              <a:t>Task 3</a:t>
            </a:r>
          </a:p>
        </p:txBody>
      </p:sp>
      <p:sp>
        <p:nvSpPr>
          <p:cNvPr id="126" name="Rounded Rectangle 43">
            <a:extLst>
              <a:ext uri="{FF2B5EF4-FFF2-40B4-BE49-F238E27FC236}">
                <a16:creationId xmlns:a16="http://schemas.microsoft.com/office/drawing/2014/main" id="{634B8A82-8DE0-4137-89E9-9B5CF10B5B57}"/>
              </a:ext>
            </a:extLst>
          </p:cNvPr>
          <p:cNvSpPr/>
          <p:nvPr/>
        </p:nvSpPr>
        <p:spPr>
          <a:xfrm>
            <a:off x="5283205" y="5081951"/>
            <a:ext cx="2656852" cy="304800"/>
          </a:xfrm>
          <a:prstGeom prst="rect">
            <a:avLst/>
          </a:prstGeom>
          <a:solidFill>
            <a:srgbClr val="084A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latin typeface="Montserrat" panose="00000500000000000000" pitchFamily="50" charset="0"/>
              </a:rPr>
              <a:t>Sample Task Description 4</a:t>
            </a:r>
          </a:p>
        </p:txBody>
      </p:sp>
      <p:sp>
        <p:nvSpPr>
          <p:cNvPr id="127" name="Rounded Rectangle 44">
            <a:extLst>
              <a:ext uri="{FF2B5EF4-FFF2-40B4-BE49-F238E27FC236}">
                <a16:creationId xmlns:a16="http://schemas.microsoft.com/office/drawing/2014/main" id="{5678AD41-19E7-4C55-B667-82E6E88969CC}"/>
              </a:ext>
            </a:extLst>
          </p:cNvPr>
          <p:cNvSpPr/>
          <p:nvPr/>
        </p:nvSpPr>
        <p:spPr>
          <a:xfrm>
            <a:off x="7951201" y="5449256"/>
            <a:ext cx="1667964" cy="304800"/>
          </a:xfrm>
          <a:prstGeom prst="rect">
            <a:avLst/>
          </a:prstGeom>
          <a:solidFill>
            <a:srgbClr val="0E7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latin typeface="Montserrat" panose="00000500000000000000" pitchFamily="50" charset="0"/>
              </a:rPr>
              <a:t>Sample Task 5</a:t>
            </a:r>
          </a:p>
        </p:txBody>
      </p:sp>
      <p:sp>
        <p:nvSpPr>
          <p:cNvPr id="128" name="Rounded Rectangle 40">
            <a:extLst>
              <a:ext uri="{FF2B5EF4-FFF2-40B4-BE49-F238E27FC236}">
                <a16:creationId xmlns:a16="http://schemas.microsoft.com/office/drawing/2014/main" id="{87C7F636-6484-48CE-8BC6-B0C342DC1C44}"/>
              </a:ext>
            </a:extLst>
          </p:cNvPr>
          <p:cNvSpPr/>
          <p:nvPr/>
        </p:nvSpPr>
        <p:spPr>
          <a:xfrm>
            <a:off x="512880" y="3980035"/>
            <a:ext cx="2788973" cy="304800"/>
          </a:xfrm>
          <a:prstGeom prst="rect">
            <a:avLst/>
          </a:prstGeom>
          <a:solidFill>
            <a:srgbClr val="00D0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latin typeface="Montserrat" panose="00000500000000000000" pitchFamily="50" charset="0"/>
              </a:rPr>
              <a:t>Sample Task Description 1</a:t>
            </a:r>
          </a:p>
        </p:txBody>
      </p:sp>
      <p:sp>
        <p:nvSpPr>
          <p:cNvPr id="129" name="Rounded Rectangle 45">
            <a:extLst>
              <a:ext uri="{FF2B5EF4-FFF2-40B4-BE49-F238E27FC236}">
                <a16:creationId xmlns:a16="http://schemas.microsoft.com/office/drawing/2014/main" id="{D1831BDC-76A7-4918-8070-82FB6A905129}"/>
              </a:ext>
            </a:extLst>
          </p:cNvPr>
          <p:cNvSpPr/>
          <p:nvPr/>
        </p:nvSpPr>
        <p:spPr>
          <a:xfrm>
            <a:off x="9582149" y="5816559"/>
            <a:ext cx="1387907" cy="304800"/>
          </a:xfrm>
          <a:prstGeom prst="rect">
            <a:avLst/>
          </a:prstGeom>
          <a:solidFill>
            <a:srgbClr val="345E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latin typeface="Montserrat" panose="00000500000000000000" pitchFamily="50" charset="0"/>
              </a:rPr>
              <a:t>Sample Task 6</a:t>
            </a:r>
          </a:p>
        </p:txBody>
      </p: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0C2B9B7C-B941-4237-91DD-BC0B516B56EE}"/>
              </a:ext>
            </a:extLst>
          </p:cNvPr>
          <p:cNvCxnSpPr>
            <a:cxnSpLocks/>
          </p:cNvCxnSpPr>
          <p:nvPr/>
        </p:nvCxnSpPr>
        <p:spPr>
          <a:xfrm>
            <a:off x="3301853" y="3296920"/>
            <a:ext cx="0" cy="987915"/>
          </a:xfrm>
          <a:prstGeom prst="line">
            <a:avLst/>
          </a:prstGeom>
          <a:ln w="12700">
            <a:solidFill>
              <a:srgbClr val="0638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D6568491-35E3-492D-8AD9-C205ED486628}"/>
              </a:ext>
            </a:extLst>
          </p:cNvPr>
          <p:cNvCxnSpPr>
            <a:cxnSpLocks/>
          </p:cNvCxnSpPr>
          <p:nvPr/>
        </p:nvCxnSpPr>
        <p:spPr>
          <a:xfrm>
            <a:off x="5162227" y="3302001"/>
            <a:ext cx="0" cy="1350140"/>
          </a:xfrm>
          <a:prstGeom prst="line">
            <a:avLst/>
          </a:prstGeom>
          <a:ln w="12700">
            <a:solidFill>
              <a:srgbClr val="0638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FE757D77-57DA-4D5B-9409-F9CDCF161295}"/>
              </a:ext>
            </a:extLst>
          </p:cNvPr>
          <p:cNvCxnSpPr>
            <a:cxnSpLocks/>
          </p:cNvCxnSpPr>
          <p:nvPr/>
        </p:nvCxnSpPr>
        <p:spPr>
          <a:xfrm>
            <a:off x="6088147" y="3302000"/>
            <a:ext cx="0" cy="1717445"/>
          </a:xfrm>
          <a:prstGeom prst="line">
            <a:avLst/>
          </a:prstGeom>
          <a:ln w="12700">
            <a:solidFill>
              <a:srgbClr val="0638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77C3A953-0AAB-43E9-8146-B3A0B966676E}"/>
              </a:ext>
            </a:extLst>
          </p:cNvPr>
          <p:cNvCxnSpPr>
            <a:cxnSpLocks/>
          </p:cNvCxnSpPr>
          <p:nvPr/>
        </p:nvCxnSpPr>
        <p:spPr>
          <a:xfrm>
            <a:off x="7940056" y="3302001"/>
            <a:ext cx="0" cy="2084751"/>
          </a:xfrm>
          <a:prstGeom prst="line">
            <a:avLst/>
          </a:prstGeom>
          <a:ln w="12700">
            <a:solidFill>
              <a:srgbClr val="0638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7F8E4C99-E28B-49F8-91FF-832A278F4DE2}"/>
              </a:ext>
            </a:extLst>
          </p:cNvPr>
          <p:cNvCxnSpPr>
            <a:cxnSpLocks/>
          </p:cNvCxnSpPr>
          <p:nvPr/>
        </p:nvCxnSpPr>
        <p:spPr>
          <a:xfrm>
            <a:off x="9619168" y="3299461"/>
            <a:ext cx="0" cy="2454596"/>
          </a:xfrm>
          <a:prstGeom prst="line">
            <a:avLst/>
          </a:prstGeom>
          <a:ln w="12700">
            <a:solidFill>
              <a:srgbClr val="0638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727305DF-112D-4582-859B-C90734D02174}"/>
              </a:ext>
            </a:extLst>
          </p:cNvPr>
          <p:cNvCxnSpPr>
            <a:cxnSpLocks/>
          </p:cNvCxnSpPr>
          <p:nvPr/>
        </p:nvCxnSpPr>
        <p:spPr>
          <a:xfrm>
            <a:off x="10970065" y="3298614"/>
            <a:ext cx="0" cy="2822745"/>
          </a:xfrm>
          <a:prstGeom prst="line">
            <a:avLst/>
          </a:prstGeom>
          <a:ln w="12700">
            <a:solidFill>
              <a:srgbClr val="0638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tangle 135">
            <a:extLst>
              <a:ext uri="{FF2B5EF4-FFF2-40B4-BE49-F238E27FC236}">
                <a16:creationId xmlns:a16="http://schemas.microsoft.com/office/drawing/2014/main" id="{8147F308-2A6D-4BCD-AEBE-B488EF63D52B}"/>
              </a:ext>
            </a:extLst>
          </p:cNvPr>
          <p:cNvSpPr/>
          <p:nvPr/>
        </p:nvSpPr>
        <p:spPr>
          <a:xfrm>
            <a:off x="521499" y="2854587"/>
            <a:ext cx="1847336" cy="450699"/>
          </a:xfrm>
          <a:prstGeom prst="rect">
            <a:avLst/>
          </a:prstGeom>
          <a:solidFill>
            <a:srgbClr val="063853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67" b="1">
                <a:solidFill>
                  <a:schemeClr val="bg1"/>
                </a:solidFill>
              </a:rPr>
              <a:t>Jan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EA760EF5-EFC5-4893-9262-28DAC1E1E380}"/>
              </a:ext>
            </a:extLst>
          </p:cNvPr>
          <p:cNvSpPr/>
          <p:nvPr/>
        </p:nvSpPr>
        <p:spPr>
          <a:xfrm>
            <a:off x="2372003" y="2854587"/>
            <a:ext cx="1857204" cy="450699"/>
          </a:xfrm>
          <a:prstGeom prst="rect">
            <a:avLst/>
          </a:prstGeom>
          <a:solidFill>
            <a:srgbClr val="063853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67" b="1">
                <a:solidFill>
                  <a:schemeClr val="bg1"/>
                </a:solidFill>
              </a:rPr>
              <a:t>Feb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5B596482-E80C-457D-9ED4-8AF8E5A77A7D}"/>
              </a:ext>
            </a:extLst>
          </p:cNvPr>
          <p:cNvSpPr/>
          <p:nvPr/>
        </p:nvSpPr>
        <p:spPr>
          <a:xfrm>
            <a:off x="4232377" y="2854587"/>
            <a:ext cx="1857204" cy="450699"/>
          </a:xfrm>
          <a:prstGeom prst="rect">
            <a:avLst/>
          </a:prstGeom>
          <a:solidFill>
            <a:srgbClr val="063853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67" b="1">
                <a:solidFill>
                  <a:schemeClr val="bg1"/>
                </a:solidFill>
              </a:rPr>
              <a:t>Mar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368D91FE-8013-45E2-A6B0-882CD140FBB0}"/>
              </a:ext>
            </a:extLst>
          </p:cNvPr>
          <p:cNvSpPr/>
          <p:nvPr/>
        </p:nvSpPr>
        <p:spPr>
          <a:xfrm>
            <a:off x="6092750" y="2854587"/>
            <a:ext cx="1857204" cy="450699"/>
          </a:xfrm>
          <a:prstGeom prst="rect">
            <a:avLst/>
          </a:prstGeom>
          <a:solidFill>
            <a:srgbClr val="063853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67" b="1">
                <a:solidFill>
                  <a:schemeClr val="bg1"/>
                </a:solidFill>
              </a:rPr>
              <a:t>Apr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431A0EB8-0E1C-4BA1-BA15-67347052D645}"/>
              </a:ext>
            </a:extLst>
          </p:cNvPr>
          <p:cNvSpPr/>
          <p:nvPr/>
        </p:nvSpPr>
        <p:spPr>
          <a:xfrm>
            <a:off x="7953123" y="2854587"/>
            <a:ext cx="1857204" cy="450699"/>
          </a:xfrm>
          <a:prstGeom prst="rect">
            <a:avLst/>
          </a:prstGeom>
          <a:solidFill>
            <a:srgbClr val="063853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67" b="1">
                <a:solidFill>
                  <a:schemeClr val="bg1"/>
                </a:solidFill>
              </a:rPr>
              <a:t>May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128286E6-26D0-45E4-9A89-75766DB1107A}"/>
              </a:ext>
            </a:extLst>
          </p:cNvPr>
          <p:cNvSpPr/>
          <p:nvPr/>
        </p:nvSpPr>
        <p:spPr>
          <a:xfrm>
            <a:off x="9813494" y="2854587"/>
            <a:ext cx="1857204" cy="450699"/>
          </a:xfrm>
          <a:prstGeom prst="rect">
            <a:avLst/>
          </a:prstGeom>
          <a:solidFill>
            <a:srgbClr val="063853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67" b="1">
                <a:solidFill>
                  <a:schemeClr val="bg1"/>
                </a:solidFill>
              </a:rPr>
              <a:t>Jun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B336A877-8B94-4445-A95D-E6773530CC56}"/>
              </a:ext>
            </a:extLst>
          </p:cNvPr>
          <p:cNvSpPr txBox="1"/>
          <p:nvPr/>
        </p:nvSpPr>
        <p:spPr>
          <a:xfrm>
            <a:off x="885523" y="2030201"/>
            <a:ext cx="1112611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b="1">
                <a:solidFill>
                  <a:srgbClr val="063853"/>
                </a:solidFill>
                <a:latin typeface="Montserrat" panose="00000500000000000000" pitchFamily="50" charset="0"/>
              </a:rPr>
              <a:t>TODAY</a:t>
            </a:r>
          </a:p>
          <a:p>
            <a:pPr algn="ctr"/>
            <a:r>
              <a:rPr lang="en-US" sz="1200">
                <a:solidFill>
                  <a:srgbClr val="063853"/>
                </a:solidFill>
                <a:latin typeface="Montserrat" panose="00000500000000000000" pitchFamily="50" charset="0"/>
              </a:rPr>
              <a:t>Date</a:t>
            </a:r>
          </a:p>
        </p:txBody>
      </p:sp>
      <p:sp>
        <p:nvSpPr>
          <p:cNvPr id="143" name="Isosceles Triangle 142">
            <a:extLst>
              <a:ext uri="{FF2B5EF4-FFF2-40B4-BE49-F238E27FC236}">
                <a16:creationId xmlns:a16="http://schemas.microsoft.com/office/drawing/2014/main" id="{53584C95-37BC-4F95-819F-1B8C8B7256DF}"/>
              </a:ext>
            </a:extLst>
          </p:cNvPr>
          <p:cNvSpPr/>
          <p:nvPr/>
        </p:nvSpPr>
        <p:spPr>
          <a:xfrm flipV="1">
            <a:off x="1322574" y="2645620"/>
            <a:ext cx="238509" cy="208283"/>
          </a:xfrm>
          <a:prstGeom prst="triangle">
            <a:avLst/>
          </a:prstGeom>
          <a:solidFill>
            <a:srgbClr val="00D0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AB5F7E88-B6BE-48BD-9992-DA7BCDC7C987}"/>
              </a:ext>
            </a:extLst>
          </p:cNvPr>
          <p:cNvSpPr txBox="1"/>
          <p:nvPr/>
        </p:nvSpPr>
        <p:spPr>
          <a:xfrm>
            <a:off x="4273109" y="1937869"/>
            <a:ext cx="1791563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b="1">
                <a:solidFill>
                  <a:srgbClr val="063853"/>
                </a:solidFill>
                <a:latin typeface="Montserrat" panose="00000500000000000000" pitchFamily="50" charset="0"/>
              </a:rPr>
              <a:t>Milestone</a:t>
            </a:r>
          </a:p>
          <a:p>
            <a:pPr algn="ctr"/>
            <a:r>
              <a:rPr lang="en-US" sz="1200" b="1">
                <a:solidFill>
                  <a:srgbClr val="063853"/>
                </a:solidFill>
                <a:latin typeface="Montserrat" panose="00000500000000000000" pitchFamily="50" charset="0"/>
              </a:rPr>
              <a:t>Description</a:t>
            </a:r>
          </a:p>
          <a:p>
            <a:pPr algn="ctr"/>
            <a:r>
              <a:rPr lang="en-US" sz="1200">
                <a:solidFill>
                  <a:srgbClr val="063853"/>
                </a:solidFill>
                <a:latin typeface="Montserrat" panose="00000500000000000000" pitchFamily="50" charset="0"/>
              </a:rPr>
              <a:t>Date</a:t>
            </a:r>
          </a:p>
        </p:txBody>
      </p:sp>
      <p:sp>
        <p:nvSpPr>
          <p:cNvPr id="145" name="Isosceles Triangle 144">
            <a:extLst>
              <a:ext uri="{FF2B5EF4-FFF2-40B4-BE49-F238E27FC236}">
                <a16:creationId xmlns:a16="http://schemas.microsoft.com/office/drawing/2014/main" id="{88B6DD88-9F8B-4119-98F8-E9CECE694F05}"/>
              </a:ext>
            </a:extLst>
          </p:cNvPr>
          <p:cNvSpPr/>
          <p:nvPr/>
        </p:nvSpPr>
        <p:spPr>
          <a:xfrm flipV="1">
            <a:off x="5041400" y="2645620"/>
            <a:ext cx="238509" cy="208283"/>
          </a:xfrm>
          <a:prstGeom prst="triangle">
            <a:avLst/>
          </a:prstGeom>
          <a:solidFill>
            <a:srgbClr val="5C8E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6" name="Isosceles Triangle 145">
            <a:extLst>
              <a:ext uri="{FF2B5EF4-FFF2-40B4-BE49-F238E27FC236}">
                <a16:creationId xmlns:a16="http://schemas.microsoft.com/office/drawing/2014/main" id="{FCA906B4-9661-4702-8916-B035905C8B17}"/>
              </a:ext>
            </a:extLst>
          </p:cNvPr>
          <p:cNvSpPr/>
          <p:nvPr/>
        </p:nvSpPr>
        <p:spPr>
          <a:xfrm flipV="1">
            <a:off x="7831947" y="2645620"/>
            <a:ext cx="238509" cy="208283"/>
          </a:xfrm>
          <a:prstGeom prst="triangle">
            <a:avLst/>
          </a:prstGeom>
          <a:solidFill>
            <a:srgbClr val="686C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7" name="Isosceles Triangle 146">
            <a:extLst>
              <a:ext uri="{FF2B5EF4-FFF2-40B4-BE49-F238E27FC236}">
                <a16:creationId xmlns:a16="http://schemas.microsoft.com/office/drawing/2014/main" id="{2E90FE06-F8D6-417F-AD55-AC6A5E4D33DE}"/>
              </a:ext>
            </a:extLst>
          </p:cNvPr>
          <p:cNvSpPr/>
          <p:nvPr/>
        </p:nvSpPr>
        <p:spPr>
          <a:xfrm flipV="1">
            <a:off x="10850811" y="2645620"/>
            <a:ext cx="238509" cy="208283"/>
          </a:xfrm>
          <a:prstGeom prst="triangle">
            <a:avLst/>
          </a:prstGeom>
          <a:solidFill>
            <a:srgbClr val="345E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C6E4A4DF-26AD-401A-B1D9-B4787AF4F61B}"/>
              </a:ext>
            </a:extLst>
          </p:cNvPr>
          <p:cNvSpPr txBox="1"/>
          <p:nvPr/>
        </p:nvSpPr>
        <p:spPr>
          <a:xfrm>
            <a:off x="7052244" y="1937869"/>
            <a:ext cx="1791563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b="1">
                <a:solidFill>
                  <a:srgbClr val="063853"/>
                </a:solidFill>
                <a:latin typeface="Montserrat" panose="00000500000000000000" pitchFamily="50" charset="0"/>
              </a:rPr>
              <a:t>Milestone</a:t>
            </a:r>
          </a:p>
          <a:p>
            <a:pPr algn="ctr"/>
            <a:r>
              <a:rPr lang="en-US" sz="1200" b="1">
                <a:solidFill>
                  <a:srgbClr val="063853"/>
                </a:solidFill>
                <a:latin typeface="Montserrat" panose="00000500000000000000" pitchFamily="50" charset="0"/>
              </a:rPr>
              <a:t>Description</a:t>
            </a:r>
          </a:p>
          <a:p>
            <a:pPr algn="ctr"/>
            <a:r>
              <a:rPr lang="en-US" sz="1200">
                <a:solidFill>
                  <a:srgbClr val="063853"/>
                </a:solidFill>
                <a:latin typeface="Montserrat" panose="00000500000000000000" pitchFamily="50" charset="0"/>
              </a:rPr>
              <a:t>Date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15EFCA4E-FF99-4EED-B4E0-480077E64348}"/>
              </a:ext>
            </a:extLst>
          </p:cNvPr>
          <p:cNvSpPr txBox="1"/>
          <p:nvPr/>
        </p:nvSpPr>
        <p:spPr>
          <a:xfrm>
            <a:off x="10407189" y="1937869"/>
            <a:ext cx="1125752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b="1">
                <a:solidFill>
                  <a:srgbClr val="063853"/>
                </a:solidFill>
                <a:latin typeface="Montserrat" panose="00000500000000000000" pitchFamily="50" charset="0"/>
              </a:rPr>
              <a:t>Project</a:t>
            </a:r>
          </a:p>
          <a:p>
            <a:pPr algn="ctr"/>
            <a:r>
              <a:rPr lang="en-US" sz="1200" b="1">
                <a:solidFill>
                  <a:srgbClr val="063853"/>
                </a:solidFill>
                <a:latin typeface="Montserrat" panose="00000500000000000000" pitchFamily="50" charset="0"/>
              </a:rPr>
              <a:t>Finish</a:t>
            </a:r>
          </a:p>
          <a:p>
            <a:pPr algn="ctr"/>
            <a:r>
              <a:rPr lang="en-US" sz="1200">
                <a:solidFill>
                  <a:srgbClr val="063853"/>
                </a:solidFill>
                <a:latin typeface="Montserrat" panose="00000500000000000000" pitchFamily="50" charset="0"/>
              </a:rPr>
              <a:t>Date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BB2C70AE-C837-4D1D-95A0-59A3685B316E}"/>
              </a:ext>
            </a:extLst>
          </p:cNvPr>
          <p:cNvSpPr txBox="1"/>
          <p:nvPr/>
        </p:nvSpPr>
        <p:spPr>
          <a:xfrm>
            <a:off x="3373728" y="4055492"/>
            <a:ext cx="1391691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000">
                <a:solidFill>
                  <a:srgbClr val="063853"/>
                </a:solidFill>
                <a:latin typeface="Montserrat" panose="00000500000000000000" pitchFamily="50" charset="0"/>
              </a:rPr>
              <a:t>Start / End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1DD3CA3A-648B-42EE-96E7-D684BF2A4273}"/>
              </a:ext>
            </a:extLst>
          </p:cNvPr>
          <p:cNvSpPr txBox="1"/>
          <p:nvPr/>
        </p:nvSpPr>
        <p:spPr>
          <a:xfrm>
            <a:off x="6176243" y="4790102"/>
            <a:ext cx="1391691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000">
                <a:solidFill>
                  <a:srgbClr val="063853"/>
                </a:solidFill>
                <a:latin typeface="Montserrat" panose="00000500000000000000" pitchFamily="50" charset="0"/>
              </a:rPr>
              <a:t>Start / End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0711472B-A387-404F-9C8F-3978417E0B30}"/>
              </a:ext>
            </a:extLst>
          </p:cNvPr>
          <p:cNvSpPr txBox="1"/>
          <p:nvPr/>
        </p:nvSpPr>
        <p:spPr>
          <a:xfrm>
            <a:off x="8033173" y="5169468"/>
            <a:ext cx="1391691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000">
                <a:solidFill>
                  <a:srgbClr val="063853"/>
                </a:solidFill>
                <a:latin typeface="Montserrat" panose="00000500000000000000" pitchFamily="50" charset="0"/>
              </a:rPr>
              <a:t>Start / End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9C895E5B-1AAA-4EF0-AC7C-4777D80C44C3}"/>
              </a:ext>
            </a:extLst>
          </p:cNvPr>
          <p:cNvSpPr txBox="1"/>
          <p:nvPr/>
        </p:nvSpPr>
        <p:spPr>
          <a:xfrm>
            <a:off x="9686676" y="5519896"/>
            <a:ext cx="1391691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000">
                <a:solidFill>
                  <a:srgbClr val="063853"/>
                </a:solidFill>
                <a:latin typeface="Montserrat" panose="00000500000000000000" pitchFamily="50" charset="0"/>
              </a:rPr>
              <a:t>Start / End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987A24F9-E1B5-4D97-A6C1-CB48D5100EC9}"/>
              </a:ext>
            </a:extLst>
          </p:cNvPr>
          <p:cNvSpPr txBox="1"/>
          <p:nvPr/>
        </p:nvSpPr>
        <p:spPr>
          <a:xfrm>
            <a:off x="11037377" y="5892016"/>
            <a:ext cx="849823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000">
                <a:solidFill>
                  <a:srgbClr val="063853"/>
                </a:solidFill>
                <a:latin typeface="Montserrat" panose="00000500000000000000" pitchFamily="50" charset="0"/>
              </a:rPr>
              <a:t>Start / End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F9A6549B-2BA9-404E-94A9-20B90D3541B9}"/>
              </a:ext>
            </a:extLst>
          </p:cNvPr>
          <p:cNvSpPr txBox="1"/>
          <p:nvPr/>
        </p:nvSpPr>
        <p:spPr>
          <a:xfrm>
            <a:off x="5252655" y="4422797"/>
            <a:ext cx="1391691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000">
                <a:solidFill>
                  <a:srgbClr val="063853"/>
                </a:solidFill>
                <a:latin typeface="Montserrat" panose="00000500000000000000" pitchFamily="50" charset="0"/>
              </a:rPr>
              <a:t>Start / End</a:t>
            </a:r>
          </a:p>
        </p:txBody>
      </p: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E641FDD1-F6D8-496F-8BC8-E9F733072FD2}"/>
              </a:ext>
            </a:extLst>
          </p:cNvPr>
          <p:cNvGrpSpPr/>
          <p:nvPr/>
        </p:nvGrpSpPr>
        <p:grpSpPr>
          <a:xfrm>
            <a:off x="8785181" y="1398518"/>
            <a:ext cx="1675824" cy="1350178"/>
            <a:chOff x="4794708" y="1087598"/>
            <a:chExt cx="1256868" cy="1012633"/>
          </a:xfrm>
        </p:grpSpPr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122BC575-7E77-41C4-966A-27DF757C245F}"/>
                </a:ext>
              </a:extLst>
            </p:cNvPr>
            <p:cNvGrpSpPr/>
            <p:nvPr/>
          </p:nvGrpSpPr>
          <p:grpSpPr>
            <a:xfrm>
              <a:off x="4794708" y="1193884"/>
              <a:ext cx="240232" cy="906347"/>
              <a:chOff x="4794708" y="1193884"/>
              <a:chExt cx="240232" cy="906347"/>
            </a:xfrm>
          </p:grpSpPr>
          <p:sp>
            <p:nvSpPr>
              <p:cNvPr id="159" name="Freeform 34">
                <a:extLst>
                  <a:ext uri="{FF2B5EF4-FFF2-40B4-BE49-F238E27FC236}">
                    <a16:creationId xmlns:a16="http://schemas.microsoft.com/office/drawing/2014/main" id="{94294797-E2AB-44A7-AC2F-1A9CA118EE3B}"/>
                  </a:ext>
                </a:extLst>
              </p:cNvPr>
              <p:cNvSpPr/>
              <p:nvPr/>
            </p:nvSpPr>
            <p:spPr>
              <a:xfrm flipH="1" flipV="1">
                <a:off x="4800599" y="1193884"/>
                <a:ext cx="234341" cy="192516"/>
              </a:xfrm>
              <a:custGeom>
                <a:avLst/>
                <a:gdLst>
                  <a:gd name="connsiteX0" fmla="*/ 203201 w 203201"/>
                  <a:gd name="connsiteY0" fmla="*/ 192516 h 192516"/>
                  <a:gd name="connsiteX1" fmla="*/ 129568 w 203201"/>
                  <a:gd name="connsiteY1" fmla="*/ 192516 h 192516"/>
                  <a:gd name="connsiteX2" fmla="*/ 108351 w 203201"/>
                  <a:gd name="connsiteY2" fmla="*/ 192516 h 192516"/>
                  <a:gd name="connsiteX3" fmla="*/ 0 w 203201"/>
                  <a:gd name="connsiteY3" fmla="*/ 192516 h 192516"/>
                  <a:gd name="connsiteX4" fmla="*/ 70857 w 203201"/>
                  <a:gd name="connsiteY4" fmla="*/ 96258 h 192516"/>
                  <a:gd name="connsiteX5" fmla="*/ 0 w 203201"/>
                  <a:gd name="connsiteY5" fmla="*/ 0 h 192516"/>
                  <a:gd name="connsiteX6" fmla="*/ 108351 w 203201"/>
                  <a:gd name="connsiteY6" fmla="*/ 0 h 192516"/>
                  <a:gd name="connsiteX7" fmla="*/ 129568 w 203201"/>
                  <a:gd name="connsiteY7" fmla="*/ 0 h 192516"/>
                  <a:gd name="connsiteX8" fmla="*/ 203201 w 203201"/>
                  <a:gd name="connsiteY8" fmla="*/ 0 h 192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3201" h="192516">
                    <a:moveTo>
                      <a:pt x="203201" y="192516"/>
                    </a:moveTo>
                    <a:lnTo>
                      <a:pt x="129568" y="192516"/>
                    </a:lnTo>
                    <a:lnTo>
                      <a:pt x="108351" y="192516"/>
                    </a:lnTo>
                    <a:lnTo>
                      <a:pt x="0" y="192516"/>
                    </a:lnTo>
                    <a:lnTo>
                      <a:pt x="70857" y="96258"/>
                    </a:lnTo>
                    <a:lnTo>
                      <a:pt x="0" y="0"/>
                    </a:lnTo>
                    <a:lnTo>
                      <a:pt x="108351" y="0"/>
                    </a:lnTo>
                    <a:lnTo>
                      <a:pt x="129568" y="0"/>
                    </a:lnTo>
                    <a:lnTo>
                      <a:pt x="203201" y="0"/>
                    </a:lnTo>
                    <a:close/>
                  </a:path>
                </a:pathLst>
              </a:custGeom>
              <a:solidFill>
                <a:srgbClr val="EFDA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200">
                  <a:solidFill>
                    <a:srgbClr val="063853"/>
                  </a:solidFill>
                  <a:latin typeface="Montserrat" panose="00000500000000000000" pitchFamily="50" charset="0"/>
                </a:endParaRPr>
              </a:p>
            </p:txBody>
          </p:sp>
          <p:cxnSp>
            <p:nvCxnSpPr>
              <p:cNvPr id="160" name="Straight Connector 159">
                <a:extLst>
                  <a:ext uri="{FF2B5EF4-FFF2-40B4-BE49-F238E27FC236}">
                    <a16:creationId xmlns:a16="http://schemas.microsoft.com/office/drawing/2014/main" id="{76C2588D-C405-4652-8C9D-47AF61AFC14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794708" y="1193884"/>
                <a:ext cx="0" cy="906347"/>
              </a:xfrm>
              <a:prstGeom prst="line">
                <a:avLst/>
              </a:prstGeom>
              <a:ln w="12700">
                <a:solidFill>
                  <a:srgbClr val="063853"/>
                </a:solidFill>
                <a:headEnd type="none" w="med" len="med"/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5EE0E229-0C0B-4DF1-A934-77AD9FDE86D6}"/>
                </a:ext>
              </a:extLst>
            </p:cNvPr>
            <p:cNvSpPr txBox="1"/>
            <p:nvPr/>
          </p:nvSpPr>
          <p:spPr>
            <a:xfrm>
              <a:off x="5094812" y="1087598"/>
              <a:ext cx="95676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US" sz="1200" b="1">
                  <a:solidFill>
                    <a:srgbClr val="063853"/>
                  </a:solidFill>
                  <a:latin typeface="Montserrat" panose="00000500000000000000" pitchFamily="50" charset="0"/>
                </a:rPr>
                <a:t>Milestone</a:t>
              </a:r>
            </a:p>
            <a:p>
              <a:r>
                <a:rPr lang="en-US" sz="1200" b="1">
                  <a:solidFill>
                    <a:srgbClr val="063853"/>
                  </a:solidFill>
                  <a:latin typeface="Montserrat" panose="00000500000000000000" pitchFamily="50" charset="0"/>
                </a:rPr>
                <a:t>Description</a:t>
              </a:r>
            </a:p>
            <a:p>
              <a:r>
                <a:rPr lang="en-US" sz="1200">
                  <a:solidFill>
                    <a:srgbClr val="063853"/>
                  </a:solidFill>
                  <a:latin typeface="Montserrat" panose="00000500000000000000" pitchFamily="50" charset="0"/>
                </a:rPr>
                <a:t>Date</a:t>
              </a:r>
            </a:p>
          </p:txBody>
        </p:sp>
      </p:grp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30A0EE20-57B0-498B-8B9A-EE44EAFB5F58}"/>
              </a:ext>
            </a:extLst>
          </p:cNvPr>
          <p:cNvGrpSpPr/>
          <p:nvPr/>
        </p:nvGrpSpPr>
        <p:grpSpPr>
          <a:xfrm>
            <a:off x="3299032" y="1398518"/>
            <a:ext cx="1675824" cy="1350178"/>
            <a:chOff x="4794708" y="1087598"/>
            <a:chExt cx="1256868" cy="1012633"/>
          </a:xfrm>
        </p:grpSpPr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id="{4128FDFD-896F-4002-AF97-46ECD6CED8E1}"/>
                </a:ext>
              </a:extLst>
            </p:cNvPr>
            <p:cNvGrpSpPr/>
            <p:nvPr/>
          </p:nvGrpSpPr>
          <p:grpSpPr>
            <a:xfrm>
              <a:off x="4794708" y="1193884"/>
              <a:ext cx="240232" cy="906347"/>
              <a:chOff x="4794708" y="1193884"/>
              <a:chExt cx="240232" cy="906347"/>
            </a:xfrm>
          </p:grpSpPr>
          <p:sp>
            <p:nvSpPr>
              <p:cNvPr id="164" name="Freeform 34">
                <a:extLst>
                  <a:ext uri="{FF2B5EF4-FFF2-40B4-BE49-F238E27FC236}">
                    <a16:creationId xmlns:a16="http://schemas.microsoft.com/office/drawing/2014/main" id="{CB48E477-39AC-4AE1-A603-4EABFEA087A9}"/>
                  </a:ext>
                </a:extLst>
              </p:cNvPr>
              <p:cNvSpPr/>
              <p:nvPr/>
            </p:nvSpPr>
            <p:spPr>
              <a:xfrm flipH="1" flipV="1">
                <a:off x="4800599" y="1193884"/>
                <a:ext cx="234341" cy="192516"/>
              </a:xfrm>
              <a:custGeom>
                <a:avLst/>
                <a:gdLst>
                  <a:gd name="connsiteX0" fmla="*/ 203201 w 203201"/>
                  <a:gd name="connsiteY0" fmla="*/ 192516 h 192516"/>
                  <a:gd name="connsiteX1" fmla="*/ 129568 w 203201"/>
                  <a:gd name="connsiteY1" fmla="*/ 192516 h 192516"/>
                  <a:gd name="connsiteX2" fmla="*/ 108351 w 203201"/>
                  <a:gd name="connsiteY2" fmla="*/ 192516 h 192516"/>
                  <a:gd name="connsiteX3" fmla="*/ 0 w 203201"/>
                  <a:gd name="connsiteY3" fmla="*/ 192516 h 192516"/>
                  <a:gd name="connsiteX4" fmla="*/ 70857 w 203201"/>
                  <a:gd name="connsiteY4" fmla="*/ 96258 h 192516"/>
                  <a:gd name="connsiteX5" fmla="*/ 0 w 203201"/>
                  <a:gd name="connsiteY5" fmla="*/ 0 h 192516"/>
                  <a:gd name="connsiteX6" fmla="*/ 108351 w 203201"/>
                  <a:gd name="connsiteY6" fmla="*/ 0 h 192516"/>
                  <a:gd name="connsiteX7" fmla="*/ 129568 w 203201"/>
                  <a:gd name="connsiteY7" fmla="*/ 0 h 192516"/>
                  <a:gd name="connsiteX8" fmla="*/ 203201 w 203201"/>
                  <a:gd name="connsiteY8" fmla="*/ 0 h 192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3201" h="192516">
                    <a:moveTo>
                      <a:pt x="203201" y="192516"/>
                    </a:moveTo>
                    <a:lnTo>
                      <a:pt x="129568" y="192516"/>
                    </a:lnTo>
                    <a:lnTo>
                      <a:pt x="108351" y="192516"/>
                    </a:lnTo>
                    <a:lnTo>
                      <a:pt x="0" y="192516"/>
                    </a:lnTo>
                    <a:lnTo>
                      <a:pt x="70857" y="96258"/>
                    </a:lnTo>
                    <a:lnTo>
                      <a:pt x="0" y="0"/>
                    </a:lnTo>
                    <a:lnTo>
                      <a:pt x="108351" y="0"/>
                    </a:lnTo>
                    <a:lnTo>
                      <a:pt x="129568" y="0"/>
                    </a:lnTo>
                    <a:lnTo>
                      <a:pt x="203201" y="0"/>
                    </a:lnTo>
                    <a:close/>
                  </a:path>
                </a:pathLst>
              </a:custGeom>
              <a:solidFill>
                <a:srgbClr val="EFDA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200">
                  <a:solidFill>
                    <a:srgbClr val="063853"/>
                  </a:solidFill>
                  <a:latin typeface="Montserrat" panose="00000500000000000000" pitchFamily="50" charset="0"/>
                </a:endParaRPr>
              </a:p>
            </p:txBody>
          </p:sp>
          <p:cxnSp>
            <p:nvCxnSpPr>
              <p:cNvPr id="165" name="Straight Connector 164">
                <a:extLst>
                  <a:ext uri="{FF2B5EF4-FFF2-40B4-BE49-F238E27FC236}">
                    <a16:creationId xmlns:a16="http://schemas.microsoft.com/office/drawing/2014/main" id="{7B087271-FB9A-4869-BF42-38E27FC88D8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794708" y="1193884"/>
                <a:ext cx="0" cy="906347"/>
              </a:xfrm>
              <a:prstGeom prst="line">
                <a:avLst/>
              </a:prstGeom>
              <a:ln w="12700">
                <a:solidFill>
                  <a:srgbClr val="063853"/>
                </a:solidFill>
                <a:headEnd type="none" w="med" len="med"/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6EC2C1EE-9E06-4CE7-814B-9CA754DA1D86}"/>
                </a:ext>
              </a:extLst>
            </p:cNvPr>
            <p:cNvSpPr txBox="1"/>
            <p:nvPr/>
          </p:nvSpPr>
          <p:spPr>
            <a:xfrm>
              <a:off x="5094812" y="1087598"/>
              <a:ext cx="95676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US" sz="1200" b="1">
                  <a:solidFill>
                    <a:srgbClr val="063853"/>
                  </a:solidFill>
                  <a:latin typeface="Montserrat" panose="00000500000000000000" pitchFamily="50" charset="0"/>
                </a:rPr>
                <a:t>Milestone</a:t>
              </a:r>
            </a:p>
            <a:p>
              <a:r>
                <a:rPr lang="en-US" sz="1200" b="1">
                  <a:solidFill>
                    <a:srgbClr val="063853"/>
                  </a:solidFill>
                  <a:latin typeface="Montserrat" panose="00000500000000000000" pitchFamily="50" charset="0"/>
                </a:rPr>
                <a:t>Description</a:t>
              </a:r>
            </a:p>
            <a:p>
              <a:r>
                <a:rPr lang="en-US" sz="1200">
                  <a:solidFill>
                    <a:srgbClr val="063853"/>
                  </a:solidFill>
                  <a:latin typeface="Montserrat" panose="00000500000000000000" pitchFamily="50" charset="0"/>
                </a:rPr>
                <a:t>Date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6FE86B8-5BE2-E1CC-120E-333F45E414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>
                <a:solidFill>
                  <a:srgbClr val="063853"/>
                </a:solidFill>
                <a:latin typeface="Montserrat SemiBold"/>
                <a:ea typeface="Roboto"/>
              </a:rPr>
              <a:t>Project Timeline – </a:t>
            </a:r>
            <a:r>
              <a:rPr lang="en-US">
                <a:solidFill>
                  <a:srgbClr val="063853"/>
                </a:solidFill>
                <a:latin typeface="Montserrat SemiBold"/>
                <a:ea typeface="Roboto"/>
              </a:rPr>
              <a:t>X </a:t>
            </a:r>
            <a:r>
              <a:rPr lang="en-US" sz="2800">
                <a:solidFill>
                  <a:srgbClr val="063853"/>
                </a:solidFill>
                <a:latin typeface="Montserrat SemiBold"/>
                <a:ea typeface="Roboto"/>
              </a:rPr>
              <a:t>Months</a:t>
            </a:r>
            <a:endParaRPr lang="en-US">
              <a:latin typeface="Montserrat SemiBold"/>
              <a:ea typeface="Roboto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BAA6D08-89E8-009B-96E7-5C5C1AD2E0BB}"/>
              </a:ext>
            </a:extLst>
          </p:cNvPr>
          <p:cNvSpPr/>
          <p:nvPr/>
        </p:nvSpPr>
        <p:spPr>
          <a:xfrm>
            <a:off x="1607966" y="1311212"/>
            <a:ext cx="9401466" cy="91440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Timeline for implementation </a:t>
            </a:r>
          </a:p>
        </p:txBody>
      </p:sp>
    </p:spTree>
    <p:extLst>
      <p:ext uri="{BB962C8B-B14F-4D97-AF65-F5344CB8AC3E}">
        <p14:creationId xmlns:p14="http://schemas.microsoft.com/office/powerpoint/2010/main" val="314145049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F663C94-954D-D976-DA0B-D8F6AE3F0B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2659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663C94-954D-D976-DA0B-D8F6AE3F0B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4C47C547-FC78-2A8A-702A-83C18CDEBED2}"/>
              </a:ext>
            </a:extLst>
          </p:cNvPr>
          <p:cNvGrpSpPr/>
          <p:nvPr/>
        </p:nvGrpSpPr>
        <p:grpSpPr>
          <a:xfrm>
            <a:off x="752610" y="1542775"/>
            <a:ext cx="10686779" cy="4177306"/>
            <a:chOff x="427220" y="1522454"/>
            <a:chExt cx="11336519" cy="4467299"/>
          </a:xfrm>
        </p:grpSpPr>
        <p:sp>
          <p:nvSpPr>
            <p:cNvPr id="67" name="Inhaltsplatzhalter 4">
              <a:extLst>
                <a:ext uri="{FF2B5EF4-FFF2-40B4-BE49-F238E27FC236}">
                  <a16:creationId xmlns:a16="http://schemas.microsoft.com/office/drawing/2014/main" id="{26C6BCC6-171F-4EC6-9BD4-4F1B1F5211F9}"/>
                </a:ext>
              </a:extLst>
            </p:cNvPr>
            <p:cNvSpPr txBox="1">
              <a:spLocks/>
            </p:cNvSpPr>
            <p:nvPr/>
          </p:nvSpPr>
          <p:spPr>
            <a:xfrm>
              <a:off x="427220" y="5066423"/>
              <a:ext cx="2411723" cy="923330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>
                  <a:solidFill>
                    <a:srgbClr val="00D0CB"/>
                  </a:solidFill>
                  <a:latin typeface="Montserrat" panose="00000500000000000000" pitchFamily="50" charset="0"/>
                </a:rPr>
                <a:t>Element Title Here</a:t>
              </a:r>
              <a:br>
                <a:rPr lang="en-US" sz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50" charset="0"/>
                </a:rPr>
              </a:br>
              <a:r>
                <a:rPr lang="en-US" sz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50" charset="0"/>
                </a:rPr>
                <a:t>This is a sample text. You simply add your own text here. This is a sample text. You simply</a:t>
              </a:r>
            </a:p>
          </p:txBody>
        </p:sp>
        <p:sp>
          <p:nvSpPr>
            <p:cNvPr id="68" name="Inhaltsplatzhalter 4">
              <a:extLst>
                <a:ext uri="{FF2B5EF4-FFF2-40B4-BE49-F238E27FC236}">
                  <a16:creationId xmlns:a16="http://schemas.microsoft.com/office/drawing/2014/main" id="{551895FF-E2C3-4B7C-808D-4B9349DDC11E}"/>
                </a:ext>
              </a:extLst>
            </p:cNvPr>
            <p:cNvSpPr txBox="1">
              <a:spLocks/>
            </p:cNvSpPr>
            <p:nvPr/>
          </p:nvSpPr>
          <p:spPr>
            <a:xfrm>
              <a:off x="2659200" y="1522454"/>
              <a:ext cx="2411723" cy="923330"/>
            </a:xfrm>
            <a:prstGeom prst="rect">
              <a:avLst/>
            </a:prstGeom>
          </p:spPr>
          <p:txBody>
            <a:bodyPr wrap="square" lIns="0" tIns="0" rIns="0" bIns="0" anchor="b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>
                  <a:solidFill>
                    <a:srgbClr val="5C8EC0"/>
                  </a:solidFill>
                  <a:latin typeface="Montserrat" panose="00000500000000000000" pitchFamily="50" charset="0"/>
                </a:rPr>
                <a:t>Element Title Here</a:t>
              </a:r>
              <a:br>
                <a:rPr lang="en-US" sz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50" charset="0"/>
                </a:rPr>
              </a:br>
              <a:r>
                <a:rPr lang="en-US" sz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50" charset="0"/>
                </a:rPr>
                <a:t>This is a sample text. You simply add your own text here. This is a sample text. You simply</a:t>
              </a:r>
            </a:p>
          </p:txBody>
        </p:sp>
        <p:sp>
          <p:nvSpPr>
            <p:cNvPr id="69" name="Inhaltsplatzhalter 4">
              <a:extLst>
                <a:ext uri="{FF2B5EF4-FFF2-40B4-BE49-F238E27FC236}">
                  <a16:creationId xmlns:a16="http://schemas.microsoft.com/office/drawing/2014/main" id="{44239FE2-71CA-41CF-A17F-96A94096AF95}"/>
                </a:ext>
              </a:extLst>
            </p:cNvPr>
            <p:cNvSpPr txBox="1">
              <a:spLocks/>
            </p:cNvSpPr>
            <p:nvPr/>
          </p:nvSpPr>
          <p:spPr>
            <a:xfrm>
              <a:off x="4890139" y="5066423"/>
              <a:ext cx="2411723" cy="923330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>
                  <a:solidFill>
                    <a:srgbClr val="686C86"/>
                  </a:solidFill>
                  <a:latin typeface="Montserrat" panose="00000500000000000000" pitchFamily="50" charset="0"/>
                </a:rPr>
                <a:t>Element Title Here</a:t>
              </a:r>
              <a:br>
                <a:rPr lang="en-US" sz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50" charset="0"/>
                </a:rPr>
              </a:br>
              <a:r>
                <a:rPr lang="en-US" sz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50" charset="0"/>
                </a:rPr>
                <a:t>This is a sample text. You simply add your own text here. This is a sample text. You simply</a:t>
              </a:r>
            </a:p>
          </p:txBody>
        </p:sp>
        <p:sp>
          <p:nvSpPr>
            <p:cNvPr id="70" name="Inhaltsplatzhalter 4">
              <a:extLst>
                <a:ext uri="{FF2B5EF4-FFF2-40B4-BE49-F238E27FC236}">
                  <a16:creationId xmlns:a16="http://schemas.microsoft.com/office/drawing/2014/main" id="{83F3D84E-E69F-4F9F-BBEC-517BD08CB551}"/>
                </a:ext>
              </a:extLst>
            </p:cNvPr>
            <p:cNvSpPr txBox="1">
              <a:spLocks/>
            </p:cNvSpPr>
            <p:nvPr/>
          </p:nvSpPr>
          <p:spPr>
            <a:xfrm>
              <a:off x="7121077" y="1522454"/>
              <a:ext cx="2411723" cy="923330"/>
            </a:xfrm>
            <a:prstGeom prst="rect">
              <a:avLst/>
            </a:prstGeom>
          </p:spPr>
          <p:txBody>
            <a:bodyPr wrap="square" lIns="0" tIns="0" rIns="0" bIns="0" anchor="b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>
                  <a:solidFill>
                    <a:srgbClr val="0E7FBE"/>
                  </a:solidFill>
                  <a:latin typeface="Montserrat" panose="00000500000000000000" pitchFamily="50" charset="0"/>
                </a:rPr>
                <a:t>Element Title Here</a:t>
              </a:r>
              <a:br>
                <a:rPr lang="en-US" sz="1200">
                  <a:solidFill>
                    <a:schemeClr val="accent4"/>
                  </a:solidFill>
                  <a:latin typeface="Montserrat" panose="00000500000000000000" pitchFamily="50" charset="0"/>
                </a:rPr>
              </a:br>
              <a:r>
                <a:rPr lang="en-US" sz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50" charset="0"/>
                </a:rPr>
                <a:t>This is a sample text. You simply add your own text here. This is a sample text. You simply</a:t>
              </a:r>
            </a:p>
          </p:txBody>
        </p:sp>
        <p:sp>
          <p:nvSpPr>
            <p:cNvPr id="71" name="Inhaltsplatzhalter 4">
              <a:extLst>
                <a:ext uri="{FF2B5EF4-FFF2-40B4-BE49-F238E27FC236}">
                  <a16:creationId xmlns:a16="http://schemas.microsoft.com/office/drawing/2014/main" id="{A873DB4F-1319-4CDD-B8F0-FF3BB976309C}"/>
                </a:ext>
              </a:extLst>
            </p:cNvPr>
            <p:cNvSpPr txBox="1">
              <a:spLocks/>
            </p:cNvSpPr>
            <p:nvPr/>
          </p:nvSpPr>
          <p:spPr>
            <a:xfrm>
              <a:off x="9352016" y="5066423"/>
              <a:ext cx="2411723" cy="923330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>
                  <a:solidFill>
                    <a:srgbClr val="345E88"/>
                  </a:solidFill>
                  <a:latin typeface="Montserrat" panose="00000500000000000000" pitchFamily="50" charset="0"/>
                </a:rPr>
                <a:t>Element Title Here</a:t>
              </a:r>
              <a:br>
                <a:rPr lang="en-US" sz="1200">
                  <a:solidFill>
                    <a:schemeClr val="accent5"/>
                  </a:solidFill>
                  <a:latin typeface="Montserrat" panose="00000500000000000000" pitchFamily="50" charset="0"/>
                </a:rPr>
              </a:br>
              <a:r>
                <a:rPr lang="en-US" sz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50" charset="0"/>
                </a:rPr>
                <a:t>This is a sample text. You simply add your own text here. This is a sample text. You simply</a:t>
              </a: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12E09A5B-02F9-4A39-9628-FC01977A6AF5}"/>
                </a:ext>
              </a:extLst>
            </p:cNvPr>
            <p:cNvGrpSpPr/>
            <p:nvPr/>
          </p:nvGrpSpPr>
          <p:grpSpPr>
            <a:xfrm>
              <a:off x="517093" y="2575655"/>
              <a:ext cx="11157817" cy="2231981"/>
              <a:chOff x="387819" y="1931741"/>
              <a:chExt cx="8368363" cy="1673986"/>
            </a:xfrm>
          </p:grpSpPr>
          <p:sp>
            <p:nvSpPr>
              <p:cNvPr id="2" name="Arc 1">
                <a:extLst>
                  <a:ext uri="{FF2B5EF4-FFF2-40B4-BE49-F238E27FC236}">
                    <a16:creationId xmlns:a16="http://schemas.microsoft.com/office/drawing/2014/main" id="{1B7DAD40-24D1-4530-8CC3-509DF7FC0A97}"/>
                  </a:ext>
                </a:extLst>
              </p:cNvPr>
              <p:cNvSpPr/>
              <p:nvPr/>
            </p:nvSpPr>
            <p:spPr>
              <a:xfrm>
                <a:off x="387819" y="1931741"/>
                <a:ext cx="1673985" cy="1673986"/>
              </a:xfrm>
              <a:prstGeom prst="arc">
                <a:avLst>
                  <a:gd name="adj1" fmla="val 1368056"/>
                  <a:gd name="adj2" fmla="val 86661"/>
                </a:avLst>
              </a:prstGeom>
              <a:noFill/>
              <a:ln w="19050" cap="rnd">
                <a:solidFill>
                  <a:srgbClr val="063853"/>
                </a:solidFill>
                <a:prstDash val="sysDot"/>
                <a:headEnd type="triangle" w="lg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B46CB8BA-73A8-4D4C-B83A-9904821AE7D0}"/>
                  </a:ext>
                </a:extLst>
              </p:cNvPr>
              <p:cNvGrpSpPr/>
              <p:nvPr/>
            </p:nvGrpSpPr>
            <p:grpSpPr>
              <a:xfrm>
                <a:off x="2061805" y="1931741"/>
                <a:ext cx="1673985" cy="1673986"/>
                <a:chOff x="2061805" y="1931741"/>
                <a:chExt cx="1673985" cy="1673986"/>
              </a:xfrm>
            </p:grpSpPr>
            <p:sp>
              <p:nvSpPr>
                <p:cNvPr id="7" name="Arc 6">
                  <a:extLst>
                    <a:ext uri="{FF2B5EF4-FFF2-40B4-BE49-F238E27FC236}">
                      <a16:creationId xmlns:a16="http://schemas.microsoft.com/office/drawing/2014/main" id="{2E33535B-7228-4C2B-8107-F1A7E8F82D82}"/>
                    </a:ext>
                  </a:extLst>
                </p:cNvPr>
                <p:cNvSpPr/>
                <p:nvPr/>
              </p:nvSpPr>
              <p:spPr>
                <a:xfrm>
                  <a:off x="2061805" y="1931741"/>
                  <a:ext cx="1673985" cy="1673986"/>
                </a:xfrm>
                <a:prstGeom prst="arc">
                  <a:avLst>
                    <a:gd name="adj1" fmla="val 1110411"/>
                    <a:gd name="adj2" fmla="val 10725096"/>
                  </a:avLst>
                </a:prstGeom>
                <a:noFill/>
                <a:ln w="19050" cap="rnd">
                  <a:solidFill>
                    <a:srgbClr val="063853"/>
                  </a:solidFill>
                  <a:prstDash val="sysDot"/>
                  <a:headEnd type="triangle" w="lg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9" name="Arc 8">
                  <a:extLst>
                    <a:ext uri="{FF2B5EF4-FFF2-40B4-BE49-F238E27FC236}">
                      <a16:creationId xmlns:a16="http://schemas.microsoft.com/office/drawing/2014/main" id="{304925D8-128A-4756-B6BD-9A61071B7594}"/>
                    </a:ext>
                  </a:extLst>
                </p:cNvPr>
                <p:cNvSpPr/>
                <p:nvPr/>
              </p:nvSpPr>
              <p:spPr>
                <a:xfrm rot="10800000">
                  <a:off x="2061805" y="1931741"/>
                  <a:ext cx="1673985" cy="1673986"/>
                </a:xfrm>
                <a:prstGeom prst="arc">
                  <a:avLst>
                    <a:gd name="adj1" fmla="val 1308647"/>
                    <a:gd name="adj2" fmla="val 10935638"/>
                  </a:avLst>
                </a:prstGeom>
                <a:noFill/>
                <a:ln w="19050" cap="rnd">
                  <a:solidFill>
                    <a:srgbClr val="063853"/>
                  </a:solidFill>
                  <a:prstDash val="sysDot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D55F36C9-96F1-4E70-BDEC-6AFE3CEB0F2F}"/>
                  </a:ext>
                </a:extLst>
              </p:cNvPr>
              <p:cNvGrpSpPr/>
              <p:nvPr/>
            </p:nvGrpSpPr>
            <p:grpSpPr>
              <a:xfrm>
                <a:off x="3735790" y="1931741"/>
                <a:ext cx="1673986" cy="1673986"/>
                <a:chOff x="3735790" y="1931741"/>
                <a:chExt cx="1673986" cy="1673986"/>
              </a:xfrm>
            </p:grpSpPr>
            <p:sp>
              <p:nvSpPr>
                <p:cNvPr id="10" name="Arc 9">
                  <a:extLst>
                    <a:ext uri="{FF2B5EF4-FFF2-40B4-BE49-F238E27FC236}">
                      <a16:creationId xmlns:a16="http://schemas.microsoft.com/office/drawing/2014/main" id="{9E5E990A-8A15-45AF-9982-AFBF29DCC04E}"/>
                    </a:ext>
                  </a:extLst>
                </p:cNvPr>
                <p:cNvSpPr/>
                <p:nvPr/>
              </p:nvSpPr>
              <p:spPr>
                <a:xfrm>
                  <a:off x="3735790" y="1931741"/>
                  <a:ext cx="1673985" cy="1673986"/>
                </a:xfrm>
                <a:prstGeom prst="arc">
                  <a:avLst>
                    <a:gd name="adj1" fmla="val 956690"/>
                    <a:gd name="adj2" fmla="val 10725096"/>
                  </a:avLst>
                </a:prstGeom>
                <a:noFill/>
                <a:ln w="19050" cap="rnd">
                  <a:solidFill>
                    <a:srgbClr val="063853"/>
                  </a:solidFill>
                  <a:prstDash val="sysDot"/>
                  <a:headEnd type="triangle" w="lg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2" name="Arc 11">
                  <a:extLst>
                    <a:ext uri="{FF2B5EF4-FFF2-40B4-BE49-F238E27FC236}">
                      <a16:creationId xmlns:a16="http://schemas.microsoft.com/office/drawing/2014/main" id="{E3BCFD0D-A0EE-4493-8551-D6D698BC8244}"/>
                    </a:ext>
                  </a:extLst>
                </p:cNvPr>
                <p:cNvSpPr/>
                <p:nvPr/>
              </p:nvSpPr>
              <p:spPr>
                <a:xfrm rot="10800000">
                  <a:off x="3735791" y="1931741"/>
                  <a:ext cx="1673985" cy="1673986"/>
                </a:xfrm>
                <a:prstGeom prst="arc">
                  <a:avLst>
                    <a:gd name="adj1" fmla="val 1308647"/>
                    <a:gd name="adj2" fmla="val 10896752"/>
                  </a:avLst>
                </a:prstGeom>
                <a:noFill/>
                <a:ln w="19050" cap="rnd">
                  <a:solidFill>
                    <a:srgbClr val="063853"/>
                  </a:solidFill>
                  <a:prstDash val="sysDot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4014FC7E-8B14-427A-87F0-BB8ACFBEA999}"/>
                  </a:ext>
                </a:extLst>
              </p:cNvPr>
              <p:cNvGrpSpPr/>
              <p:nvPr/>
            </p:nvGrpSpPr>
            <p:grpSpPr>
              <a:xfrm>
                <a:off x="5409775" y="1931741"/>
                <a:ext cx="1673986" cy="1673986"/>
                <a:chOff x="5409775" y="1931741"/>
                <a:chExt cx="1673986" cy="1673986"/>
              </a:xfrm>
            </p:grpSpPr>
            <p:sp>
              <p:nvSpPr>
                <p:cNvPr id="16" name="Arc 15">
                  <a:extLst>
                    <a:ext uri="{FF2B5EF4-FFF2-40B4-BE49-F238E27FC236}">
                      <a16:creationId xmlns:a16="http://schemas.microsoft.com/office/drawing/2014/main" id="{F8B0710D-2570-4B6B-8DE4-30384D5403EA}"/>
                    </a:ext>
                  </a:extLst>
                </p:cNvPr>
                <p:cNvSpPr/>
                <p:nvPr/>
              </p:nvSpPr>
              <p:spPr>
                <a:xfrm>
                  <a:off x="5409775" y="1931741"/>
                  <a:ext cx="1673985" cy="1673986"/>
                </a:xfrm>
                <a:prstGeom prst="arc">
                  <a:avLst>
                    <a:gd name="adj1" fmla="val 1110411"/>
                    <a:gd name="adj2" fmla="val 10725096"/>
                  </a:avLst>
                </a:prstGeom>
                <a:noFill/>
                <a:ln w="19050" cap="rnd">
                  <a:solidFill>
                    <a:srgbClr val="063853"/>
                  </a:solidFill>
                  <a:prstDash val="sysDot"/>
                  <a:headEnd type="triangle" w="lg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" name="Arc 17">
                  <a:extLst>
                    <a:ext uri="{FF2B5EF4-FFF2-40B4-BE49-F238E27FC236}">
                      <a16:creationId xmlns:a16="http://schemas.microsoft.com/office/drawing/2014/main" id="{38ECBF12-4D90-4CC7-AF91-FDE41A5368BD}"/>
                    </a:ext>
                  </a:extLst>
                </p:cNvPr>
                <p:cNvSpPr/>
                <p:nvPr/>
              </p:nvSpPr>
              <p:spPr>
                <a:xfrm rot="10800000">
                  <a:off x="5409776" y="1931741"/>
                  <a:ext cx="1673985" cy="1673986"/>
                </a:xfrm>
                <a:prstGeom prst="arc">
                  <a:avLst>
                    <a:gd name="adj1" fmla="val 1308647"/>
                    <a:gd name="adj2" fmla="val 10948048"/>
                  </a:avLst>
                </a:prstGeom>
                <a:noFill/>
                <a:ln w="19050" cap="rnd">
                  <a:solidFill>
                    <a:srgbClr val="063853"/>
                  </a:solidFill>
                  <a:prstDash val="sysDot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2" name="Arc 21">
                <a:extLst>
                  <a:ext uri="{FF2B5EF4-FFF2-40B4-BE49-F238E27FC236}">
                    <a16:creationId xmlns:a16="http://schemas.microsoft.com/office/drawing/2014/main" id="{28A881FB-DC98-4413-AA04-9E8D3B34648B}"/>
                  </a:ext>
                </a:extLst>
              </p:cNvPr>
              <p:cNvSpPr/>
              <p:nvPr/>
            </p:nvSpPr>
            <p:spPr>
              <a:xfrm>
                <a:off x="7082197" y="1931741"/>
                <a:ext cx="1673985" cy="1673986"/>
              </a:xfrm>
              <a:prstGeom prst="arc">
                <a:avLst>
                  <a:gd name="adj1" fmla="val 12169658"/>
                  <a:gd name="adj2" fmla="val 10725096"/>
                </a:avLst>
              </a:prstGeom>
              <a:noFill/>
              <a:ln w="19050" cap="rnd">
                <a:solidFill>
                  <a:srgbClr val="063853"/>
                </a:solidFill>
                <a:prstDash val="sysDot"/>
                <a:headEnd type="triangle" w="lg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011D900F-1651-48CE-B35F-5FB564C29AFF}"/>
                </a:ext>
              </a:extLst>
            </p:cNvPr>
            <p:cNvSpPr/>
            <p:nvPr/>
          </p:nvSpPr>
          <p:spPr>
            <a:xfrm>
              <a:off x="811693" y="2870255"/>
              <a:ext cx="1642780" cy="1642780"/>
            </a:xfrm>
            <a:prstGeom prst="ellipse">
              <a:avLst/>
            </a:prstGeom>
            <a:solidFill>
              <a:srgbClr val="00D0CB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70565445-6617-4F75-9BC5-278300232B5E}"/>
                </a:ext>
              </a:extLst>
            </p:cNvPr>
            <p:cNvSpPr/>
            <p:nvPr/>
          </p:nvSpPr>
          <p:spPr>
            <a:xfrm>
              <a:off x="3043674" y="2870257"/>
              <a:ext cx="1642780" cy="1642780"/>
            </a:xfrm>
            <a:prstGeom prst="ellipse">
              <a:avLst/>
            </a:prstGeom>
            <a:solidFill>
              <a:srgbClr val="5C8EC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373D352A-842C-46BD-9D7C-DA37E125C326}"/>
                </a:ext>
              </a:extLst>
            </p:cNvPr>
            <p:cNvSpPr/>
            <p:nvPr/>
          </p:nvSpPr>
          <p:spPr>
            <a:xfrm>
              <a:off x="5275655" y="2870255"/>
              <a:ext cx="1642780" cy="1642780"/>
            </a:xfrm>
            <a:prstGeom prst="ellipse">
              <a:avLst/>
            </a:prstGeom>
            <a:solidFill>
              <a:srgbClr val="686C8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B36491DB-60D1-4755-883F-D44A36349BE8}"/>
                </a:ext>
              </a:extLst>
            </p:cNvPr>
            <p:cNvSpPr/>
            <p:nvPr/>
          </p:nvSpPr>
          <p:spPr>
            <a:xfrm>
              <a:off x="7507635" y="2870255"/>
              <a:ext cx="1642780" cy="1642780"/>
            </a:xfrm>
            <a:prstGeom prst="ellipse">
              <a:avLst/>
            </a:prstGeom>
            <a:solidFill>
              <a:srgbClr val="0E7FBE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20AD244E-25DF-4774-A37F-530D8F15607F}"/>
                </a:ext>
              </a:extLst>
            </p:cNvPr>
            <p:cNvSpPr/>
            <p:nvPr/>
          </p:nvSpPr>
          <p:spPr>
            <a:xfrm>
              <a:off x="9737530" y="2870255"/>
              <a:ext cx="1642780" cy="1642780"/>
            </a:xfrm>
            <a:prstGeom prst="ellipse">
              <a:avLst/>
            </a:prstGeom>
            <a:solidFill>
              <a:srgbClr val="345E88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DE71BE76-3E76-430D-897B-6D07051414DA}"/>
                </a:ext>
              </a:extLst>
            </p:cNvPr>
            <p:cNvSpPr/>
            <p:nvPr/>
          </p:nvSpPr>
          <p:spPr>
            <a:xfrm>
              <a:off x="5735146" y="3329748"/>
              <a:ext cx="723799" cy="723792"/>
            </a:xfrm>
            <a:custGeom>
              <a:avLst/>
              <a:gdLst>
                <a:gd name="connsiteX0" fmla="*/ 452374 w 542849"/>
                <a:gd name="connsiteY0" fmla="*/ 298563 h 542844"/>
                <a:gd name="connsiteX1" fmla="*/ 434280 w 542849"/>
                <a:gd name="connsiteY1" fmla="*/ 316657 h 542844"/>
                <a:gd name="connsiteX2" fmla="*/ 452374 w 542849"/>
                <a:gd name="connsiteY2" fmla="*/ 334753 h 542844"/>
                <a:gd name="connsiteX3" fmla="*/ 470470 w 542849"/>
                <a:gd name="connsiteY3" fmla="*/ 316657 h 542844"/>
                <a:gd name="connsiteX4" fmla="*/ 452374 w 542849"/>
                <a:gd name="connsiteY4" fmla="*/ 298563 h 542844"/>
                <a:gd name="connsiteX5" fmla="*/ 180950 w 542849"/>
                <a:gd name="connsiteY5" fmla="*/ 280469 h 542844"/>
                <a:gd name="connsiteX6" fmla="*/ 99524 w 542849"/>
                <a:gd name="connsiteY6" fmla="*/ 361895 h 542844"/>
                <a:gd name="connsiteX7" fmla="*/ 180950 w 542849"/>
                <a:gd name="connsiteY7" fmla="*/ 443323 h 542844"/>
                <a:gd name="connsiteX8" fmla="*/ 262378 w 542849"/>
                <a:gd name="connsiteY8" fmla="*/ 361895 h 542844"/>
                <a:gd name="connsiteX9" fmla="*/ 180950 w 542849"/>
                <a:gd name="connsiteY9" fmla="*/ 280469 h 542844"/>
                <a:gd name="connsiteX10" fmla="*/ 452374 w 542849"/>
                <a:gd name="connsiteY10" fmla="*/ 280467 h 542844"/>
                <a:gd name="connsiteX11" fmla="*/ 488564 w 542849"/>
                <a:gd name="connsiteY11" fmla="*/ 316657 h 542844"/>
                <a:gd name="connsiteX12" fmla="*/ 452374 w 542849"/>
                <a:gd name="connsiteY12" fmla="*/ 352847 h 542844"/>
                <a:gd name="connsiteX13" fmla="*/ 416184 w 542849"/>
                <a:gd name="connsiteY13" fmla="*/ 316657 h 542844"/>
                <a:gd name="connsiteX14" fmla="*/ 452374 w 542849"/>
                <a:gd name="connsiteY14" fmla="*/ 280467 h 542844"/>
                <a:gd name="connsiteX15" fmla="*/ 180950 w 542849"/>
                <a:gd name="connsiteY15" fmla="*/ 262373 h 542844"/>
                <a:gd name="connsiteX16" fmla="*/ 280473 w 542849"/>
                <a:gd name="connsiteY16" fmla="*/ 361895 h 542844"/>
                <a:gd name="connsiteX17" fmla="*/ 180950 w 542849"/>
                <a:gd name="connsiteY17" fmla="*/ 461418 h 542844"/>
                <a:gd name="connsiteX18" fmla="*/ 81428 w 542849"/>
                <a:gd name="connsiteY18" fmla="*/ 361895 h 542844"/>
                <a:gd name="connsiteX19" fmla="*/ 180950 w 542849"/>
                <a:gd name="connsiteY19" fmla="*/ 262373 h 542844"/>
                <a:gd name="connsiteX20" fmla="*/ 449063 w 542849"/>
                <a:gd name="connsiteY20" fmla="*/ 244368 h 542844"/>
                <a:gd name="connsiteX21" fmla="*/ 443969 w 542849"/>
                <a:gd name="connsiteY21" fmla="*/ 258708 h 542844"/>
                <a:gd name="connsiteX22" fmla="*/ 437853 w 542849"/>
                <a:gd name="connsiteY22" fmla="*/ 264399 h 542844"/>
                <a:gd name="connsiteX23" fmla="*/ 425675 w 542849"/>
                <a:gd name="connsiteY23" fmla="*/ 269420 h 542844"/>
                <a:gd name="connsiteX24" fmla="*/ 417343 w 542849"/>
                <a:gd name="connsiteY24" fmla="*/ 269719 h 542844"/>
                <a:gd name="connsiteX25" fmla="*/ 403654 w 542849"/>
                <a:gd name="connsiteY25" fmla="*/ 263223 h 542844"/>
                <a:gd name="connsiteX26" fmla="*/ 398940 w 542849"/>
                <a:gd name="connsiteY26" fmla="*/ 267936 h 542844"/>
                <a:gd name="connsiteX27" fmla="*/ 405435 w 542849"/>
                <a:gd name="connsiteY27" fmla="*/ 281625 h 542844"/>
                <a:gd name="connsiteX28" fmla="*/ 405138 w 542849"/>
                <a:gd name="connsiteY28" fmla="*/ 289958 h 542844"/>
                <a:gd name="connsiteX29" fmla="*/ 400107 w 542849"/>
                <a:gd name="connsiteY29" fmla="*/ 302145 h 542844"/>
                <a:gd name="connsiteX30" fmla="*/ 394425 w 542849"/>
                <a:gd name="connsiteY30" fmla="*/ 308252 h 542844"/>
                <a:gd name="connsiteX31" fmla="*/ 380084 w 542849"/>
                <a:gd name="connsiteY31" fmla="*/ 313355 h 542844"/>
                <a:gd name="connsiteX32" fmla="*/ 379995 w 542849"/>
                <a:gd name="connsiteY32" fmla="*/ 316657 h 542844"/>
                <a:gd name="connsiteX33" fmla="*/ 380103 w 542849"/>
                <a:gd name="connsiteY33" fmla="*/ 319960 h 542844"/>
                <a:gd name="connsiteX34" fmla="*/ 394443 w 542849"/>
                <a:gd name="connsiteY34" fmla="*/ 325053 h 542844"/>
                <a:gd name="connsiteX35" fmla="*/ 400134 w 542849"/>
                <a:gd name="connsiteY35" fmla="*/ 331169 h 542844"/>
                <a:gd name="connsiteX36" fmla="*/ 405155 w 542849"/>
                <a:gd name="connsiteY36" fmla="*/ 343347 h 542844"/>
                <a:gd name="connsiteX37" fmla="*/ 405454 w 542849"/>
                <a:gd name="connsiteY37" fmla="*/ 351680 h 542844"/>
                <a:gd name="connsiteX38" fmla="*/ 398958 w 542849"/>
                <a:gd name="connsiteY38" fmla="*/ 365369 h 542844"/>
                <a:gd name="connsiteX39" fmla="*/ 403671 w 542849"/>
                <a:gd name="connsiteY39" fmla="*/ 370082 h 542844"/>
                <a:gd name="connsiteX40" fmla="*/ 417361 w 542849"/>
                <a:gd name="connsiteY40" fmla="*/ 363586 h 542844"/>
                <a:gd name="connsiteX41" fmla="*/ 425693 w 542849"/>
                <a:gd name="connsiteY41" fmla="*/ 363885 h 542844"/>
                <a:gd name="connsiteX42" fmla="*/ 437880 w 542849"/>
                <a:gd name="connsiteY42" fmla="*/ 368906 h 542844"/>
                <a:gd name="connsiteX43" fmla="*/ 443987 w 542849"/>
                <a:gd name="connsiteY43" fmla="*/ 374597 h 542844"/>
                <a:gd name="connsiteX44" fmla="*/ 449080 w 542849"/>
                <a:gd name="connsiteY44" fmla="*/ 388937 h 542844"/>
                <a:gd name="connsiteX45" fmla="*/ 455685 w 542849"/>
                <a:gd name="connsiteY45" fmla="*/ 388937 h 542844"/>
                <a:gd name="connsiteX46" fmla="*/ 460779 w 542849"/>
                <a:gd name="connsiteY46" fmla="*/ 374597 h 542844"/>
                <a:gd name="connsiteX47" fmla="*/ 466895 w 542849"/>
                <a:gd name="connsiteY47" fmla="*/ 368906 h 542844"/>
                <a:gd name="connsiteX48" fmla="*/ 479074 w 542849"/>
                <a:gd name="connsiteY48" fmla="*/ 363885 h 542844"/>
                <a:gd name="connsiteX49" fmla="*/ 487406 w 542849"/>
                <a:gd name="connsiteY49" fmla="*/ 363586 h 542844"/>
                <a:gd name="connsiteX50" fmla="*/ 501095 w 542849"/>
                <a:gd name="connsiteY50" fmla="*/ 370082 h 542844"/>
                <a:gd name="connsiteX51" fmla="*/ 505809 w 542849"/>
                <a:gd name="connsiteY51" fmla="*/ 365369 h 542844"/>
                <a:gd name="connsiteX52" fmla="*/ 499313 w 542849"/>
                <a:gd name="connsiteY52" fmla="*/ 351680 h 542844"/>
                <a:gd name="connsiteX53" fmla="*/ 499611 w 542849"/>
                <a:gd name="connsiteY53" fmla="*/ 343347 h 542844"/>
                <a:gd name="connsiteX54" fmla="*/ 504633 w 542849"/>
                <a:gd name="connsiteY54" fmla="*/ 331160 h 542844"/>
                <a:gd name="connsiteX55" fmla="*/ 510324 w 542849"/>
                <a:gd name="connsiteY55" fmla="*/ 325053 h 542844"/>
                <a:gd name="connsiteX56" fmla="*/ 524664 w 542849"/>
                <a:gd name="connsiteY56" fmla="*/ 319960 h 542844"/>
                <a:gd name="connsiteX57" fmla="*/ 524755 w 542849"/>
                <a:gd name="connsiteY57" fmla="*/ 316657 h 542844"/>
                <a:gd name="connsiteX58" fmla="*/ 524646 w 542849"/>
                <a:gd name="connsiteY58" fmla="*/ 313345 h 542844"/>
                <a:gd name="connsiteX59" fmla="*/ 510305 w 542849"/>
                <a:gd name="connsiteY59" fmla="*/ 308252 h 542844"/>
                <a:gd name="connsiteX60" fmla="*/ 504614 w 542849"/>
                <a:gd name="connsiteY60" fmla="*/ 302136 h 542844"/>
                <a:gd name="connsiteX61" fmla="*/ 499594 w 542849"/>
                <a:gd name="connsiteY61" fmla="*/ 289958 h 542844"/>
                <a:gd name="connsiteX62" fmla="*/ 499295 w 542849"/>
                <a:gd name="connsiteY62" fmla="*/ 281625 h 542844"/>
                <a:gd name="connsiteX63" fmla="*/ 505791 w 542849"/>
                <a:gd name="connsiteY63" fmla="*/ 267936 h 542844"/>
                <a:gd name="connsiteX64" fmla="*/ 501077 w 542849"/>
                <a:gd name="connsiteY64" fmla="*/ 263223 h 542844"/>
                <a:gd name="connsiteX65" fmla="*/ 487388 w 542849"/>
                <a:gd name="connsiteY65" fmla="*/ 269719 h 542844"/>
                <a:gd name="connsiteX66" fmla="*/ 479055 w 542849"/>
                <a:gd name="connsiteY66" fmla="*/ 269420 h 542844"/>
                <a:gd name="connsiteX67" fmla="*/ 466868 w 542849"/>
                <a:gd name="connsiteY67" fmla="*/ 264399 h 542844"/>
                <a:gd name="connsiteX68" fmla="*/ 460761 w 542849"/>
                <a:gd name="connsiteY68" fmla="*/ 258708 h 542844"/>
                <a:gd name="connsiteX69" fmla="*/ 455668 w 542849"/>
                <a:gd name="connsiteY69" fmla="*/ 244368 h 542844"/>
                <a:gd name="connsiteX70" fmla="*/ 449063 w 542849"/>
                <a:gd name="connsiteY70" fmla="*/ 244368 h 542844"/>
                <a:gd name="connsiteX71" fmla="*/ 441390 w 542849"/>
                <a:gd name="connsiteY71" fmla="*/ 226915 h 542844"/>
                <a:gd name="connsiteX72" fmla="*/ 463349 w 542849"/>
                <a:gd name="connsiteY72" fmla="*/ 226915 h 542844"/>
                <a:gd name="connsiteX73" fmla="*/ 470785 w 542849"/>
                <a:gd name="connsiteY73" fmla="*/ 232868 h 542844"/>
                <a:gd name="connsiteX74" fmla="*/ 476314 w 542849"/>
                <a:gd name="connsiteY74" fmla="*/ 248412 h 542844"/>
                <a:gd name="connsiteX75" fmla="*/ 483697 w 542849"/>
                <a:gd name="connsiteY75" fmla="*/ 251452 h 542844"/>
                <a:gd name="connsiteX76" fmla="*/ 498589 w 542849"/>
                <a:gd name="connsiteY76" fmla="*/ 244386 h 542844"/>
                <a:gd name="connsiteX77" fmla="*/ 508044 w 542849"/>
                <a:gd name="connsiteY77" fmla="*/ 245435 h 542844"/>
                <a:gd name="connsiteX78" fmla="*/ 523596 w 542849"/>
                <a:gd name="connsiteY78" fmla="*/ 260997 h 542844"/>
                <a:gd name="connsiteX79" fmla="*/ 524646 w 542849"/>
                <a:gd name="connsiteY79" fmla="*/ 270443 h 542844"/>
                <a:gd name="connsiteX80" fmla="*/ 517579 w 542849"/>
                <a:gd name="connsiteY80" fmla="*/ 285326 h 542844"/>
                <a:gd name="connsiteX81" fmla="*/ 520629 w 542849"/>
                <a:gd name="connsiteY81" fmla="*/ 292717 h 542844"/>
                <a:gd name="connsiteX82" fmla="*/ 536172 w 542849"/>
                <a:gd name="connsiteY82" fmla="*/ 298237 h 542844"/>
                <a:gd name="connsiteX83" fmla="*/ 542125 w 542849"/>
                <a:gd name="connsiteY83" fmla="*/ 305682 h 542844"/>
                <a:gd name="connsiteX84" fmla="*/ 542849 w 542849"/>
                <a:gd name="connsiteY84" fmla="*/ 316657 h 542844"/>
                <a:gd name="connsiteX85" fmla="*/ 542107 w 542849"/>
                <a:gd name="connsiteY85" fmla="*/ 327632 h 542844"/>
                <a:gd name="connsiteX86" fmla="*/ 536154 w 542849"/>
                <a:gd name="connsiteY86" fmla="*/ 335069 h 542844"/>
                <a:gd name="connsiteX87" fmla="*/ 520610 w 542849"/>
                <a:gd name="connsiteY87" fmla="*/ 340596 h 542844"/>
                <a:gd name="connsiteX88" fmla="*/ 517571 w 542849"/>
                <a:gd name="connsiteY88" fmla="*/ 347979 h 542844"/>
                <a:gd name="connsiteX89" fmla="*/ 524637 w 542849"/>
                <a:gd name="connsiteY89" fmla="*/ 362872 h 542844"/>
                <a:gd name="connsiteX90" fmla="*/ 523587 w 542849"/>
                <a:gd name="connsiteY90" fmla="*/ 372327 h 542844"/>
                <a:gd name="connsiteX91" fmla="*/ 508025 w 542849"/>
                <a:gd name="connsiteY91" fmla="*/ 387879 h 542844"/>
                <a:gd name="connsiteX92" fmla="*/ 498579 w 542849"/>
                <a:gd name="connsiteY92" fmla="*/ 388929 h 542844"/>
                <a:gd name="connsiteX93" fmla="*/ 483697 w 542849"/>
                <a:gd name="connsiteY93" fmla="*/ 381862 h 542844"/>
                <a:gd name="connsiteX94" fmla="*/ 476305 w 542849"/>
                <a:gd name="connsiteY94" fmla="*/ 384912 h 542844"/>
                <a:gd name="connsiteX95" fmla="*/ 470785 w 542849"/>
                <a:gd name="connsiteY95" fmla="*/ 400455 h 542844"/>
                <a:gd name="connsiteX96" fmla="*/ 463349 w 542849"/>
                <a:gd name="connsiteY96" fmla="*/ 406408 h 542844"/>
                <a:gd name="connsiteX97" fmla="*/ 452375 w 542849"/>
                <a:gd name="connsiteY97" fmla="*/ 407132 h 542844"/>
                <a:gd name="connsiteX98" fmla="*/ 441400 w 542849"/>
                <a:gd name="connsiteY98" fmla="*/ 406390 h 542844"/>
                <a:gd name="connsiteX99" fmla="*/ 433963 w 542849"/>
                <a:gd name="connsiteY99" fmla="*/ 400437 h 542844"/>
                <a:gd name="connsiteX100" fmla="*/ 428434 w 542849"/>
                <a:gd name="connsiteY100" fmla="*/ 384893 h 542844"/>
                <a:gd name="connsiteX101" fmla="*/ 421051 w 542849"/>
                <a:gd name="connsiteY101" fmla="*/ 381854 h 542844"/>
                <a:gd name="connsiteX102" fmla="*/ 406159 w 542849"/>
                <a:gd name="connsiteY102" fmla="*/ 388919 h 542844"/>
                <a:gd name="connsiteX103" fmla="*/ 396705 w 542849"/>
                <a:gd name="connsiteY103" fmla="*/ 387870 h 542844"/>
                <a:gd name="connsiteX104" fmla="*/ 381153 w 542849"/>
                <a:gd name="connsiteY104" fmla="*/ 372308 h 542844"/>
                <a:gd name="connsiteX105" fmla="*/ 380103 w 542849"/>
                <a:gd name="connsiteY105" fmla="*/ 362862 h 542844"/>
                <a:gd name="connsiteX106" fmla="*/ 387169 w 542849"/>
                <a:gd name="connsiteY106" fmla="*/ 347979 h 542844"/>
                <a:gd name="connsiteX107" fmla="*/ 384120 w 542849"/>
                <a:gd name="connsiteY107" fmla="*/ 340588 h 542844"/>
                <a:gd name="connsiteX108" fmla="*/ 368576 w 542849"/>
                <a:gd name="connsiteY108" fmla="*/ 335069 h 542844"/>
                <a:gd name="connsiteX109" fmla="*/ 362623 w 542849"/>
                <a:gd name="connsiteY109" fmla="*/ 327632 h 542844"/>
                <a:gd name="connsiteX110" fmla="*/ 361899 w 542849"/>
                <a:gd name="connsiteY110" fmla="*/ 316657 h 542844"/>
                <a:gd name="connsiteX111" fmla="*/ 362632 w 542849"/>
                <a:gd name="connsiteY111" fmla="*/ 305692 h 542844"/>
                <a:gd name="connsiteX112" fmla="*/ 368585 w 542849"/>
                <a:gd name="connsiteY112" fmla="*/ 298255 h 542844"/>
                <a:gd name="connsiteX113" fmla="*/ 384129 w 542849"/>
                <a:gd name="connsiteY113" fmla="*/ 292727 h 542844"/>
                <a:gd name="connsiteX114" fmla="*/ 387169 w 542849"/>
                <a:gd name="connsiteY114" fmla="*/ 285344 h 542844"/>
                <a:gd name="connsiteX115" fmla="*/ 380103 w 542849"/>
                <a:gd name="connsiteY115" fmla="*/ 270451 h 542844"/>
                <a:gd name="connsiteX116" fmla="*/ 381153 w 542849"/>
                <a:gd name="connsiteY116" fmla="*/ 260997 h 542844"/>
                <a:gd name="connsiteX117" fmla="*/ 396715 w 542849"/>
                <a:gd name="connsiteY117" fmla="*/ 245445 h 542844"/>
                <a:gd name="connsiteX118" fmla="*/ 406159 w 542849"/>
                <a:gd name="connsiteY118" fmla="*/ 244395 h 542844"/>
                <a:gd name="connsiteX119" fmla="*/ 421043 w 542849"/>
                <a:gd name="connsiteY119" fmla="*/ 251461 h 542844"/>
                <a:gd name="connsiteX120" fmla="*/ 428434 w 542849"/>
                <a:gd name="connsiteY120" fmla="*/ 248412 h 542844"/>
                <a:gd name="connsiteX121" fmla="*/ 433953 w 542849"/>
                <a:gd name="connsiteY121" fmla="*/ 232868 h 542844"/>
                <a:gd name="connsiteX122" fmla="*/ 441390 w 542849"/>
                <a:gd name="connsiteY122" fmla="*/ 226915 h 542844"/>
                <a:gd name="connsiteX123" fmla="*/ 174526 w 542849"/>
                <a:gd name="connsiteY123" fmla="*/ 199239 h 542844"/>
                <a:gd name="connsiteX124" fmla="*/ 167885 w 542849"/>
                <a:gd name="connsiteY124" fmla="*/ 230019 h 542844"/>
                <a:gd name="connsiteX125" fmla="*/ 160493 w 542849"/>
                <a:gd name="connsiteY125" fmla="*/ 237040 h 542844"/>
                <a:gd name="connsiteX126" fmla="*/ 136156 w 542849"/>
                <a:gd name="connsiteY126" fmla="*/ 243544 h 542844"/>
                <a:gd name="connsiteX127" fmla="*/ 126239 w 542849"/>
                <a:gd name="connsiteY127" fmla="*/ 241157 h 542844"/>
                <a:gd name="connsiteX128" fmla="*/ 105177 w 542849"/>
                <a:gd name="connsiteY128" fmla="*/ 217904 h 542844"/>
                <a:gd name="connsiteX129" fmla="*/ 94058 w 542849"/>
                <a:gd name="connsiteY129" fmla="*/ 224237 h 542844"/>
                <a:gd name="connsiteX130" fmla="*/ 103666 w 542849"/>
                <a:gd name="connsiteY130" fmla="*/ 254058 h 542844"/>
                <a:gd name="connsiteX131" fmla="*/ 100789 w 542849"/>
                <a:gd name="connsiteY131" fmla="*/ 263838 h 542844"/>
                <a:gd name="connsiteX132" fmla="*/ 82893 w 542849"/>
                <a:gd name="connsiteY132" fmla="*/ 281734 h 542844"/>
                <a:gd name="connsiteX133" fmla="*/ 73113 w 542849"/>
                <a:gd name="connsiteY133" fmla="*/ 284612 h 542844"/>
                <a:gd name="connsiteX134" fmla="*/ 43292 w 542849"/>
                <a:gd name="connsiteY134" fmla="*/ 275003 h 542844"/>
                <a:gd name="connsiteX135" fmla="*/ 36960 w 542849"/>
                <a:gd name="connsiteY135" fmla="*/ 286122 h 542844"/>
                <a:gd name="connsiteX136" fmla="*/ 60202 w 542849"/>
                <a:gd name="connsiteY136" fmla="*/ 307185 h 542844"/>
                <a:gd name="connsiteX137" fmla="*/ 62591 w 542849"/>
                <a:gd name="connsiteY137" fmla="*/ 317092 h 542844"/>
                <a:gd name="connsiteX138" fmla="*/ 56085 w 542849"/>
                <a:gd name="connsiteY138" fmla="*/ 341438 h 542844"/>
                <a:gd name="connsiteX139" fmla="*/ 49065 w 542849"/>
                <a:gd name="connsiteY139" fmla="*/ 348831 h 542844"/>
                <a:gd name="connsiteX140" fmla="*/ 18286 w 542849"/>
                <a:gd name="connsiteY140" fmla="*/ 355480 h 542844"/>
                <a:gd name="connsiteX141" fmla="*/ 18096 w 542849"/>
                <a:gd name="connsiteY141" fmla="*/ 361895 h 542844"/>
                <a:gd name="connsiteX142" fmla="*/ 18286 w 542849"/>
                <a:gd name="connsiteY142" fmla="*/ 368318 h 542844"/>
                <a:gd name="connsiteX143" fmla="*/ 49083 w 542849"/>
                <a:gd name="connsiteY143" fmla="*/ 374941 h 542844"/>
                <a:gd name="connsiteX144" fmla="*/ 56104 w 542849"/>
                <a:gd name="connsiteY144" fmla="*/ 382333 h 542844"/>
                <a:gd name="connsiteX145" fmla="*/ 62608 w 542849"/>
                <a:gd name="connsiteY145" fmla="*/ 406670 h 542844"/>
                <a:gd name="connsiteX146" fmla="*/ 60220 w 542849"/>
                <a:gd name="connsiteY146" fmla="*/ 416587 h 542844"/>
                <a:gd name="connsiteX147" fmla="*/ 36968 w 542849"/>
                <a:gd name="connsiteY147" fmla="*/ 437650 h 542844"/>
                <a:gd name="connsiteX148" fmla="*/ 43301 w 542849"/>
                <a:gd name="connsiteY148" fmla="*/ 448769 h 542844"/>
                <a:gd name="connsiteX149" fmla="*/ 73122 w 542849"/>
                <a:gd name="connsiteY149" fmla="*/ 439160 h 542844"/>
                <a:gd name="connsiteX150" fmla="*/ 82902 w 542849"/>
                <a:gd name="connsiteY150" fmla="*/ 442037 h 542844"/>
                <a:gd name="connsiteX151" fmla="*/ 100799 w 542849"/>
                <a:gd name="connsiteY151" fmla="*/ 459933 h 542844"/>
                <a:gd name="connsiteX152" fmla="*/ 103675 w 542849"/>
                <a:gd name="connsiteY152" fmla="*/ 469713 h 542844"/>
                <a:gd name="connsiteX153" fmla="*/ 94067 w 542849"/>
                <a:gd name="connsiteY153" fmla="*/ 499534 h 542844"/>
                <a:gd name="connsiteX154" fmla="*/ 105186 w 542849"/>
                <a:gd name="connsiteY154" fmla="*/ 505868 h 542844"/>
                <a:gd name="connsiteX155" fmla="*/ 126249 w 542849"/>
                <a:gd name="connsiteY155" fmla="*/ 482624 h 542844"/>
                <a:gd name="connsiteX156" fmla="*/ 136156 w 542849"/>
                <a:gd name="connsiteY156" fmla="*/ 480236 h 542844"/>
                <a:gd name="connsiteX157" fmla="*/ 160502 w 542849"/>
                <a:gd name="connsiteY157" fmla="*/ 486741 h 542844"/>
                <a:gd name="connsiteX158" fmla="*/ 167894 w 542849"/>
                <a:gd name="connsiteY158" fmla="*/ 493762 h 542844"/>
                <a:gd name="connsiteX159" fmla="*/ 174545 w 542849"/>
                <a:gd name="connsiteY159" fmla="*/ 524541 h 542844"/>
                <a:gd name="connsiteX160" fmla="*/ 187383 w 542849"/>
                <a:gd name="connsiteY160" fmla="*/ 524541 h 542844"/>
                <a:gd name="connsiteX161" fmla="*/ 194023 w 542849"/>
                <a:gd name="connsiteY161" fmla="*/ 493762 h 542844"/>
                <a:gd name="connsiteX162" fmla="*/ 201415 w 542849"/>
                <a:gd name="connsiteY162" fmla="*/ 486741 h 542844"/>
                <a:gd name="connsiteX163" fmla="*/ 225753 w 542849"/>
                <a:gd name="connsiteY163" fmla="*/ 480236 h 542844"/>
                <a:gd name="connsiteX164" fmla="*/ 235669 w 542849"/>
                <a:gd name="connsiteY164" fmla="*/ 482624 h 542844"/>
                <a:gd name="connsiteX165" fmla="*/ 256732 w 542849"/>
                <a:gd name="connsiteY165" fmla="*/ 505876 h 542844"/>
                <a:gd name="connsiteX166" fmla="*/ 267842 w 542849"/>
                <a:gd name="connsiteY166" fmla="*/ 499543 h 542844"/>
                <a:gd name="connsiteX167" fmla="*/ 258234 w 542849"/>
                <a:gd name="connsiteY167" fmla="*/ 469723 h 542844"/>
                <a:gd name="connsiteX168" fmla="*/ 261110 w 542849"/>
                <a:gd name="connsiteY168" fmla="*/ 459951 h 542844"/>
                <a:gd name="connsiteX169" fmla="*/ 279006 w 542849"/>
                <a:gd name="connsiteY169" fmla="*/ 442055 h 542844"/>
                <a:gd name="connsiteX170" fmla="*/ 288787 w 542849"/>
                <a:gd name="connsiteY170" fmla="*/ 439179 h 542844"/>
                <a:gd name="connsiteX171" fmla="*/ 318607 w 542849"/>
                <a:gd name="connsiteY171" fmla="*/ 448786 h 542844"/>
                <a:gd name="connsiteX172" fmla="*/ 324940 w 542849"/>
                <a:gd name="connsiteY172" fmla="*/ 437667 h 542844"/>
                <a:gd name="connsiteX173" fmla="*/ 301697 w 542849"/>
                <a:gd name="connsiteY173" fmla="*/ 416605 h 542844"/>
                <a:gd name="connsiteX174" fmla="*/ 299308 w 542849"/>
                <a:gd name="connsiteY174" fmla="*/ 406697 h 542844"/>
                <a:gd name="connsiteX175" fmla="*/ 305814 w 542849"/>
                <a:gd name="connsiteY175" fmla="*/ 382351 h 542844"/>
                <a:gd name="connsiteX176" fmla="*/ 312835 w 542849"/>
                <a:gd name="connsiteY176" fmla="*/ 374960 h 542844"/>
                <a:gd name="connsiteX177" fmla="*/ 343614 w 542849"/>
                <a:gd name="connsiteY177" fmla="*/ 368309 h 542844"/>
                <a:gd name="connsiteX178" fmla="*/ 343805 w 542849"/>
                <a:gd name="connsiteY178" fmla="*/ 361895 h 542844"/>
                <a:gd name="connsiteX179" fmla="*/ 343605 w 542849"/>
                <a:gd name="connsiteY179" fmla="*/ 355471 h 542844"/>
                <a:gd name="connsiteX180" fmla="*/ 312826 w 542849"/>
                <a:gd name="connsiteY180" fmla="*/ 348831 h 542844"/>
                <a:gd name="connsiteX181" fmla="*/ 305805 w 542849"/>
                <a:gd name="connsiteY181" fmla="*/ 341438 h 542844"/>
                <a:gd name="connsiteX182" fmla="*/ 299300 w 542849"/>
                <a:gd name="connsiteY182" fmla="*/ 317100 h 542844"/>
                <a:gd name="connsiteX183" fmla="*/ 301689 w 542849"/>
                <a:gd name="connsiteY183" fmla="*/ 307185 h 542844"/>
                <a:gd name="connsiteX184" fmla="*/ 324940 w 542849"/>
                <a:gd name="connsiteY184" fmla="*/ 286122 h 542844"/>
                <a:gd name="connsiteX185" fmla="*/ 318607 w 542849"/>
                <a:gd name="connsiteY185" fmla="*/ 275011 h 542844"/>
                <a:gd name="connsiteX186" fmla="*/ 288787 w 542849"/>
                <a:gd name="connsiteY186" fmla="*/ 284620 h 542844"/>
                <a:gd name="connsiteX187" fmla="*/ 279006 w 542849"/>
                <a:gd name="connsiteY187" fmla="*/ 281744 h 542844"/>
                <a:gd name="connsiteX188" fmla="*/ 261110 w 542849"/>
                <a:gd name="connsiteY188" fmla="*/ 263848 h 542844"/>
                <a:gd name="connsiteX189" fmla="*/ 258234 w 542849"/>
                <a:gd name="connsiteY189" fmla="*/ 254067 h 542844"/>
                <a:gd name="connsiteX190" fmla="*/ 267842 w 542849"/>
                <a:gd name="connsiteY190" fmla="*/ 224247 h 542844"/>
                <a:gd name="connsiteX191" fmla="*/ 256722 w 542849"/>
                <a:gd name="connsiteY191" fmla="*/ 217913 h 542844"/>
                <a:gd name="connsiteX192" fmla="*/ 235660 w 542849"/>
                <a:gd name="connsiteY192" fmla="*/ 241157 h 542844"/>
                <a:gd name="connsiteX193" fmla="*/ 225753 w 542849"/>
                <a:gd name="connsiteY193" fmla="*/ 243544 h 542844"/>
                <a:gd name="connsiteX194" fmla="*/ 201406 w 542849"/>
                <a:gd name="connsiteY194" fmla="*/ 237040 h 542844"/>
                <a:gd name="connsiteX195" fmla="*/ 194015 w 542849"/>
                <a:gd name="connsiteY195" fmla="*/ 230019 h 542844"/>
                <a:gd name="connsiteX196" fmla="*/ 187365 w 542849"/>
                <a:gd name="connsiteY196" fmla="*/ 199239 h 542844"/>
                <a:gd name="connsiteX197" fmla="*/ 174526 w 542849"/>
                <a:gd name="connsiteY197" fmla="*/ 199239 h 542844"/>
                <a:gd name="connsiteX198" fmla="*/ 166392 w 542849"/>
                <a:gd name="connsiteY198" fmla="*/ 181660 h 542844"/>
                <a:gd name="connsiteX199" fmla="*/ 195498 w 542849"/>
                <a:gd name="connsiteY199" fmla="*/ 181660 h 542844"/>
                <a:gd name="connsiteX200" fmla="*/ 203614 w 542849"/>
                <a:gd name="connsiteY200" fmla="*/ 188771 h 542844"/>
                <a:gd name="connsiteX201" fmla="*/ 210417 w 542849"/>
                <a:gd name="connsiteY201" fmla="*/ 220302 h 542844"/>
                <a:gd name="connsiteX202" fmla="*/ 226278 w 542849"/>
                <a:gd name="connsiteY202" fmla="*/ 224536 h 542844"/>
                <a:gd name="connsiteX203" fmla="*/ 247901 w 542849"/>
                <a:gd name="connsiteY203" fmla="*/ 200669 h 542844"/>
                <a:gd name="connsiteX204" fmla="*/ 258496 w 542849"/>
                <a:gd name="connsiteY204" fmla="*/ 198579 h 542844"/>
                <a:gd name="connsiteX205" fmla="*/ 283693 w 542849"/>
                <a:gd name="connsiteY205" fmla="*/ 213018 h 542844"/>
                <a:gd name="connsiteX206" fmla="*/ 287158 w 542849"/>
                <a:gd name="connsiteY206" fmla="*/ 223233 h 542844"/>
                <a:gd name="connsiteX207" fmla="*/ 277287 w 542849"/>
                <a:gd name="connsiteY207" fmla="*/ 253877 h 542844"/>
                <a:gd name="connsiteX208" fmla="*/ 288958 w 542849"/>
                <a:gd name="connsiteY208" fmla="*/ 265548 h 542844"/>
                <a:gd name="connsiteX209" fmla="*/ 319602 w 542849"/>
                <a:gd name="connsiteY209" fmla="*/ 255677 h 542844"/>
                <a:gd name="connsiteX210" fmla="*/ 329817 w 542849"/>
                <a:gd name="connsiteY210" fmla="*/ 259143 h 542844"/>
                <a:gd name="connsiteX211" fmla="*/ 344257 w 542849"/>
                <a:gd name="connsiteY211" fmla="*/ 284340 h 542844"/>
                <a:gd name="connsiteX212" fmla="*/ 342167 w 542849"/>
                <a:gd name="connsiteY212" fmla="*/ 294935 h 542844"/>
                <a:gd name="connsiteX213" fmla="*/ 318300 w 542849"/>
                <a:gd name="connsiteY213" fmla="*/ 316558 h 542844"/>
                <a:gd name="connsiteX214" fmla="*/ 322534 w 542849"/>
                <a:gd name="connsiteY214" fmla="*/ 332418 h 542844"/>
                <a:gd name="connsiteX215" fmla="*/ 354064 w 542849"/>
                <a:gd name="connsiteY215" fmla="*/ 339222 h 542844"/>
                <a:gd name="connsiteX216" fmla="*/ 361175 w 542849"/>
                <a:gd name="connsiteY216" fmla="*/ 347346 h 542844"/>
                <a:gd name="connsiteX217" fmla="*/ 361899 w 542849"/>
                <a:gd name="connsiteY217" fmla="*/ 361895 h 542844"/>
                <a:gd name="connsiteX218" fmla="*/ 361185 w 542849"/>
                <a:gd name="connsiteY218" fmla="*/ 376452 h 542844"/>
                <a:gd name="connsiteX219" fmla="*/ 354073 w 542849"/>
                <a:gd name="connsiteY219" fmla="*/ 384567 h 542844"/>
                <a:gd name="connsiteX220" fmla="*/ 322542 w 542849"/>
                <a:gd name="connsiteY220" fmla="*/ 391372 h 542844"/>
                <a:gd name="connsiteX221" fmla="*/ 318308 w 542849"/>
                <a:gd name="connsiteY221" fmla="*/ 407232 h 542844"/>
                <a:gd name="connsiteX222" fmla="*/ 342175 w 542849"/>
                <a:gd name="connsiteY222" fmla="*/ 428855 h 542844"/>
                <a:gd name="connsiteX223" fmla="*/ 344266 w 542849"/>
                <a:gd name="connsiteY223" fmla="*/ 439449 h 542844"/>
                <a:gd name="connsiteX224" fmla="*/ 329826 w 542849"/>
                <a:gd name="connsiteY224" fmla="*/ 464647 h 542844"/>
                <a:gd name="connsiteX225" fmla="*/ 319612 w 542849"/>
                <a:gd name="connsiteY225" fmla="*/ 468112 h 542844"/>
                <a:gd name="connsiteX226" fmla="*/ 288968 w 542849"/>
                <a:gd name="connsiteY226" fmla="*/ 458241 h 542844"/>
                <a:gd name="connsiteX227" fmla="*/ 277296 w 542849"/>
                <a:gd name="connsiteY227" fmla="*/ 469903 h 542844"/>
                <a:gd name="connsiteX228" fmla="*/ 287167 w 542849"/>
                <a:gd name="connsiteY228" fmla="*/ 500547 h 542844"/>
                <a:gd name="connsiteX229" fmla="*/ 283702 w 542849"/>
                <a:gd name="connsiteY229" fmla="*/ 510762 h 542844"/>
                <a:gd name="connsiteX230" fmla="*/ 258505 w 542849"/>
                <a:gd name="connsiteY230" fmla="*/ 525202 h 542844"/>
                <a:gd name="connsiteX231" fmla="*/ 247911 w 542849"/>
                <a:gd name="connsiteY231" fmla="*/ 523112 h 542844"/>
                <a:gd name="connsiteX232" fmla="*/ 226287 w 542849"/>
                <a:gd name="connsiteY232" fmla="*/ 499244 h 542844"/>
                <a:gd name="connsiteX233" fmla="*/ 210427 w 542849"/>
                <a:gd name="connsiteY233" fmla="*/ 503479 h 542844"/>
                <a:gd name="connsiteX234" fmla="*/ 203623 w 542849"/>
                <a:gd name="connsiteY234" fmla="*/ 535009 h 542844"/>
                <a:gd name="connsiteX235" fmla="*/ 195498 w 542849"/>
                <a:gd name="connsiteY235" fmla="*/ 542120 h 542844"/>
                <a:gd name="connsiteX236" fmla="*/ 180950 w 542849"/>
                <a:gd name="connsiteY236" fmla="*/ 542844 h 542844"/>
                <a:gd name="connsiteX237" fmla="*/ 166401 w 542849"/>
                <a:gd name="connsiteY237" fmla="*/ 542120 h 542844"/>
                <a:gd name="connsiteX238" fmla="*/ 158286 w 542849"/>
                <a:gd name="connsiteY238" fmla="*/ 535009 h 542844"/>
                <a:gd name="connsiteX239" fmla="*/ 151482 w 542849"/>
                <a:gd name="connsiteY239" fmla="*/ 503479 h 542844"/>
                <a:gd name="connsiteX240" fmla="*/ 135621 w 542849"/>
                <a:gd name="connsiteY240" fmla="*/ 499244 h 542844"/>
                <a:gd name="connsiteX241" fmla="*/ 113999 w 542849"/>
                <a:gd name="connsiteY241" fmla="*/ 523112 h 542844"/>
                <a:gd name="connsiteX242" fmla="*/ 103404 w 542849"/>
                <a:gd name="connsiteY242" fmla="*/ 525202 h 542844"/>
                <a:gd name="connsiteX243" fmla="*/ 78207 w 542849"/>
                <a:gd name="connsiteY243" fmla="*/ 510762 h 542844"/>
                <a:gd name="connsiteX244" fmla="*/ 74741 w 542849"/>
                <a:gd name="connsiteY244" fmla="*/ 500547 h 542844"/>
                <a:gd name="connsiteX245" fmla="*/ 84612 w 542849"/>
                <a:gd name="connsiteY245" fmla="*/ 469903 h 542844"/>
                <a:gd name="connsiteX246" fmla="*/ 72941 w 542849"/>
                <a:gd name="connsiteY246" fmla="*/ 458232 h 542844"/>
                <a:gd name="connsiteX247" fmla="*/ 42298 w 542849"/>
                <a:gd name="connsiteY247" fmla="*/ 468103 h 542844"/>
                <a:gd name="connsiteX248" fmla="*/ 32082 w 542849"/>
                <a:gd name="connsiteY248" fmla="*/ 464638 h 542844"/>
                <a:gd name="connsiteX249" fmla="*/ 17643 w 542849"/>
                <a:gd name="connsiteY249" fmla="*/ 439441 h 542844"/>
                <a:gd name="connsiteX250" fmla="*/ 19733 w 542849"/>
                <a:gd name="connsiteY250" fmla="*/ 428846 h 542844"/>
                <a:gd name="connsiteX251" fmla="*/ 43600 w 542849"/>
                <a:gd name="connsiteY251" fmla="*/ 407223 h 542844"/>
                <a:gd name="connsiteX252" fmla="*/ 39366 w 542849"/>
                <a:gd name="connsiteY252" fmla="*/ 391372 h 542844"/>
                <a:gd name="connsiteX253" fmla="*/ 7835 w 542849"/>
                <a:gd name="connsiteY253" fmla="*/ 384567 h 542844"/>
                <a:gd name="connsiteX254" fmla="*/ 724 w 542849"/>
                <a:gd name="connsiteY254" fmla="*/ 376443 h 542844"/>
                <a:gd name="connsiteX255" fmla="*/ 0 w 542849"/>
                <a:gd name="connsiteY255" fmla="*/ 361895 h 542844"/>
                <a:gd name="connsiteX256" fmla="*/ 724 w 542849"/>
                <a:gd name="connsiteY256" fmla="*/ 347337 h 542844"/>
                <a:gd name="connsiteX257" fmla="*/ 7835 w 542849"/>
                <a:gd name="connsiteY257" fmla="*/ 339222 h 542844"/>
                <a:gd name="connsiteX258" fmla="*/ 39366 w 542849"/>
                <a:gd name="connsiteY258" fmla="*/ 332418 h 542844"/>
                <a:gd name="connsiteX259" fmla="*/ 43600 w 542849"/>
                <a:gd name="connsiteY259" fmla="*/ 316558 h 542844"/>
                <a:gd name="connsiteX260" fmla="*/ 19733 w 542849"/>
                <a:gd name="connsiteY260" fmla="*/ 294935 h 542844"/>
                <a:gd name="connsiteX261" fmla="*/ 17643 w 542849"/>
                <a:gd name="connsiteY261" fmla="*/ 284340 h 542844"/>
                <a:gd name="connsiteX262" fmla="*/ 32082 w 542849"/>
                <a:gd name="connsiteY262" fmla="*/ 259143 h 542844"/>
                <a:gd name="connsiteX263" fmla="*/ 42298 w 542849"/>
                <a:gd name="connsiteY263" fmla="*/ 255677 h 542844"/>
                <a:gd name="connsiteX264" fmla="*/ 72931 w 542849"/>
                <a:gd name="connsiteY264" fmla="*/ 265548 h 542844"/>
                <a:gd name="connsiteX265" fmla="*/ 84603 w 542849"/>
                <a:gd name="connsiteY265" fmla="*/ 253877 h 542844"/>
                <a:gd name="connsiteX266" fmla="*/ 74732 w 542849"/>
                <a:gd name="connsiteY266" fmla="*/ 223233 h 542844"/>
                <a:gd name="connsiteX267" fmla="*/ 78197 w 542849"/>
                <a:gd name="connsiteY267" fmla="*/ 213018 h 542844"/>
                <a:gd name="connsiteX268" fmla="*/ 103395 w 542849"/>
                <a:gd name="connsiteY268" fmla="*/ 198579 h 542844"/>
                <a:gd name="connsiteX269" fmla="*/ 113989 w 542849"/>
                <a:gd name="connsiteY269" fmla="*/ 200669 h 542844"/>
                <a:gd name="connsiteX270" fmla="*/ 135613 w 542849"/>
                <a:gd name="connsiteY270" fmla="*/ 224536 h 542844"/>
                <a:gd name="connsiteX271" fmla="*/ 151464 w 542849"/>
                <a:gd name="connsiteY271" fmla="*/ 220302 h 542844"/>
                <a:gd name="connsiteX272" fmla="*/ 158267 w 542849"/>
                <a:gd name="connsiteY272" fmla="*/ 188771 h 542844"/>
                <a:gd name="connsiteX273" fmla="*/ 166392 w 542849"/>
                <a:gd name="connsiteY273" fmla="*/ 181660 h 542844"/>
                <a:gd name="connsiteX274" fmla="*/ 196394 w 542849"/>
                <a:gd name="connsiteY274" fmla="*/ 102169 h 542844"/>
                <a:gd name="connsiteX275" fmla="*/ 223537 w 542849"/>
                <a:gd name="connsiteY275" fmla="*/ 129311 h 542844"/>
                <a:gd name="connsiteX276" fmla="*/ 223537 w 542849"/>
                <a:gd name="connsiteY276" fmla="*/ 142104 h 542844"/>
                <a:gd name="connsiteX277" fmla="*/ 196394 w 542849"/>
                <a:gd name="connsiteY277" fmla="*/ 169247 h 542844"/>
                <a:gd name="connsiteX278" fmla="*/ 183601 w 542849"/>
                <a:gd name="connsiteY278" fmla="*/ 156453 h 542844"/>
                <a:gd name="connsiteX279" fmla="*/ 194747 w 542849"/>
                <a:gd name="connsiteY279" fmla="*/ 145307 h 542844"/>
                <a:gd name="connsiteX280" fmla="*/ 180950 w 542849"/>
                <a:gd name="connsiteY280" fmla="*/ 144755 h 542844"/>
                <a:gd name="connsiteX281" fmla="*/ 14096 w 542849"/>
                <a:gd name="connsiteY281" fmla="*/ 222925 h 542844"/>
                <a:gd name="connsiteX282" fmla="*/ 199 w 542849"/>
                <a:gd name="connsiteY282" fmla="*/ 211335 h 542844"/>
                <a:gd name="connsiteX283" fmla="*/ 180950 w 542849"/>
                <a:gd name="connsiteY283" fmla="*/ 126661 h 542844"/>
                <a:gd name="connsiteX284" fmla="*/ 195896 w 542849"/>
                <a:gd name="connsiteY284" fmla="*/ 127258 h 542844"/>
                <a:gd name="connsiteX285" fmla="*/ 183601 w 542849"/>
                <a:gd name="connsiteY285" fmla="*/ 114962 h 542844"/>
                <a:gd name="connsiteX286" fmla="*/ 370947 w 542849"/>
                <a:gd name="connsiteY286" fmla="*/ 81423 h 542844"/>
                <a:gd name="connsiteX287" fmla="*/ 343805 w 542849"/>
                <a:gd name="connsiteY287" fmla="*/ 108565 h 542844"/>
                <a:gd name="connsiteX288" fmla="*/ 370947 w 542849"/>
                <a:gd name="connsiteY288" fmla="*/ 135708 h 542844"/>
                <a:gd name="connsiteX289" fmla="*/ 398089 w 542849"/>
                <a:gd name="connsiteY289" fmla="*/ 108565 h 542844"/>
                <a:gd name="connsiteX290" fmla="*/ 370947 w 542849"/>
                <a:gd name="connsiteY290" fmla="*/ 81423 h 542844"/>
                <a:gd name="connsiteX291" fmla="*/ 370947 w 542849"/>
                <a:gd name="connsiteY291" fmla="*/ 63328 h 542844"/>
                <a:gd name="connsiteX292" fmla="*/ 416184 w 542849"/>
                <a:gd name="connsiteY292" fmla="*/ 108565 h 542844"/>
                <a:gd name="connsiteX293" fmla="*/ 370947 w 542849"/>
                <a:gd name="connsiteY293" fmla="*/ 153803 h 542844"/>
                <a:gd name="connsiteX294" fmla="*/ 325709 w 542849"/>
                <a:gd name="connsiteY294" fmla="*/ 108565 h 542844"/>
                <a:gd name="connsiteX295" fmla="*/ 370947 w 542849"/>
                <a:gd name="connsiteY295" fmla="*/ 63328 h 542844"/>
                <a:gd name="connsiteX296" fmla="*/ 490338 w 542849"/>
                <a:gd name="connsiteY296" fmla="*/ 18271 h 542844"/>
                <a:gd name="connsiteX297" fmla="*/ 535574 w 542849"/>
                <a:gd name="connsiteY297" fmla="*/ 27319 h 542844"/>
                <a:gd name="connsiteX298" fmla="*/ 532029 w 542849"/>
                <a:gd name="connsiteY298" fmla="*/ 45061 h 542844"/>
                <a:gd name="connsiteX299" fmla="*/ 508867 w 542849"/>
                <a:gd name="connsiteY299" fmla="*/ 40429 h 542844"/>
                <a:gd name="connsiteX300" fmla="*/ 524754 w 542849"/>
                <a:gd name="connsiteY300" fmla="*/ 108565 h 542844"/>
                <a:gd name="connsiteX301" fmla="*/ 491016 w 542849"/>
                <a:gd name="connsiteY301" fmla="*/ 204704 h 542844"/>
                <a:gd name="connsiteX302" fmla="*/ 476893 w 542849"/>
                <a:gd name="connsiteY302" fmla="*/ 193385 h 542844"/>
                <a:gd name="connsiteX303" fmla="*/ 506659 w 542849"/>
                <a:gd name="connsiteY303" fmla="*/ 108565 h 542844"/>
                <a:gd name="connsiteX304" fmla="*/ 493260 w 542849"/>
                <a:gd name="connsiteY304" fmla="*/ 49802 h 542844"/>
                <a:gd name="connsiteX305" fmla="*/ 488383 w 542849"/>
                <a:gd name="connsiteY305" fmla="*/ 74158 h 542844"/>
                <a:gd name="connsiteX306" fmla="*/ 470641 w 542849"/>
                <a:gd name="connsiteY306" fmla="*/ 70602 h 542844"/>
                <a:gd name="connsiteX307" fmla="*/ 479689 w 542849"/>
                <a:gd name="connsiteY307" fmla="*/ 25365 h 542844"/>
                <a:gd name="connsiteX308" fmla="*/ 490338 w 542849"/>
                <a:gd name="connsiteY308" fmla="*/ 18271 h 542844"/>
                <a:gd name="connsiteX309" fmla="*/ 366179 w 542849"/>
                <a:gd name="connsiteY309" fmla="*/ 18244 h 542844"/>
                <a:gd name="connsiteX310" fmla="*/ 358724 w 542849"/>
                <a:gd name="connsiteY310" fmla="*/ 41984 h 542844"/>
                <a:gd name="connsiteX311" fmla="*/ 352690 w 542849"/>
                <a:gd name="connsiteY311" fmla="*/ 47938 h 542844"/>
                <a:gd name="connsiteX312" fmla="*/ 340982 w 542849"/>
                <a:gd name="connsiteY312" fmla="*/ 52769 h 542844"/>
                <a:gd name="connsiteX313" fmla="*/ 332514 w 542849"/>
                <a:gd name="connsiteY313" fmla="*/ 52823 h 542844"/>
                <a:gd name="connsiteX314" fmla="*/ 310510 w 542849"/>
                <a:gd name="connsiteY314" fmla="*/ 41342 h 542844"/>
                <a:gd name="connsiteX315" fmla="*/ 303724 w 542849"/>
                <a:gd name="connsiteY315" fmla="*/ 48128 h 542844"/>
                <a:gd name="connsiteX316" fmla="*/ 315206 w 542849"/>
                <a:gd name="connsiteY316" fmla="*/ 70131 h 542844"/>
                <a:gd name="connsiteX317" fmla="*/ 315151 w 542849"/>
                <a:gd name="connsiteY317" fmla="*/ 78609 h 542844"/>
                <a:gd name="connsiteX318" fmla="*/ 310320 w 542849"/>
                <a:gd name="connsiteY318" fmla="*/ 90307 h 542844"/>
                <a:gd name="connsiteX319" fmla="*/ 304367 w 542849"/>
                <a:gd name="connsiteY319" fmla="*/ 96342 h 542844"/>
                <a:gd name="connsiteX320" fmla="*/ 280626 w 542849"/>
                <a:gd name="connsiteY320" fmla="*/ 103797 h 542844"/>
                <a:gd name="connsiteX321" fmla="*/ 280473 w 542849"/>
                <a:gd name="connsiteY321" fmla="*/ 108565 h 542844"/>
                <a:gd name="connsiteX322" fmla="*/ 280626 w 542849"/>
                <a:gd name="connsiteY322" fmla="*/ 113334 h 542844"/>
                <a:gd name="connsiteX323" fmla="*/ 304367 w 542849"/>
                <a:gd name="connsiteY323" fmla="*/ 120789 h 542844"/>
                <a:gd name="connsiteX324" fmla="*/ 310320 w 542849"/>
                <a:gd name="connsiteY324" fmla="*/ 126823 h 542844"/>
                <a:gd name="connsiteX325" fmla="*/ 315151 w 542849"/>
                <a:gd name="connsiteY325" fmla="*/ 138530 h 542844"/>
                <a:gd name="connsiteX326" fmla="*/ 315206 w 542849"/>
                <a:gd name="connsiteY326" fmla="*/ 146998 h 542844"/>
                <a:gd name="connsiteX327" fmla="*/ 303724 w 542849"/>
                <a:gd name="connsiteY327" fmla="*/ 169002 h 542844"/>
                <a:gd name="connsiteX328" fmla="*/ 310510 w 542849"/>
                <a:gd name="connsiteY328" fmla="*/ 175788 h 542844"/>
                <a:gd name="connsiteX329" fmla="*/ 332514 w 542849"/>
                <a:gd name="connsiteY329" fmla="*/ 164306 h 542844"/>
                <a:gd name="connsiteX330" fmla="*/ 340991 w 542849"/>
                <a:gd name="connsiteY330" fmla="*/ 164361 h 542844"/>
                <a:gd name="connsiteX331" fmla="*/ 352690 w 542849"/>
                <a:gd name="connsiteY331" fmla="*/ 169192 h 542844"/>
                <a:gd name="connsiteX332" fmla="*/ 358724 w 542849"/>
                <a:gd name="connsiteY332" fmla="*/ 175145 h 542844"/>
                <a:gd name="connsiteX333" fmla="*/ 366179 w 542849"/>
                <a:gd name="connsiteY333" fmla="*/ 198886 h 542844"/>
                <a:gd name="connsiteX334" fmla="*/ 375716 w 542849"/>
                <a:gd name="connsiteY334" fmla="*/ 198886 h 542844"/>
                <a:gd name="connsiteX335" fmla="*/ 383171 w 542849"/>
                <a:gd name="connsiteY335" fmla="*/ 175145 h 542844"/>
                <a:gd name="connsiteX336" fmla="*/ 389205 w 542849"/>
                <a:gd name="connsiteY336" fmla="*/ 169192 h 542844"/>
                <a:gd name="connsiteX337" fmla="*/ 400912 w 542849"/>
                <a:gd name="connsiteY337" fmla="*/ 164361 h 542844"/>
                <a:gd name="connsiteX338" fmla="*/ 409381 w 542849"/>
                <a:gd name="connsiteY338" fmla="*/ 164306 h 542844"/>
                <a:gd name="connsiteX339" fmla="*/ 431384 w 542849"/>
                <a:gd name="connsiteY339" fmla="*/ 175788 h 542844"/>
                <a:gd name="connsiteX340" fmla="*/ 438170 w 542849"/>
                <a:gd name="connsiteY340" fmla="*/ 169002 h 542844"/>
                <a:gd name="connsiteX341" fmla="*/ 426688 w 542849"/>
                <a:gd name="connsiteY341" fmla="*/ 146998 h 542844"/>
                <a:gd name="connsiteX342" fmla="*/ 426743 w 542849"/>
                <a:gd name="connsiteY342" fmla="*/ 138530 h 542844"/>
                <a:gd name="connsiteX343" fmla="*/ 431574 w 542849"/>
                <a:gd name="connsiteY343" fmla="*/ 126823 h 542844"/>
                <a:gd name="connsiteX344" fmla="*/ 437527 w 542849"/>
                <a:gd name="connsiteY344" fmla="*/ 120789 h 542844"/>
                <a:gd name="connsiteX345" fmla="*/ 461268 w 542849"/>
                <a:gd name="connsiteY345" fmla="*/ 113334 h 542844"/>
                <a:gd name="connsiteX346" fmla="*/ 461423 w 542849"/>
                <a:gd name="connsiteY346" fmla="*/ 108565 h 542844"/>
                <a:gd name="connsiteX347" fmla="*/ 461268 w 542849"/>
                <a:gd name="connsiteY347" fmla="*/ 103797 h 542844"/>
                <a:gd name="connsiteX348" fmla="*/ 437527 w 542849"/>
                <a:gd name="connsiteY348" fmla="*/ 96342 h 542844"/>
                <a:gd name="connsiteX349" fmla="*/ 431574 w 542849"/>
                <a:gd name="connsiteY349" fmla="*/ 90307 h 542844"/>
                <a:gd name="connsiteX350" fmla="*/ 426743 w 542849"/>
                <a:gd name="connsiteY350" fmla="*/ 78600 h 542844"/>
                <a:gd name="connsiteX351" fmla="*/ 426688 w 542849"/>
                <a:gd name="connsiteY351" fmla="*/ 70131 h 542844"/>
                <a:gd name="connsiteX352" fmla="*/ 438170 w 542849"/>
                <a:gd name="connsiteY352" fmla="*/ 48128 h 542844"/>
                <a:gd name="connsiteX353" fmla="*/ 431384 w 542849"/>
                <a:gd name="connsiteY353" fmla="*/ 41342 h 542844"/>
                <a:gd name="connsiteX354" fmla="*/ 409381 w 542849"/>
                <a:gd name="connsiteY354" fmla="*/ 52823 h 542844"/>
                <a:gd name="connsiteX355" fmla="*/ 400904 w 542849"/>
                <a:gd name="connsiteY355" fmla="*/ 52769 h 542844"/>
                <a:gd name="connsiteX356" fmla="*/ 389205 w 542849"/>
                <a:gd name="connsiteY356" fmla="*/ 47938 h 542844"/>
                <a:gd name="connsiteX357" fmla="*/ 383171 w 542849"/>
                <a:gd name="connsiteY357" fmla="*/ 41984 h 542844"/>
                <a:gd name="connsiteX358" fmla="*/ 375716 w 542849"/>
                <a:gd name="connsiteY358" fmla="*/ 18244 h 542844"/>
                <a:gd name="connsiteX359" fmla="*/ 366179 w 542849"/>
                <a:gd name="connsiteY359" fmla="*/ 18244 h 542844"/>
                <a:gd name="connsiteX360" fmla="*/ 358308 w 542849"/>
                <a:gd name="connsiteY360" fmla="*/ 801 h 542844"/>
                <a:gd name="connsiteX361" fmla="*/ 383577 w 542849"/>
                <a:gd name="connsiteY361" fmla="*/ 801 h 542844"/>
                <a:gd name="connsiteX362" fmla="*/ 391168 w 542849"/>
                <a:gd name="connsiteY362" fmla="*/ 7071 h 542844"/>
                <a:gd name="connsiteX363" fmla="*/ 399049 w 542849"/>
                <a:gd name="connsiteY363" fmla="*/ 32160 h 542844"/>
                <a:gd name="connsiteX364" fmla="*/ 405092 w 542849"/>
                <a:gd name="connsiteY364" fmla="*/ 34647 h 542844"/>
                <a:gd name="connsiteX365" fmla="*/ 428408 w 542849"/>
                <a:gd name="connsiteY365" fmla="*/ 22487 h 542844"/>
                <a:gd name="connsiteX366" fmla="*/ 438206 w 542849"/>
                <a:gd name="connsiteY366" fmla="*/ 23419 h 542844"/>
                <a:gd name="connsiteX367" fmla="*/ 456112 w 542849"/>
                <a:gd name="connsiteY367" fmla="*/ 41324 h 542844"/>
                <a:gd name="connsiteX368" fmla="*/ 457034 w 542849"/>
                <a:gd name="connsiteY368" fmla="*/ 51123 h 542844"/>
                <a:gd name="connsiteX369" fmla="*/ 444875 w 542849"/>
                <a:gd name="connsiteY369" fmla="*/ 74420 h 542844"/>
                <a:gd name="connsiteX370" fmla="*/ 447371 w 542849"/>
                <a:gd name="connsiteY370" fmla="*/ 80464 h 542844"/>
                <a:gd name="connsiteX371" fmla="*/ 472460 w 542849"/>
                <a:gd name="connsiteY371" fmla="*/ 88344 h 542844"/>
                <a:gd name="connsiteX372" fmla="*/ 478731 w 542849"/>
                <a:gd name="connsiteY372" fmla="*/ 95935 h 542844"/>
                <a:gd name="connsiteX373" fmla="*/ 479517 w 542849"/>
                <a:gd name="connsiteY373" fmla="*/ 108565 h 542844"/>
                <a:gd name="connsiteX374" fmla="*/ 478721 w 542849"/>
                <a:gd name="connsiteY374" fmla="*/ 121195 h 542844"/>
                <a:gd name="connsiteX375" fmla="*/ 472452 w 542849"/>
                <a:gd name="connsiteY375" fmla="*/ 128786 h 542844"/>
                <a:gd name="connsiteX376" fmla="*/ 447363 w 542849"/>
                <a:gd name="connsiteY376" fmla="*/ 136685 h 542844"/>
                <a:gd name="connsiteX377" fmla="*/ 444865 w 542849"/>
                <a:gd name="connsiteY377" fmla="*/ 142729 h 542844"/>
                <a:gd name="connsiteX378" fmla="*/ 457026 w 542849"/>
                <a:gd name="connsiteY378" fmla="*/ 166025 h 542844"/>
                <a:gd name="connsiteX379" fmla="*/ 456093 w 542849"/>
                <a:gd name="connsiteY379" fmla="*/ 175824 h 542844"/>
                <a:gd name="connsiteX380" fmla="*/ 438188 w 542849"/>
                <a:gd name="connsiteY380" fmla="*/ 193729 h 542844"/>
                <a:gd name="connsiteX381" fmla="*/ 428390 w 542849"/>
                <a:gd name="connsiteY381" fmla="*/ 194652 h 542844"/>
                <a:gd name="connsiteX382" fmla="*/ 405092 w 542849"/>
                <a:gd name="connsiteY382" fmla="*/ 182493 h 542844"/>
                <a:gd name="connsiteX383" fmla="*/ 399049 w 542849"/>
                <a:gd name="connsiteY383" fmla="*/ 184990 h 542844"/>
                <a:gd name="connsiteX384" fmla="*/ 391168 w 542849"/>
                <a:gd name="connsiteY384" fmla="*/ 210078 h 542844"/>
                <a:gd name="connsiteX385" fmla="*/ 383577 w 542849"/>
                <a:gd name="connsiteY385" fmla="*/ 216348 h 542844"/>
                <a:gd name="connsiteX386" fmla="*/ 370947 w 542849"/>
                <a:gd name="connsiteY386" fmla="*/ 217135 h 542844"/>
                <a:gd name="connsiteX387" fmla="*/ 358299 w 542849"/>
                <a:gd name="connsiteY387" fmla="*/ 216339 h 542844"/>
                <a:gd name="connsiteX388" fmla="*/ 350708 w 542849"/>
                <a:gd name="connsiteY388" fmla="*/ 210069 h 542844"/>
                <a:gd name="connsiteX389" fmla="*/ 342827 w 542849"/>
                <a:gd name="connsiteY389" fmla="*/ 184980 h 542844"/>
                <a:gd name="connsiteX390" fmla="*/ 336784 w 542849"/>
                <a:gd name="connsiteY390" fmla="*/ 182493 h 542844"/>
                <a:gd name="connsiteX391" fmla="*/ 313486 w 542849"/>
                <a:gd name="connsiteY391" fmla="*/ 194643 h 542844"/>
                <a:gd name="connsiteX392" fmla="*/ 303688 w 542849"/>
                <a:gd name="connsiteY392" fmla="*/ 193711 h 542844"/>
                <a:gd name="connsiteX393" fmla="*/ 285783 w 542849"/>
                <a:gd name="connsiteY393" fmla="*/ 175806 h 542844"/>
                <a:gd name="connsiteX394" fmla="*/ 284860 w 542849"/>
                <a:gd name="connsiteY394" fmla="*/ 166008 h 542844"/>
                <a:gd name="connsiteX395" fmla="*/ 297020 w 542849"/>
                <a:gd name="connsiteY395" fmla="*/ 142710 h 542844"/>
                <a:gd name="connsiteX396" fmla="*/ 294523 w 542849"/>
                <a:gd name="connsiteY396" fmla="*/ 136667 h 542844"/>
                <a:gd name="connsiteX397" fmla="*/ 269434 w 542849"/>
                <a:gd name="connsiteY397" fmla="*/ 128786 h 542844"/>
                <a:gd name="connsiteX398" fmla="*/ 263164 w 542849"/>
                <a:gd name="connsiteY398" fmla="*/ 121195 h 542844"/>
                <a:gd name="connsiteX399" fmla="*/ 262377 w 542849"/>
                <a:gd name="connsiteY399" fmla="*/ 108565 h 542844"/>
                <a:gd name="connsiteX400" fmla="*/ 263164 w 542849"/>
                <a:gd name="connsiteY400" fmla="*/ 95935 h 542844"/>
                <a:gd name="connsiteX401" fmla="*/ 269434 w 542849"/>
                <a:gd name="connsiteY401" fmla="*/ 88344 h 542844"/>
                <a:gd name="connsiteX402" fmla="*/ 294523 w 542849"/>
                <a:gd name="connsiteY402" fmla="*/ 80464 h 542844"/>
                <a:gd name="connsiteX403" fmla="*/ 297011 w 542849"/>
                <a:gd name="connsiteY403" fmla="*/ 74420 h 542844"/>
                <a:gd name="connsiteX404" fmla="*/ 284860 w 542849"/>
                <a:gd name="connsiteY404" fmla="*/ 51123 h 542844"/>
                <a:gd name="connsiteX405" fmla="*/ 285792 w 542849"/>
                <a:gd name="connsiteY405" fmla="*/ 41324 h 542844"/>
                <a:gd name="connsiteX406" fmla="*/ 303697 w 542849"/>
                <a:gd name="connsiteY406" fmla="*/ 23419 h 542844"/>
                <a:gd name="connsiteX407" fmla="*/ 313496 w 542849"/>
                <a:gd name="connsiteY407" fmla="*/ 22497 h 542844"/>
                <a:gd name="connsiteX408" fmla="*/ 336793 w 542849"/>
                <a:gd name="connsiteY408" fmla="*/ 34656 h 542844"/>
                <a:gd name="connsiteX409" fmla="*/ 342837 w 542849"/>
                <a:gd name="connsiteY409" fmla="*/ 32160 h 542844"/>
                <a:gd name="connsiteX410" fmla="*/ 350717 w 542849"/>
                <a:gd name="connsiteY410" fmla="*/ 7071 h 542844"/>
                <a:gd name="connsiteX411" fmla="*/ 358308 w 542849"/>
                <a:gd name="connsiteY411" fmla="*/ 801 h 54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</a:cxnLst>
              <a:rect l="l" t="t" r="r" b="b"/>
              <a:pathLst>
                <a:path w="542849" h="542844">
                  <a:moveTo>
                    <a:pt x="452374" y="298563"/>
                  </a:moveTo>
                  <a:cubicBezTo>
                    <a:pt x="442395" y="298563"/>
                    <a:pt x="434280" y="306678"/>
                    <a:pt x="434280" y="316657"/>
                  </a:cubicBezTo>
                  <a:cubicBezTo>
                    <a:pt x="434280" y="326636"/>
                    <a:pt x="442395" y="334753"/>
                    <a:pt x="452374" y="334753"/>
                  </a:cubicBezTo>
                  <a:cubicBezTo>
                    <a:pt x="462353" y="334753"/>
                    <a:pt x="470470" y="326636"/>
                    <a:pt x="470470" y="316657"/>
                  </a:cubicBezTo>
                  <a:cubicBezTo>
                    <a:pt x="470470" y="306678"/>
                    <a:pt x="462353" y="298563"/>
                    <a:pt x="452374" y="298563"/>
                  </a:cubicBezTo>
                  <a:close/>
                  <a:moveTo>
                    <a:pt x="180950" y="280469"/>
                  </a:moveTo>
                  <a:cubicBezTo>
                    <a:pt x="136057" y="280469"/>
                    <a:pt x="99524" y="317002"/>
                    <a:pt x="99524" y="361895"/>
                  </a:cubicBezTo>
                  <a:cubicBezTo>
                    <a:pt x="99524" y="406789"/>
                    <a:pt x="136057" y="443323"/>
                    <a:pt x="180950" y="443323"/>
                  </a:cubicBezTo>
                  <a:cubicBezTo>
                    <a:pt x="225844" y="443323"/>
                    <a:pt x="262378" y="406789"/>
                    <a:pt x="262378" y="361895"/>
                  </a:cubicBezTo>
                  <a:cubicBezTo>
                    <a:pt x="262378" y="317002"/>
                    <a:pt x="225844" y="280469"/>
                    <a:pt x="180950" y="280469"/>
                  </a:cubicBezTo>
                  <a:close/>
                  <a:moveTo>
                    <a:pt x="452374" y="280467"/>
                  </a:moveTo>
                  <a:cubicBezTo>
                    <a:pt x="472333" y="280467"/>
                    <a:pt x="488564" y="296698"/>
                    <a:pt x="488564" y="316657"/>
                  </a:cubicBezTo>
                  <a:cubicBezTo>
                    <a:pt x="488564" y="336616"/>
                    <a:pt x="472333" y="352847"/>
                    <a:pt x="452374" y="352847"/>
                  </a:cubicBezTo>
                  <a:cubicBezTo>
                    <a:pt x="432415" y="352847"/>
                    <a:pt x="416184" y="336616"/>
                    <a:pt x="416184" y="316657"/>
                  </a:cubicBezTo>
                  <a:cubicBezTo>
                    <a:pt x="416184" y="296698"/>
                    <a:pt x="432415" y="280467"/>
                    <a:pt x="452374" y="280467"/>
                  </a:cubicBezTo>
                  <a:close/>
                  <a:moveTo>
                    <a:pt x="180950" y="262373"/>
                  </a:moveTo>
                  <a:cubicBezTo>
                    <a:pt x="235824" y="262373"/>
                    <a:pt x="280473" y="307023"/>
                    <a:pt x="280473" y="361895"/>
                  </a:cubicBezTo>
                  <a:cubicBezTo>
                    <a:pt x="280473" y="416769"/>
                    <a:pt x="235824" y="461418"/>
                    <a:pt x="180950" y="461418"/>
                  </a:cubicBezTo>
                  <a:cubicBezTo>
                    <a:pt x="126078" y="461418"/>
                    <a:pt x="81428" y="416769"/>
                    <a:pt x="81428" y="361895"/>
                  </a:cubicBezTo>
                  <a:cubicBezTo>
                    <a:pt x="81428" y="307023"/>
                    <a:pt x="126078" y="262373"/>
                    <a:pt x="180950" y="262373"/>
                  </a:cubicBezTo>
                  <a:close/>
                  <a:moveTo>
                    <a:pt x="449063" y="244368"/>
                  </a:moveTo>
                  <a:lnTo>
                    <a:pt x="443969" y="258708"/>
                  </a:lnTo>
                  <a:cubicBezTo>
                    <a:pt x="442974" y="261486"/>
                    <a:pt x="440694" y="263611"/>
                    <a:pt x="437853" y="264399"/>
                  </a:cubicBezTo>
                  <a:cubicBezTo>
                    <a:pt x="433574" y="265584"/>
                    <a:pt x="429475" y="267267"/>
                    <a:pt x="425675" y="269420"/>
                  </a:cubicBezTo>
                  <a:cubicBezTo>
                    <a:pt x="423114" y="270876"/>
                    <a:pt x="420002" y="270985"/>
                    <a:pt x="417343" y="269719"/>
                  </a:cubicBezTo>
                  <a:lnTo>
                    <a:pt x="403654" y="263223"/>
                  </a:lnTo>
                  <a:cubicBezTo>
                    <a:pt x="402016" y="264715"/>
                    <a:pt x="400442" y="266289"/>
                    <a:pt x="398940" y="267936"/>
                  </a:cubicBezTo>
                  <a:lnTo>
                    <a:pt x="405435" y="281625"/>
                  </a:lnTo>
                  <a:cubicBezTo>
                    <a:pt x="406694" y="284286"/>
                    <a:pt x="406585" y="287398"/>
                    <a:pt x="405138" y="289958"/>
                  </a:cubicBezTo>
                  <a:cubicBezTo>
                    <a:pt x="402993" y="293749"/>
                    <a:pt x="401302" y="297838"/>
                    <a:pt x="400107" y="302145"/>
                  </a:cubicBezTo>
                  <a:cubicBezTo>
                    <a:pt x="399329" y="304986"/>
                    <a:pt x="397202" y="307266"/>
                    <a:pt x="394425" y="308252"/>
                  </a:cubicBezTo>
                  <a:lnTo>
                    <a:pt x="380084" y="313355"/>
                  </a:lnTo>
                  <a:cubicBezTo>
                    <a:pt x="380030" y="314441"/>
                    <a:pt x="379995" y="315544"/>
                    <a:pt x="379995" y="316657"/>
                  </a:cubicBezTo>
                  <a:cubicBezTo>
                    <a:pt x="379995" y="317770"/>
                    <a:pt x="380030" y="318865"/>
                    <a:pt x="380103" y="319960"/>
                  </a:cubicBezTo>
                  <a:lnTo>
                    <a:pt x="394443" y="325053"/>
                  </a:lnTo>
                  <a:cubicBezTo>
                    <a:pt x="397221" y="326049"/>
                    <a:pt x="399346" y="328329"/>
                    <a:pt x="400134" y="331169"/>
                  </a:cubicBezTo>
                  <a:cubicBezTo>
                    <a:pt x="401319" y="335448"/>
                    <a:pt x="403002" y="339548"/>
                    <a:pt x="405155" y="343347"/>
                  </a:cubicBezTo>
                  <a:cubicBezTo>
                    <a:pt x="406603" y="345907"/>
                    <a:pt x="406721" y="349019"/>
                    <a:pt x="405454" y="351680"/>
                  </a:cubicBezTo>
                  <a:lnTo>
                    <a:pt x="398958" y="365369"/>
                  </a:lnTo>
                  <a:cubicBezTo>
                    <a:pt x="400450" y="367006"/>
                    <a:pt x="402025" y="368580"/>
                    <a:pt x="403671" y="370082"/>
                  </a:cubicBezTo>
                  <a:lnTo>
                    <a:pt x="417361" y="363586"/>
                  </a:lnTo>
                  <a:cubicBezTo>
                    <a:pt x="420029" y="362338"/>
                    <a:pt x="423133" y="362446"/>
                    <a:pt x="425693" y="363885"/>
                  </a:cubicBezTo>
                  <a:cubicBezTo>
                    <a:pt x="429484" y="366029"/>
                    <a:pt x="433582" y="367721"/>
                    <a:pt x="437880" y="368906"/>
                  </a:cubicBezTo>
                  <a:cubicBezTo>
                    <a:pt x="440721" y="369694"/>
                    <a:pt x="443001" y="371820"/>
                    <a:pt x="443987" y="374597"/>
                  </a:cubicBezTo>
                  <a:lnTo>
                    <a:pt x="449080" y="388937"/>
                  </a:lnTo>
                  <a:cubicBezTo>
                    <a:pt x="451271" y="389055"/>
                    <a:pt x="453496" y="389055"/>
                    <a:pt x="455685" y="388937"/>
                  </a:cubicBezTo>
                  <a:lnTo>
                    <a:pt x="460779" y="374597"/>
                  </a:lnTo>
                  <a:cubicBezTo>
                    <a:pt x="461774" y="371820"/>
                    <a:pt x="464054" y="369694"/>
                    <a:pt x="466895" y="368906"/>
                  </a:cubicBezTo>
                  <a:cubicBezTo>
                    <a:pt x="471175" y="367721"/>
                    <a:pt x="475273" y="366038"/>
                    <a:pt x="479074" y="363885"/>
                  </a:cubicBezTo>
                  <a:cubicBezTo>
                    <a:pt x="481643" y="362437"/>
                    <a:pt x="484764" y="362328"/>
                    <a:pt x="487406" y="363586"/>
                  </a:cubicBezTo>
                  <a:lnTo>
                    <a:pt x="501095" y="370082"/>
                  </a:lnTo>
                  <a:cubicBezTo>
                    <a:pt x="502733" y="368590"/>
                    <a:pt x="504307" y="367016"/>
                    <a:pt x="505809" y="365369"/>
                  </a:cubicBezTo>
                  <a:lnTo>
                    <a:pt x="499313" y="351680"/>
                  </a:lnTo>
                  <a:cubicBezTo>
                    <a:pt x="498055" y="349019"/>
                    <a:pt x="498164" y="345907"/>
                    <a:pt x="499611" y="343347"/>
                  </a:cubicBezTo>
                  <a:cubicBezTo>
                    <a:pt x="501755" y="339556"/>
                    <a:pt x="503447" y="335458"/>
                    <a:pt x="504633" y="331160"/>
                  </a:cubicBezTo>
                  <a:cubicBezTo>
                    <a:pt x="505419" y="328319"/>
                    <a:pt x="507546" y="326039"/>
                    <a:pt x="510324" y="325053"/>
                  </a:cubicBezTo>
                  <a:lnTo>
                    <a:pt x="524664" y="319960"/>
                  </a:lnTo>
                  <a:cubicBezTo>
                    <a:pt x="524718" y="318865"/>
                    <a:pt x="524755" y="317770"/>
                    <a:pt x="524755" y="316657"/>
                  </a:cubicBezTo>
                  <a:cubicBezTo>
                    <a:pt x="524755" y="315544"/>
                    <a:pt x="524718" y="314449"/>
                    <a:pt x="524646" y="313345"/>
                  </a:cubicBezTo>
                  <a:lnTo>
                    <a:pt x="510305" y="308252"/>
                  </a:lnTo>
                  <a:cubicBezTo>
                    <a:pt x="507528" y="307256"/>
                    <a:pt x="505402" y="304976"/>
                    <a:pt x="504614" y="302136"/>
                  </a:cubicBezTo>
                  <a:cubicBezTo>
                    <a:pt x="503430" y="297857"/>
                    <a:pt x="501746" y="293758"/>
                    <a:pt x="499594" y="289958"/>
                  </a:cubicBezTo>
                  <a:cubicBezTo>
                    <a:pt x="498146" y="287398"/>
                    <a:pt x="498028" y="284286"/>
                    <a:pt x="499295" y="281625"/>
                  </a:cubicBezTo>
                  <a:lnTo>
                    <a:pt x="505791" y="267936"/>
                  </a:lnTo>
                  <a:cubicBezTo>
                    <a:pt x="504298" y="266299"/>
                    <a:pt x="502724" y="264725"/>
                    <a:pt x="501077" y="263223"/>
                  </a:cubicBezTo>
                  <a:lnTo>
                    <a:pt x="487388" y="269719"/>
                  </a:lnTo>
                  <a:cubicBezTo>
                    <a:pt x="484728" y="270985"/>
                    <a:pt x="481624" y="270876"/>
                    <a:pt x="479055" y="269420"/>
                  </a:cubicBezTo>
                  <a:cubicBezTo>
                    <a:pt x="475265" y="267276"/>
                    <a:pt x="471166" y="265584"/>
                    <a:pt x="466868" y="264399"/>
                  </a:cubicBezTo>
                  <a:cubicBezTo>
                    <a:pt x="464027" y="263611"/>
                    <a:pt x="461747" y="261486"/>
                    <a:pt x="460761" y="258708"/>
                  </a:cubicBezTo>
                  <a:lnTo>
                    <a:pt x="455668" y="244368"/>
                  </a:lnTo>
                  <a:cubicBezTo>
                    <a:pt x="453478" y="244250"/>
                    <a:pt x="451253" y="244250"/>
                    <a:pt x="449063" y="244368"/>
                  </a:cubicBezTo>
                  <a:close/>
                  <a:moveTo>
                    <a:pt x="441390" y="226915"/>
                  </a:moveTo>
                  <a:cubicBezTo>
                    <a:pt x="449452" y="225947"/>
                    <a:pt x="455287" y="225947"/>
                    <a:pt x="463349" y="226915"/>
                  </a:cubicBezTo>
                  <a:cubicBezTo>
                    <a:pt x="466751" y="227332"/>
                    <a:pt x="469637" y="229639"/>
                    <a:pt x="470785" y="232868"/>
                  </a:cubicBezTo>
                  <a:lnTo>
                    <a:pt x="476314" y="248412"/>
                  </a:lnTo>
                  <a:cubicBezTo>
                    <a:pt x="478838" y="249289"/>
                    <a:pt x="481308" y="250312"/>
                    <a:pt x="483697" y="251452"/>
                  </a:cubicBezTo>
                  <a:lnTo>
                    <a:pt x="498589" y="244386"/>
                  </a:lnTo>
                  <a:cubicBezTo>
                    <a:pt x="501665" y="242920"/>
                    <a:pt x="505338" y="243318"/>
                    <a:pt x="508044" y="245435"/>
                  </a:cubicBezTo>
                  <a:cubicBezTo>
                    <a:pt x="513842" y="249978"/>
                    <a:pt x="519073" y="255215"/>
                    <a:pt x="523596" y="260997"/>
                  </a:cubicBezTo>
                  <a:cubicBezTo>
                    <a:pt x="525713" y="263693"/>
                    <a:pt x="526121" y="267348"/>
                    <a:pt x="524646" y="270443"/>
                  </a:cubicBezTo>
                  <a:lnTo>
                    <a:pt x="517579" y="285326"/>
                  </a:lnTo>
                  <a:cubicBezTo>
                    <a:pt x="518728" y="287724"/>
                    <a:pt x="519742" y="290193"/>
                    <a:pt x="520629" y="292717"/>
                  </a:cubicBezTo>
                  <a:lnTo>
                    <a:pt x="536172" y="298237"/>
                  </a:lnTo>
                  <a:cubicBezTo>
                    <a:pt x="539411" y="299394"/>
                    <a:pt x="541718" y="302271"/>
                    <a:pt x="542125" y="305682"/>
                  </a:cubicBezTo>
                  <a:cubicBezTo>
                    <a:pt x="542614" y="309709"/>
                    <a:pt x="542849" y="313291"/>
                    <a:pt x="542849" y="316657"/>
                  </a:cubicBezTo>
                  <a:cubicBezTo>
                    <a:pt x="542849" y="320022"/>
                    <a:pt x="542614" y="323606"/>
                    <a:pt x="542107" y="327632"/>
                  </a:cubicBezTo>
                  <a:cubicBezTo>
                    <a:pt x="541691" y="331034"/>
                    <a:pt x="539384" y="333919"/>
                    <a:pt x="536154" y="335069"/>
                  </a:cubicBezTo>
                  <a:lnTo>
                    <a:pt x="520610" y="340596"/>
                  </a:lnTo>
                  <a:cubicBezTo>
                    <a:pt x="519733" y="343121"/>
                    <a:pt x="518711" y="345591"/>
                    <a:pt x="517571" y="347979"/>
                  </a:cubicBezTo>
                  <a:lnTo>
                    <a:pt x="524637" y="362872"/>
                  </a:lnTo>
                  <a:cubicBezTo>
                    <a:pt x="526103" y="365966"/>
                    <a:pt x="525696" y="369630"/>
                    <a:pt x="523587" y="372327"/>
                  </a:cubicBezTo>
                  <a:cubicBezTo>
                    <a:pt x="519046" y="378125"/>
                    <a:pt x="513807" y="383356"/>
                    <a:pt x="508025" y="387879"/>
                  </a:cubicBezTo>
                  <a:cubicBezTo>
                    <a:pt x="505338" y="390005"/>
                    <a:pt x="501665" y="390403"/>
                    <a:pt x="498579" y="388929"/>
                  </a:cubicBezTo>
                  <a:lnTo>
                    <a:pt x="483697" y="381862"/>
                  </a:lnTo>
                  <a:cubicBezTo>
                    <a:pt x="481300" y="383011"/>
                    <a:pt x="478830" y="384025"/>
                    <a:pt x="476305" y="384912"/>
                  </a:cubicBezTo>
                  <a:lnTo>
                    <a:pt x="470785" y="400455"/>
                  </a:lnTo>
                  <a:cubicBezTo>
                    <a:pt x="469637" y="403694"/>
                    <a:pt x="466751" y="406001"/>
                    <a:pt x="463349" y="406408"/>
                  </a:cubicBezTo>
                  <a:cubicBezTo>
                    <a:pt x="459323" y="406897"/>
                    <a:pt x="455740" y="407132"/>
                    <a:pt x="452375" y="407132"/>
                  </a:cubicBezTo>
                  <a:cubicBezTo>
                    <a:pt x="449008" y="407132"/>
                    <a:pt x="445426" y="406897"/>
                    <a:pt x="441400" y="406390"/>
                  </a:cubicBezTo>
                  <a:cubicBezTo>
                    <a:pt x="437998" y="405973"/>
                    <a:pt x="435111" y="403666"/>
                    <a:pt x="433963" y="400437"/>
                  </a:cubicBezTo>
                  <a:lnTo>
                    <a:pt x="428434" y="384893"/>
                  </a:lnTo>
                  <a:cubicBezTo>
                    <a:pt x="425910" y="384016"/>
                    <a:pt x="423440" y="382993"/>
                    <a:pt x="421051" y="381854"/>
                  </a:cubicBezTo>
                  <a:lnTo>
                    <a:pt x="406159" y="388919"/>
                  </a:lnTo>
                  <a:cubicBezTo>
                    <a:pt x="403074" y="390386"/>
                    <a:pt x="399401" y="389978"/>
                    <a:pt x="396705" y="387870"/>
                  </a:cubicBezTo>
                  <a:cubicBezTo>
                    <a:pt x="390906" y="383328"/>
                    <a:pt x="385676" y="378090"/>
                    <a:pt x="381153" y="372308"/>
                  </a:cubicBezTo>
                  <a:cubicBezTo>
                    <a:pt x="379036" y="369612"/>
                    <a:pt x="378628" y="365957"/>
                    <a:pt x="380103" y="362862"/>
                  </a:cubicBezTo>
                  <a:lnTo>
                    <a:pt x="387169" y="347979"/>
                  </a:lnTo>
                  <a:cubicBezTo>
                    <a:pt x="386020" y="345582"/>
                    <a:pt x="385007" y="343112"/>
                    <a:pt x="384120" y="340588"/>
                  </a:cubicBezTo>
                  <a:lnTo>
                    <a:pt x="368576" y="335069"/>
                  </a:lnTo>
                  <a:cubicBezTo>
                    <a:pt x="365337" y="333919"/>
                    <a:pt x="363030" y="331034"/>
                    <a:pt x="362623" y="327632"/>
                  </a:cubicBezTo>
                  <a:cubicBezTo>
                    <a:pt x="362134" y="323606"/>
                    <a:pt x="361899" y="320022"/>
                    <a:pt x="361899" y="316657"/>
                  </a:cubicBezTo>
                  <a:cubicBezTo>
                    <a:pt x="361899" y="313291"/>
                    <a:pt x="362134" y="309699"/>
                    <a:pt x="362632" y="305692"/>
                  </a:cubicBezTo>
                  <a:cubicBezTo>
                    <a:pt x="363048" y="302289"/>
                    <a:pt x="365355" y="299403"/>
                    <a:pt x="368585" y="298255"/>
                  </a:cubicBezTo>
                  <a:lnTo>
                    <a:pt x="384129" y="292727"/>
                  </a:lnTo>
                  <a:cubicBezTo>
                    <a:pt x="385007" y="290202"/>
                    <a:pt x="386029" y="287732"/>
                    <a:pt x="387169" y="285344"/>
                  </a:cubicBezTo>
                  <a:lnTo>
                    <a:pt x="380103" y="270451"/>
                  </a:lnTo>
                  <a:cubicBezTo>
                    <a:pt x="378637" y="267358"/>
                    <a:pt x="379044" y="263693"/>
                    <a:pt x="381153" y="260997"/>
                  </a:cubicBezTo>
                  <a:cubicBezTo>
                    <a:pt x="385694" y="255198"/>
                    <a:pt x="390933" y="249968"/>
                    <a:pt x="396715" y="245445"/>
                  </a:cubicBezTo>
                  <a:cubicBezTo>
                    <a:pt x="399420" y="243336"/>
                    <a:pt x="403083" y="242929"/>
                    <a:pt x="406159" y="244395"/>
                  </a:cubicBezTo>
                  <a:lnTo>
                    <a:pt x="421043" y="251461"/>
                  </a:lnTo>
                  <a:cubicBezTo>
                    <a:pt x="423440" y="250312"/>
                    <a:pt x="425910" y="249299"/>
                    <a:pt x="428434" y="248412"/>
                  </a:cubicBezTo>
                  <a:lnTo>
                    <a:pt x="433953" y="232868"/>
                  </a:lnTo>
                  <a:cubicBezTo>
                    <a:pt x="435103" y="229629"/>
                    <a:pt x="437989" y="227322"/>
                    <a:pt x="441390" y="226915"/>
                  </a:cubicBezTo>
                  <a:close/>
                  <a:moveTo>
                    <a:pt x="174526" y="199239"/>
                  </a:moveTo>
                  <a:lnTo>
                    <a:pt x="167885" y="230019"/>
                  </a:lnTo>
                  <a:cubicBezTo>
                    <a:pt x="167098" y="233656"/>
                    <a:pt x="164166" y="236442"/>
                    <a:pt x="160493" y="237040"/>
                  </a:cubicBezTo>
                  <a:cubicBezTo>
                    <a:pt x="152143" y="238396"/>
                    <a:pt x="143955" y="240586"/>
                    <a:pt x="136156" y="243544"/>
                  </a:cubicBezTo>
                  <a:cubicBezTo>
                    <a:pt x="132691" y="244865"/>
                    <a:pt x="128746" y="243916"/>
                    <a:pt x="126239" y="241157"/>
                  </a:cubicBezTo>
                  <a:lnTo>
                    <a:pt x="105177" y="217904"/>
                  </a:lnTo>
                  <a:cubicBezTo>
                    <a:pt x="101286" y="219922"/>
                    <a:pt x="97578" y="222039"/>
                    <a:pt x="94058" y="224237"/>
                  </a:cubicBezTo>
                  <a:lnTo>
                    <a:pt x="103666" y="254058"/>
                  </a:lnTo>
                  <a:cubicBezTo>
                    <a:pt x="104815" y="257604"/>
                    <a:pt x="103666" y="261486"/>
                    <a:pt x="100789" y="263838"/>
                  </a:cubicBezTo>
                  <a:cubicBezTo>
                    <a:pt x="94256" y="269186"/>
                    <a:pt x="88231" y="275201"/>
                    <a:pt x="82893" y="281734"/>
                  </a:cubicBezTo>
                  <a:cubicBezTo>
                    <a:pt x="80532" y="284612"/>
                    <a:pt x="76641" y="285742"/>
                    <a:pt x="73113" y="284612"/>
                  </a:cubicBezTo>
                  <a:lnTo>
                    <a:pt x="43292" y="275003"/>
                  </a:lnTo>
                  <a:cubicBezTo>
                    <a:pt x="41103" y="278523"/>
                    <a:pt x="38986" y="282241"/>
                    <a:pt x="36960" y="286122"/>
                  </a:cubicBezTo>
                  <a:lnTo>
                    <a:pt x="60202" y="307185"/>
                  </a:lnTo>
                  <a:cubicBezTo>
                    <a:pt x="62961" y="309682"/>
                    <a:pt x="63912" y="313617"/>
                    <a:pt x="62591" y="317092"/>
                  </a:cubicBezTo>
                  <a:cubicBezTo>
                    <a:pt x="59632" y="324908"/>
                    <a:pt x="57443" y="333097"/>
                    <a:pt x="56085" y="341438"/>
                  </a:cubicBezTo>
                  <a:cubicBezTo>
                    <a:pt x="55489" y="345111"/>
                    <a:pt x="52702" y="348043"/>
                    <a:pt x="49065" y="348831"/>
                  </a:cubicBezTo>
                  <a:lnTo>
                    <a:pt x="18286" y="355480"/>
                  </a:lnTo>
                  <a:cubicBezTo>
                    <a:pt x="18168" y="357597"/>
                    <a:pt x="18096" y="359742"/>
                    <a:pt x="18096" y="361895"/>
                  </a:cubicBezTo>
                  <a:cubicBezTo>
                    <a:pt x="18096" y="364048"/>
                    <a:pt x="18177" y="366192"/>
                    <a:pt x="18286" y="368318"/>
                  </a:cubicBezTo>
                  <a:lnTo>
                    <a:pt x="49083" y="374941"/>
                  </a:lnTo>
                  <a:cubicBezTo>
                    <a:pt x="52720" y="375728"/>
                    <a:pt x="55506" y="378660"/>
                    <a:pt x="56104" y="382333"/>
                  </a:cubicBezTo>
                  <a:cubicBezTo>
                    <a:pt x="57461" y="390683"/>
                    <a:pt x="59651" y="398872"/>
                    <a:pt x="62608" y="406670"/>
                  </a:cubicBezTo>
                  <a:cubicBezTo>
                    <a:pt x="63930" y="410154"/>
                    <a:pt x="62979" y="414090"/>
                    <a:pt x="60220" y="416587"/>
                  </a:cubicBezTo>
                  <a:lnTo>
                    <a:pt x="36968" y="437650"/>
                  </a:lnTo>
                  <a:cubicBezTo>
                    <a:pt x="38986" y="441540"/>
                    <a:pt x="41103" y="445249"/>
                    <a:pt x="43301" y="448769"/>
                  </a:cubicBezTo>
                  <a:lnTo>
                    <a:pt x="73122" y="439160"/>
                  </a:lnTo>
                  <a:cubicBezTo>
                    <a:pt x="76651" y="438011"/>
                    <a:pt x="80541" y="439152"/>
                    <a:pt x="82902" y="442037"/>
                  </a:cubicBezTo>
                  <a:cubicBezTo>
                    <a:pt x="88249" y="448570"/>
                    <a:pt x="94266" y="454595"/>
                    <a:pt x="100799" y="459933"/>
                  </a:cubicBezTo>
                  <a:cubicBezTo>
                    <a:pt x="103675" y="462295"/>
                    <a:pt x="104815" y="466167"/>
                    <a:pt x="103675" y="469713"/>
                  </a:cubicBezTo>
                  <a:lnTo>
                    <a:pt x="94067" y="499534"/>
                  </a:lnTo>
                  <a:cubicBezTo>
                    <a:pt x="97586" y="501723"/>
                    <a:pt x="101305" y="503840"/>
                    <a:pt x="105186" y="505868"/>
                  </a:cubicBezTo>
                  <a:lnTo>
                    <a:pt x="126249" y="482624"/>
                  </a:lnTo>
                  <a:cubicBezTo>
                    <a:pt x="128746" y="479856"/>
                    <a:pt x="132691" y="478915"/>
                    <a:pt x="136156" y="480236"/>
                  </a:cubicBezTo>
                  <a:cubicBezTo>
                    <a:pt x="143973" y="483195"/>
                    <a:pt x="152161" y="485384"/>
                    <a:pt x="160502" y="486741"/>
                  </a:cubicBezTo>
                  <a:cubicBezTo>
                    <a:pt x="164176" y="487338"/>
                    <a:pt x="167107" y="490124"/>
                    <a:pt x="167894" y="493762"/>
                  </a:cubicBezTo>
                  <a:lnTo>
                    <a:pt x="174545" y="524541"/>
                  </a:lnTo>
                  <a:cubicBezTo>
                    <a:pt x="178787" y="524777"/>
                    <a:pt x="183121" y="524767"/>
                    <a:pt x="187383" y="524541"/>
                  </a:cubicBezTo>
                  <a:lnTo>
                    <a:pt x="194023" y="493762"/>
                  </a:lnTo>
                  <a:cubicBezTo>
                    <a:pt x="194810" y="490124"/>
                    <a:pt x="197742" y="487338"/>
                    <a:pt x="201415" y="486741"/>
                  </a:cubicBezTo>
                  <a:cubicBezTo>
                    <a:pt x="209765" y="485384"/>
                    <a:pt x="217954" y="483195"/>
                    <a:pt x="225753" y="480236"/>
                  </a:cubicBezTo>
                  <a:cubicBezTo>
                    <a:pt x="229236" y="478933"/>
                    <a:pt x="233172" y="479865"/>
                    <a:pt x="235669" y="482624"/>
                  </a:cubicBezTo>
                  <a:lnTo>
                    <a:pt x="256732" y="505876"/>
                  </a:lnTo>
                  <a:cubicBezTo>
                    <a:pt x="260613" y="503858"/>
                    <a:pt x="264322" y="501741"/>
                    <a:pt x="267842" y="499543"/>
                  </a:cubicBezTo>
                  <a:lnTo>
                    <a:pt x="258234" y="469723"/>
                  </a:lnTo>
                  <a:cubicBezTo>
                    <a:pt x="257093" y="466185"/>
                    <a:pt x="258234" y="462304"/>
                    <a:pt x="261110" y="459951"/>
                  </a:cubicBezTo>
                  <a:cubicBezTo>
                    <a:pt x="267652" y="454595"/>
                    <a:pt x="273677" y="448570"/>
                    <a:pt x="279006" y="442055"/>
                  </a:cubicBezTo>
                  <a:cubicBezTo>
                    <a:pt x="281367" y="439169"/>
                    <a:pt x="285231" y="438020"/>
                    <a:pt x="288787" y="439179"/>
                  </a:cubicBezTo>
                  <a:lnTo>
                    <a:pt x="318607" y="448786"/>
                  </a:lnTo>
                  <a:cubicBezTo>
                    <a:pt x="320796" y="445268"/>
                    <a:pt x="322914" y="441549"/>
                    <a:pt x="324940" y="437667"/>
                  </a:cubicBezTo>
                  <a:lnTo>
                    <a:pt x="301697" y="416605"/>
                  </a:lnTo>
                  <a:cubicBezTo>
                    <a:pt x="298938" y="414108"/>
                    <a:pt x="297988" y="410172"/>
                    <a:pt x="299308" y="406697"/>
                  </a:cubicBezTo>
                  <a:cubicBezTo>
                    <a:pt x="302267" y="398881"/>
                    <a:pt x="304457" y="390693"/>
                    <a:pt x="305814" y="382351"/>
                  </a:cubicBezTo>
                  <a:cubicBezTo>
                    <a:pt x="306411" y="378678"/>
                    <a:pt x="309198" y="375746"/>
                    <a:pt x="312835" y="374960"/>
                  </a:cubicBezTo>
                  <a:lnTo>
                    <a:pt x="343614" y="368309"/>
                  </a:lnTo>
                  <a:cubicBezTo>
                    <a:pt x="343731" y="366192"/>
                    <a:pt x="343805" y="364048"/>
                    <a:pt x="343805" y="361895"/>
                  </a:cubicBezTo>
                  <a:cubicBezTo>
                    <a:pt x="343805" y="359742"/>
                    <a:pt x="343723" y="357597"/>
                    <a:pt x="343605" y="355471"/>
                  </a:cubicBezTo>
                  <a:lnTo>
                    <a:pt x="312826" y="348831"/>
                  </a:lnTo>
                  <a:cubicBezTo>
                    <a:pt x="309188" y="348043"/>
                    <a:pt x="306402" y="345111"/>
                    <a:pt x="305805" y="341438"/>
                  </a:cubicBezTo>
                  <a:cubicBezTo>
                    <a:pt x="304448" y="333087"/>
                    <a:pt x="302259" y="324900"/>
                    <a:pt x="299300" y="317100"/>
                  </a:cubicBezTo>
                  <a:cubicBezTo>
                    <a:pt x="297979" y="313617"/>
                    <a:pt x="298929" y="309682"/>
                    <a:pt x="301689" y="307185"/>
                  </a:cubicBezTo>
                  <a:lnTo>
                    <a:pt x="324940" y="286122"/>
                  </a:lnTo>
                  <a:cubicBezTo>
                    <a:pt x="322923" y="282241"/>
                    <a:pt x="320805" y="278531"/>
                    <a:pt x="318607" y="275011"/>
                  </a:cubicBezTo>
                  <a:lnTo>
                    <a:pt x="288787" y="284620"/>
                  </a:lnTo>
                  <a:cubicBezTo>
                    <a:pt x="285249" y="285778"/>
                    <a:pt x="281367" y="284629"/>
                    <a:pt x="279006" y="281744"/>
                  </a:cubicBezTo>
                  <a:cubicBezTo>
                    <a:pt x="273660" y="275211"/>
                    <a:pt x="267643" y="269186"/>
                    <a:pt x="261110" y="263848"/>
                  </a:cubicBezTo>
                  <a:cubicBezTo>
                    <a:pt x="258234" y="261486"/>
                    <a:pt x="257093" y="257614"/>
                    <a:pt x="258234" y="254067"/>
                  </a:cubicBezTo>
                  <a:lnTo>
                    <a:pt x="267842" y="224247"/>
                  </a:lnTo>
                  <a:cubicBezTo>
                    <a:pt x="264322" y="222056"/>
                    <a:pt x="260603" y="219939"/>
                    <a:pt x="256722" y="217913"/>
                  </a:cubicBezTo>
                  <a:lnTo>
                    <a:pt x="235660" y="241157"/>
                  </a:lnTo>
                  <a:cubicBezTo>
                    <a:pt x="233154" y="243924"/>
                    <a:pt x="229209" y="244865"/>
                    <a:pt x="225753" y="243544"/>
                  </a:cubicBezTo>
                  <a:cubicBezTo>
                    <a:pt x="217936" y="240586"/>
                    <a:pt x="209748" y="238396"/>
                    <a:pt x="201406" y="237040"/>
                  </a:cubicBezTo>
                  <a:cubicBezTo>
                    <a:pt x="197733" y="236442"/>
                    <a:pt x="194801" y="233656"/>
                    <a:pt x="194015" y="230019"/>
                  </a:cubicBezTo>
                  <a:lnTo>
                    <a:pt x="187365" y="199239"/>
                  </a:lnTo>
                  <a:cubicBezTo>
                    <a:pt x="183121" y="199004"/>
                    <a:pt x="178787" y="199012"/>
                    <a:pt x="174526" y="199239"/>
                  </a:cubicBezTo>
                  <a:close/>
                  <a:moveTo>
                    <a:pt x="166392" y="181660"/>
                  </a:moveTo>
                  <a:cubicBezTo>
                    <a:pt x="176028" y="180899"/>
                    <a:pt x="185863" y="180881"/>
                    <a:pt x="195498" y="181660"/>
                  </a:cubicBezTo>
                  <a:cubicBezTo>
                    <a:pt x="199470" y="181985"/>
                    <a:pt x="202772" y="184872"/>
                    <a:pt x="203614" y="188771"/>
                  </a:cubicBezTo>
                  <a:lnTo>
                    <a:pt x="210417" y="220302"/>
                  </a:lnTo>
                  <a:cubicBezTo>
                    <a:pt x="215792" y="221414"/>
                    <a:pt x="221093" y="222835"/>
                    <a:pt x="226278" y="224536"/>
                  </a:cubicBezTo>
                  <a:lnTo>
                    <a:pt x="247901" y="200669"/>
                  </a:lnTo>
                  <a:cubicBezTo>
                    <a:pt x="250579" y="197710"/>
                    <a:pt x="254877" y="196851"/>
                    <a:pt x="258496" y="198579"/>
                  </a:cubicBezTo>
                  <a:cubicBezTo>
                    <a:pt x="267670" y="202939"/>
                    <a:pt x="276147" y="207798"/>
                    <a:pt x="283693" y="213018"/>
                  </a:cubicBezTo>
                  <a:cubicBezTo>
                    <a:pt x="286977" y="215290"/>
                    <a:pt x="288380" y="219442"/>
                    <a:pt x="287158" y="223233"/>
                  </a:cubicBezTo>
                  <a:lnTo>
                    <a:pt x="277287" y="253877"/>
                  </a:lnTo>
                  <a:cubicBezTo>
                    <a:pt x="281395" y="257541"/>
                    <a:pt x="285294" y="261440"/>
                    <a:pt x="288958" y="265548"/>
                  </a:cubicBezTo>
                  <a:lnTo>
                    <a:pt x="319602" y="255677"/>
                  </a:lnTo>
                  <a:cubicBezTo>
                    <a:pt x="323394" y="254447"/>
                    <a:pt x="327546" y="255858"/>
                    <a:pt x="329817" y="259143"/>
                  </a:cubicBezTo>
                  <a:cubicBezTo>
                    <a:pt x="335028" y="266688"/>
                    <a:pt x="339895" y="275166"/>
                    <a:pt x="344257" y="284340"/>
                  </a:cubicBezTo>
                  <a:cubicBezTo>
                    <a:pt x="345976" y="287950"/>
                    <a:pt x="345126" y="292257"/>
                    <a:pt x="342167" y="294935"/>
                  </a:cubicBezTo>
                  <a:lnTo>
                    <a:pt x="318300" y="316558"/>
                  </a:lnTo>
                  <a:cubicBezTo>
                    <a:pt x="320010" y="321733"/>
                    <a:pt x="321421" y="327044"/>
                    <a:pt x="322534" y="332418"/>
                  </a:cubicBezTo>
                  <a:lnTo>
                    <a:pt x="354064" y="339222"/>
                  </a:lnTo>
                  <a:cubicBezTo>
                    <a:pt x="357973" y="340063"/>
                    <a:pt x="360859" y="343365"/>
                    <a:pt x="361175" y="347346"/>
                  </a:cubicBezTo>
                  <a:cubicBezTo>
                    <a:pt x="361555" y="352159"/>
                    <a:pt x="361899" y="356982"/>
                    <a:pt x="361899" y="361895"/>
                  </a:cubicBezTo>
                  <a:cubicBezTo>
                    <a:pt x="361899" y="366807"/>
                    <a:pt x="361555" y="371630"/>
                    <a:pt x="361185" y="376452"/>
                  </a:cubicBezTo>
                  <a:cubicBezTo>
                    <a:pt x="360859" y="380424"/>
                    <a:pt x="357973" y="383727"/>
                    <a:pt x="354073" y="384567"/>
                  </a:cubicBezTo>
                  <a:lnTo>
                    <a:pt x="322542" y="391372"/>
                  </a:lnTo>
                  <a:cubicBezTo>
                    <a:pt x="321430" y="396745"/>
                    <a:pt x="320010" y="402048"/>
                    <a:pt x="318308" y="407232"/>
                  </a:cubicBezTo>
                  <a:lnTo>
                    <a:pt x="342175" y="428855"/>
                  </a:lnTo>
                  <a:cubicBezTo>
                    <a:pt x="345134" y="431534"/>
                    <a:pt x="345984" y="435840"/>
                    <a:pt x="344266" y="439449"/>
                  </a:cubicBezTo>
                  <a:cubicBezTo>
                    <a:pt x="339905" y="448623"/>
                    <a:pt x="335046" y="457101"/>
                    <a:pt x="329826" y="464647"/>
                  </a:cubicBezTo>
                  <a:cubicBezTo>
                    <a:pt x="327554" y="467931"/>
                    <a:pt x="323402" y="469342"/>
                    <a:pt x="319612" y="468112"/>
                  </a:cubicBezTo>
                  <a:lnTo>
                    <a:pt x="288968" y="458241"/>
                  </a:lnTo>
                  <a:cubicBezTo>
                    <a:pt x="285304" y="462340"/>
                    <a:pt x="281404" y="466239"/>
                    <a:pt x="277296" y="469903"/>
                  </a:cubicBezTo>
                  <a:lnTo>
                    <a:pt x="287167" y="500547"/>
                  </a:lnTo>
                  <a:cubicBezTo>
                    <a:pt x="288389" y="504339"/>
                    <a:pt x="286986" y="508491"/>
                    <a:pt x="283702" y="510762"/>
                  </a:cubicBezTo>
                  <a:cubicBezTo>
                    <a:pt x="276157" y="515973"/>
                    <a:pt x="267679" y="520840"/>
                    <a:pt x="258505" y="525202"/>
                  </a:cubicBezTo>
                  <a:cubicBezTo>
                    <a:pt x="254904" y="526929"/>
                    <a:pt x="250597" y="526070"/>
                    <a:pt x="247911" y="523112"/>
                  </a:cubicBezTo>
                  <a:lnTo>
                    <a:pt x="226287" y="499244"/>
                  </a:lnTo>
                  <a:cubicBezTo>
                    <a:pt x="221112" y="500955"/>
                    <a:pt x="215801" y="502366"/>
                    <a:pt x="210427" y="503479"/>
                  </a:cubicBezTo>
                  <a:lnTo>
                    <a:pt x="203623" y="535009"/>
                  </a:lnTo>
                  <a:cubicBezTo>
                    <a:pt x="202781" y="538918"/>
                    <a:pt x="199479" y="541804"/>
                    <a:pt x="195498" y="542120"/>
                  </a:cubicBezTo>
                  <a:cubicBezTo>
                    <a:pt x="190685" y="542501"/>
                    <a:pt x="185863" y="542844"/>
                    <a:pt x="180950" y="542844"/>
                  </a:cubicBezTo>
                  <a:cubicBezTo>
                    <a:pt x="176037" y="542844"/>
                    <a:pt x="171215" y="542501"/>
                    <a:pt x="166401" y="542120"/>
                  </a:cubicBezTo>
                  <a:cubicBezTo>
                    <a:pt x="162429" y="541795"/>
                    <a:pt x="159127" y="538909"/>
                    <a:pt x="158286" y="535009"/>
                  </a:cubicBezTo>
                  <a:lnTo>
                    <a:pt x="151482" y="503479"/>
                  </a:lnTo>
                  <a:cubicBezTo>
                    <a:pt x="146108" y="502366"/>
                    <a:pt x="140806" y="500945"/>
                    <a:pt x="135621" y="499244"/>
                  </a:cubicBezTo>
                  <a:lnTo>
                    <a:pt x="113999" y="523112"/>
                  </a:lnTo>
                  <a:cubicBezTo>
                    <a:pt x="111320" y="526061"/>
                    <a:pt x="107023" y="526921"/>
                    <a:pt x="103404" y="525202"/>
                  </a:cubicBezTo>
                  <a:cubicBezTo>
                    <a:pt x="94230" y="520840"/>
                    <a:pt x="85753" y="515983"/>
                    <a:pt x="78207" y="510762"/>
                  </a:cubicBezTo>
                  <a:cubicBezTo>
                    <a:pt x="74922" y="508491"/>
                    <a:pt x="73520" y="504339"/>
                    <a:pt x="74741" y="500547"/>
                  </a:cubicBezTo>
                  <a:lnTo>
                    <a:pt x="84612" y="469903"/>
                  </a:lnTo>
                  <a:cubicBezTo>
                    <a:pt x="80505" y="466239"/>
                    <a:pt x="76606" y="462340"/>
                    <a:pt x="72941" y="458232"/>
                  </a:cubicBezTo>
                  <a:lnTo>
                    <a:pt x="42298" y="468103"/>
                  </a:lnTo>
                  <a:cubicBezTo>
                    <a:pt x="38489" y="469325"/>
                    <a:pt x="34345" y="467913"/>
                    <a:pt x="32082" y="464638"/>
                  </a:cubicBezTo>
                  <a:cubicBezTo>
                    <a:pt x="26862" y="457092"/>
                    <a:pt x="22004" y="448615"/>
                    <a:pt x="17643" y="439441"/>
                  </a:cubicBezTo>
                  <a:cubicBezTo>
                    <a:pt x="15924" y="435830"/>
                    <a:pt x="16774" y="431524"/>
                    <a:pt x="19733" y="428846"/>
                  </a:cubicBezTo>
                  <a:lnTo>
                    <a:pt x="43600" y="407223"/>
                  </a:lnTo>
                  <a:cubicBezTo>
                    <a:pt x="41890" y="402048"/>
                    <a:pt x="40478" y="396745"/>
                    <a:pt x="39366" y="391372"/>
                  </a:cubicBezTo>
                  <a:lnTo>
                    <a:pt x="7835" y="384567"/>
                  </a:lnTo>
                  <a:cubicBezTo>
                    <a:pt x="3927" y="383727"/>
                    <a:pt x="1040" y="380424"/>
                    <a:pt x="724" y="376443"/>
                  </a:cubicBezTo>
                  <a:cubicBezTo>
                    <a:pt x="344" y="371630"/>
                    <a:pt x="0" y="366807"/>
                    <a:pt x="0" y="361895"/>
                  </a:cubicBezTo>
                  <a:cubicBezTo>
                    <a:pt x="0" y="356982"/>
                    <a:pt x="344" y="352159"/>
                    <a:pt x="724" y="347337"/>
                  </a:cubicBezTo>
                  <a:cubicBezTo>
                    <a:pt x="1050" y="343365"/>
                    <a:pt x="3936" y="340063"/>
                    <a:pt x="7835" y="339222"/>
                  </a:cubicBezTo>
                  <a:lnTo>
                    <a:pt x="39366" y="332418"/>
                  </a:lnTo>
                  <a:cubicBezTo>
                    <a:pt x="40478" y="327044"/>
                    <a:pt x="41899" y="321742"/>
                    <a:pt x="43600" y="316558"/>
                  </a:cubicBezTo>
                  <a:lnTo>
                    <a:pt x="19733" y="294935"/>
                  </a:lnTo>
                  <a:cubicBezTo>
                    <a:pt x="16774" y="292257"/>
                    <a:pt x="15924" y="287950"/>
                    <a:pt x="17643" y="284340"/>
                  </a:cubicBezTo>
                  <a:cubicBezTo>
                    <a:pt x="22004" y="275166"/>
                    <a:pt x="26862" y="266688"/>
                    <a:pt x="32082" y="259143"/>
                  </a:cubicBezTo>
                  <a:cubicBezTo>
                    <a:pt x="34345" y="255858"/>
                    <a:pt x="38497" y="254447"/>
                    <a:pt x="42298" y="255677"/>
                  </a:cubicBezTo>
                  <a:lnTo>
                    <a:pt x="72931" y="265548"/>
                  </a:lnTo>
                  <a:cubicBezTo>
                    <a:pt x="76596" y="261440"/>
                    <a:pt x="80496" y="257541"/>
                    <a:pt x="84603" y="253877"/>
                  </a:cubicBezTo>
                  <a:lnTo>
                    <a:pt x="74732" y="223233"/>
                  </a:lnTo>
                  <a:cubicBezTo>
                    <a:pt x="73511" y="219442"/>
                    <a:pt x="74914" y="215290"/>
                    <a:pt x="78197" y="213018"/>
                  </a:cubicBezTo>
                  <a:cubicBezTo>
                    <a:pt x="85743" y="207798"/>
                    <a:pt x="94221" y="202939"/>
                    <a:pt x="103395" y="198579"/>
                  </a:cubicBezTo>
                  <a:cubicBezTo>
                    <a:pt x="107014" y="196860"/>
                    <a:pt x="111312" y="197710"/>
                    <a:pt x="113989" y="200669"/>
                  </a:cubicBezTo>
                  <a:lnTo>
                    <a:pt x="135613" y="224536"/>
                  </a:lnTo>
                  <a:cubicBezTo>
                    <a:pt x="140788" y="222826"/>
                    <a:pt x="146090" y="221414"/>
                    <a:pt x="151464" y="220302"/>
                  </a:cubicBezTo>
                  <a:lnTo>
                    <a:pt x="158267" y="188771"/>
                  </a:lnTo>
                  <a:cubicBezTo>
                    <a:pt x="159109" y="184863"/>
                    <a:pt x="162412" y="181977"/>
                    <a:pt x="166392" y="181660"/>
                  </a:cubicBezTo>
                  <a:close/>
                  <a:moveTo>
                    <a:pt x="196394" y="102169"/>
                  </a:moveTo>
                  <a:lnTo>
                    <a:pt x="223537" y="129311"/>
                  </a:lnTo>
                  <a:cubicBezTo>
                    <a:pt x="227074" y="132849"/>
                    <a:pt x="227074" y="138567"/>
                    <a:pt x="223537" y="142104"/>
                  </a:cubicBezTo>
                  <a:lnTo>
                    <a:pt x="196394" y="169247"/>
                  </a:lnTo>
                  <a:lnTo>
                    <a:pt x="183601" y="156453"/>
                  </a:lnTo>
                  <a:lnTo>
                    <a:pt x="194747" y="145307"/>
                  </a:lnTo>
                  <a:cubicBezTo>
                    <a:pt x="190151" y="145017"/>
                    <a:pt x="185555" y="144755"/>
                    <a:pt x="180950" y="144755"/>
                  </a:cubicBezTo>
                  <a:cubicBezTo>
                    <a:pt x="116333" y="144755"/>
                    <a:pt x="55525" y="173246"/>
                    <a:pt x="14096" y="222925"/>
                  </a:cubicBezTo>
                  <a:lnTo>
                    <a:pt x="199" y="211335"/>
                  </a:lnTo>
                  <a:cubicBezTo>
                    <a:pt x="45074" y="157521"/>
                    <a:pt x="110958" y="126661"/>
                    <a:pt x="180950" y="126661"/>
                  </a:cubicBezTo>
                  <a:cubicBezTo>
                    <a:pt x="185936" y="126661"/>
                    <a:pt x="190921" y="126940"/>
                    <a:pt x="195896" y="127258"/>
                  </a:cubicBezTo>
                  <a:lnTo>
                    <a:pt x="183601" y="114962"/>
                  </a:lnTo>
                  <a:close/>
                  <a:moveTo>
                    <a:pt x="370947" y="81423"/>
                  </a:moveTo>
                  <a:cubicBezTo>
                    <a:pt x="355982" y="81423"/>
                    <a:pt x="343805" y="93600"/>
                    <a:pt x="343805" y="108565"/>
                  </a:cubicBezTo>
                  <a:cubicBezTo>
                    <a:pt x="343805" y="123529"/>
                    <a:pt x="355982" y="135708"/>
                    <a:pt x="370947" y="135708"/>
                  </a:cubicBezTo>
                  <a:cubicBezTo>
                    <a:pt x="385911" y="135708"/>
                    <a:pt x="398089" y="123529"/>
                    <a:pt x="398089" y="108565"/>
                  </a:cubicBezTo>
                  <a:cubicBezTo>
                    <a:pt x="398089" y="93600"/>
                    <a:pt x="385911" y="81423"/>
                    <a:pt x="370947" y="81423"/>
                  </a:cubicBezTo>
                  <a:close/>
                  <a:moveTo>
                    <a:pt x="370947" y="63328"/>
                  </a:moveTo>
                  <a:cubicBezTo>
                    <a:pt x="395891" y="63328"/>
                    <a:pt x="416184" y="83621"/>
                    <a:pt x="416184" y="108565"/>
                  </a:cubicBezTo>
                  <a:cubicBezTo>
                    <a:pt x="416184" y="133510"/>
                    <a:pt x="395891" y="153803"/>
                    <a:pt x="370947" y="153803"/>
                  </a:cubicBezTo>
                  <a:cubicBezTo>
                    <a:pt x="346003" y="153803"/>
                    <a:pt x="325709" y="133510"/>
                    <a:pt x="325709" y="108565"/>
                  </a:cubicBezTo>
                  <a:cubicBezTo>
                    <a:pt x="325709" y="83621"/>
                    <a:pt x="346003" y="63328"/>
                    <a:pt x="370947" y="63328"/>
                  </a:cubicBezTo>
                  <a:close/>
                  <a:moveTo>
                    <a:pt x="490338" y="18271"/>
                  </a:moveTo>
                  <a:lnTo>
                    <a:pt x="535574" y="27319"/>
                  </a:lnTo>
                  <a:lnTo>
                    <a:pt x="532029" y="45061"/>
                  </a:lnTo>
                  <a:lnTo>
                    <a:pt x="508867" y="40429"/>
                  </a:lnTo>
                  <a:cubicBezTo>
                    <a:pt x="519280" y="61509"/>
                    <a:pt x="524754" y="84870"/>
                    <a:pt x="524754" y="108565"/>
                  </a:cubicBezTo>
                  <a:cubicBezTo>
                    <a:pt x="524754" y="143416"/>
                    <a:pt x="512775" y="177552"/>
                    <a:pt x="491016" y="204704"/>
                  </a:cubicBezTo>
                  <a:lnTo>
                    <a:pt x="476893" y="193385"/>
                  </a:lnTo>
                  <a:cubicBezTo>
                    <a:pt x="496363" y="169092"/>
                    <a:pt x="506659" y="139761"/>
                    <a:pt x="506659" y="108565"/>
                  </a:cubicBezTo>
                  <a:cubicBezTo>
                    <a:pt x="506659" y="88145"/>
                    <a:pt x="502027" y="68042"/>
                    <a:pt x="493260" y="49802"/>
                  </a:cubicBezTo>
                  <a:lnTo>
                    <a:pt x="488383" y="74158"/>
                  </a:lnTo>
                  <a:lnTo>
                    <a:pt x="470641" y="70602"/>
                  </a:lnTo>
                  <a:lnTo>
                    <a:pt x="479689" y="25365"/>
                  </a:lnTo>
                  <a:cubicBezTo>
                    <a:pt x="480665" y="20470"/>
                    <a:pt x="485415" y="17276"/>
                    <a:pt x="490338" y="18271"/>
                  </a:cubicBezTo>
                  <a:close/>
                  <a:moveTo>
                    <a:pt x="366179" y="18244"/>
                  </a:moveTo>
                  <a:lnTo>
                    <a:pt x="358724" y="41984"/>
                  </a:lnTo>
                  <a:cubicBezTo>
                    <a:pt x="357820" y="44844"/>
                    <a:pt x="355558" y="47078"/>
                    <a:pt x="352690" y="47938"/>
                  </a:cubicBezTo>
                  <a:cubicBezTo>
                    <a:pt x="348600" y="49168"/>
                    <a:pt x="344664" y="50797"/>
                    <a:pt x="340982" y="52769"/>
                  </a:cubicBezTo>
                  <a:cubicBezTo>
                    <a:pt x="338349" y="54181"/>
                    <a:pt x="335164" y="54208"/>
                    <a:pt x="332514" y="52823"/>
                  </a:cubicBezTo>
                  <a:lnTo>
                    <a:pt x="310510" y="41342"/>
                  </a:lnTo>
                  <a:cubicBezTo>
                    <a:pt x="308139" y="43478"/>
                    <a:pt x="305868" y="45748"/>
                    <a:pt x="303724" y="48128"/>
                  </a:cubicBezTo>
                  <a:lnTo>
                    <a:pt x="315206" y="70131"/>
                  </a:lnTo>
                  <a:cubicBezTo>
                    <a:pt x="316599" y="72792"/>
                    <a:pt x="316572" y="75967"/>
                    <a:pt x="315151" y="78609"/>
                  </a:cubicBezTo>
                  <a:cubicBezTo>
                    <a:pt x="313179" y="82273"/>
                    <a:pt x="311550" y="86209"/>
                    <a:pt x="310320" y="90307"/>
                  </a:cubicBezTo>
                  <a:cubicBezTo>
                    <a:pt x="309452" y="93185"/>
                    <a:pt x="307225" y="95438"/>
                    <a:pt x="304367" y="96342"/>
                  </a:cubicBezTo>
                  <a:lnTo>
                    <a:pt x="280626" y="103797"/>
                  </a:lnTo>
                  <a:cubicBezTo>
                    <a:pt x="280517" y="105452"/>
                    <a:pt x="280473" y="107036"/>
                    <a:pt x="280473" y="108565"/>
                  </a:cubicBezTo>
                  <a:cubicBezTo>
                    <a:pt x="280473" y="110094"/>
                    <a:pt x="280517" y="111677"/>
                    <a:pt x="280626" y="113334"/>
                  </a:cubicBezTo>
                  <a:lnTo>
                    <a:pt x="304367" y="120789"/>
                  </a:lnTo>
                  <a:cubicBezTo>
                    <a:pt x="307225" y="121693"/>
                    <a:pt x="309460" y="123955"/>
                    <a:pt x="310320" y="126823"/>
                  </a:cubicBezTo>
                  <a:cubicBezTo>
                    <a:pt x="311550" y="130912"/>
                    <a:pt x="313179" y="134848"/>
                    <a:pt x="315151" y="138530"/>
                  </a:cubicBezTo>
                  <a:cubicBezTo>
                    <a:pt x="316572" y="141163"/>
                    <a:pt x="316589" y="144348"/>
                    <a:pt x="315206" y="146998"/>
                  </a:cubicBezTo>
                  <a:lnTo>
                    <a:pt x="303724" y="169002"/>
                  </a:lnTo>
                  <a:cubicBezTo>
                    <a:pt x="305859" y="171373"/>
                    <a:pt x="308131" y="173643"/>
                    <a:pt x="310510" y="175788"/>
                  </a:cubicBezTo>
                  <a:lnTo>
                    <a:pt x="332514" y="164306"/>
                  </a:lnTo>
                  <a:cubicBezTo>
                    <a:pt x="335174" y="162913"/>
                    <a:pt x="338349" y="162940"/>
                    <a:pt x="340991" y="164361"/>
                  </a:cubicBezTo>
                  <a:cubicBezTo>
                    <a:pt x="344655" y="166333"/>
                    <a:pt x="348591" y="167962"/>
                    <a:pt x="352690" y="169192"/>
                  </a:cubicBezTo>
                  <a:cubicBezTo>
                    <a:pt x="355567" y="170061"/>
                    <a:pt x="357820" y="172287"/>
                    <a:pt x="358724" y="175145"/>
                  </a:cubicBezTo>
                  <a:lnTo>
                    <a:pt x="366179" y="198886"/>
                  </a:lnTo>
                  <a:cubicBezTo>
                    <a:pt x="369491" y="199085"/>
                    <a:pt x="372413" y="199085"/>
                    <a:pt x="375716" y="198886"/>
                  </a:cubicBezTo>
                  <a:lnTo>
                    <a:pt x="383171" y="175145"/>
                  </a:lnTo>
                  <a:cubicBezTo>
                    <a:pt x="384075" y="172287"/>
                    <a:pt x="386337" y="170052"/>
                    <a:pt x="389205" y="169192"/>
                  </a:cubicBezTo>
                  <a:cubicBezTo>
                    <a:pt x="393294" y="167962"/>
                    <a:pt x="397231" y="166333"/>
                    <a:pt x="400912" y="164361"/>
                  </a:cubicBezTo>
                  <a:cubicBezTo>
                    <a:pt x="403545" y="162950"/>
                    <a:pt x="406721" y="162913"/>
                    <a:pt x="409381" y="164306"/>
                  </a:cubicBezTo>
                  <a:lnTo>
                    <a:pt x="431384" y="175788"/>
                  </a:lnTo>
                  <a:cubicBezTo>
                    <a:pt x="433755" y="173653"/>
                    <a:pt x="436026" y="171382"/>
                    <a:pt x="438170" y="169002"/>
                  </a:cubicBezTo>
                  <a:lnTo>
                    <a:pt x="426688" y="146998"/>
                  </a:lnTo>
                  <a:cubicBezTo>
                    <a:pt x="425295" y="144348"/>
                    <a:pt x="425322" y="141172"/>
                    <a:pt x="426743" y="138530"/>
                  </a:cubicBezTo>
                  <a:cubicBezTo>
                    <a:pt x="428716" y="134848"/>
                    <a:pt x="430344" y="130912"/>
                    <a:pt x="431574" y="126823"/>
                  </a:cubicBezTo>
                  <a:cubicBezTo>
                    <a:pt x="432443" y="123946"/>
                    <a:pt x="434669" y="121693"/>
                    <a:pt x="437527" y="120789"/>
                  </a:cubicBezTo>
                  <a:lnTo>
                    <a:pt x="461268" y="113334"/>
                  </a:lnTo>
                  <a:cubicBezTo>
                    <a:pt x="461377" y="111677"/>
                    <a:pt x="461423" y="110094"/>
                    <a:pt x="461423" y="108565"/>
                  </a:cubicBezTo>
                  <a:cubicBezTo>
                    <a:pt x="461423" y="107036"/>
                    <a:pt x="461377" y="105452"/>
                    <a:pt x="461268" y="103797"/>
                  </a:cubicBezTo>
                  <a:lnTo>
                    <a:pt x="437527" y="96342"/>
                  </a:lnTo>
                  <a:cubicBezTo>
                    <a:pt x="434669" y="95438"/>
                    <a:pt x="432434" y="93175"/>
                    <a:pt x="431574" y="90307"/>
                  </a:cubicBezTo>
                  <a:cubicBezTo>
                    <a:pt x="430344" y="86217"/>
                    <a:pt x="428716" y="82282"/>
                    <a:pt x="426743" y="78600"/>
                  </a:cubicBezTo>
                  <a:cubicBezTo>
                    <a:pt x="425322" y="75967"/>
                    <a:pt x="425305" y="72782"/>
                    <a:pt x="426688" y="70131"/>
                  </a:cubicBezTo>
                  <a:lnTo>
                    <a:pt x="438170" y="48128"/>
                  </a:lnTo>
                  <a:cubicBezTo>
                    <a:pt x="436035" y="45758"/>
                    <a:pt x="433764" y="43486"/>
                    <a:pt x="431384" y="41342"/>
                  </a:cubicBezTo>
                  <a:lnTo>
                    <a:pt x="409381" y="52823"/>
                  </a:lnTo>
                  <a:cubicBezTo>
                    <a:pt x="406721" y="54217"/>
                    <a:pt x="403545" y="54189"/>
                    <a:pt x="400904" y="52769"/>
                  </a:cubicBezTo>
                  <a:cubicBezTo>
                    <a:pt x="397239" y="50797"/>
                    <a:pt x="393304" y="49168"/>
                    <a:pt x="389205" y="47938"/>
                  </a:cubicBezTo>
                  <a:cubicBezTo>
                    <a:pt x="386328" y="47070"/>
                    <a:pt x="384075" y="44844"/>
                    <a:pt x="383171" y="41984"/>
                  </a:cubicBezTo>
                  <a:lnTo>
                    <a:pt x="375716" y="18244"/>
                  </a:lnTo>
                  <a:cubicBezTo>
                    <a:pt x="372404" y="18045"/>
                    <a:pt x="369482" y="18045"/>
                    <a:pt x="366179" y="18244"/>
                  </a:cubicBezTo>
                  <a:close/>
                  <a:moveTo>
                    <a:pt x="358308" y="801"/>
                  </a:moveTo>
                  <a:cubicBezTo>
                    <a:pt x="367464" y="-267"/>
                    <a:pt x="374422" y="-267"/>
                    <a:pt x="383577" y="801"/>
                  </a:cubicBezTo>
                  <a:cubicBezTo>
                    <a:pt x="387124" y="1207"/>
                    <a:pt x="390101" y="3669"/>
                    <a:pt x="391168" y="7071"/>
                  </a:cubicBezTo>
                  <a:lnTo>
                    <a:pt x="399049" y="32160"/>
                  </a:lnTo>
                  <a:cubicBezTo>
                    <a:pt x="401102" y="32911"/>
                    <a:pt x="403120" y="33743"/>
                    <a:pt x="405092" y="34647"/>
                  </a:cubicBezTo>
                  <a:lnTo>
                    <a:pt x="428408" y="22487"/>
                  </a:lnTo>
                  <a:cubicBezTo>
                    <a:pt x="431566" y="20850"/>
                    <a:pt x="435402" y="21203"/>
                    <a:pt x="438206" y="23419"/>
                  </a:cubicBezTo>
                  <a:cubicBezTo>
                    <a:pt x="444848" y="28675"/>
                    <a:pt x="450873" y="34702"/>
                    <a:pt x="456112" y="41324"/>
                  </a:cubicBezTo>
                  <a:cubicBezTo>
                    <a:pt x="458319" y="44129"/>
                    <a:pt x="458681" y="47965"/>
                    <a:pt x="457034" y="51123"/>
                  </a:cubicBezTo>
                  <a:lnTo>
                    <a:pt x="444875" y="74420"/>
                  </a:lnTo>
                  <a:cubicBezTo>
                    <a:pt x="445789" y="76393"/>
                    <a:pt x="446620" y="78409"/>
                    <a:pt x="447371" y="80464"/>
                  </a:cubicBezTo>
                  <a:lnTo>
                    <a:pt x="472460" y="88344"/>
                  </a:lnTo>
                  <a:cubicBezTo>
                    <a:pt x="475863" y="89411"/>
                    <a:pt x="478323" y="92388"/>
                    <a:pt x="478731" y="95935"/>
                  </a:cubicBezTo>
                  <a:cubicBezTo>
                    <a:pt x="479264" y="100504"/>
                    <a:pt x="479517" y="104639"/>
                    <a:pt x="479517" y="108565"/>
                  </a:cubicBezTo>
                  <a:cubicBezTo>
                    <a:pt x="479517" y="112492"/>
                    <a:pt x="479264" y="116627"/>
                    <a:pt x="478721" y="121195"/>
                  </a:cubicBezTo>
                  <a:cubicBezTo>
                    <a:pt x="478314" y="124742"/>
                    <a:pt x="475853" y="127718"/>
                    <a:pt x="472452" y="128786"/>
                  </a:cubicBezTo>
                  <a:lnTo>
                    <a:pt x="447363" y="136685"/>
                  </a:lnTo>
                  <a:cubicBezTo>
                    <a:pt x="446612" y="138738"/>
                    <a:pt x="445779" y="140756"/>
                    <a:pt x="444865" y="142729"/>
                  </a:cubicBezTo>
                  <a:lnTo>
                    <a:pt x="457026" y="166025"/>
                  </a:lnTo>
                  <a:cubicBezTo>
                    <a:pt x="458672" y="169192"/>
                    <a:pt x="458310" y="173020"/>
                    <a:pt x="456093" y="175824"/>
                  </a:cubicBezTo>
                  <a:cubicBezTo>
                    <a:pt x="450836" y="182465"/>
                    <a:pt x="444811" y="188491"/>
                    <a:pt x="438188" y="193729"/>
                  </a:cubicBezTo>
                  <a:cubicBezTo>
                    <a:pt x="435383" y="195946"/>
                    <a:pt x="431547" y="196299"/>
                    <a:pt x="428390" y="194652"/>
                  </a:cubicBezTo>
                  <a:lnTo>
                    <a:pt x="405092" y="182493"/>
                  </a:lnTo>
                  <a:cubicBezTo>
                    <a:pt x="403120" y="183406"/>
                    <a:pt x="401102" y="184239"/>
                    <a:pt x="399049" y="184990"/>
                  </a:cubicBezTo>
                  <a:lnTo>
                    <a:pt x="391168" y="210078"/>
                  </a:lnTo>
                  <a:cubicBezTo>
                    <a:pt x="390101" y="213479"/>
                    <a:pt x="387124" y="215941"/>
                    <a:pt x="383577" y="216348"/>
                  </a:cubicBezTo>
                  <a:cubicBezTo>
                    <a:pt x="379009" y="216882"/>
                    <a:pt x="374874" y="217135"/>
                    <a:pt x="370947" y="217135"/>
                  </a:cubicBezTo>
                  <a:cubicBezTo>
                    <a:pt x="367021" y="217135"/>
                    <a:pt x="362886" y="216882"/>
                    <a:pt x="358299" y="216339"/>
                  </a:cubicBezTo>
                  <a:cubicBezTo>
                    <a:pt x="354752" y="215932"/>
                    <a:pt x="351776" y="213471"/>
                    <a:pt x="350708" y="210069"/>
                  </a:cubicBezTo>
                  <a:lnTo>
                    <a:pt x="342827" y="184980"/>
                  </a:lnTo>
                  <a:cubicBezTo>
                    <a:pt x="340774" y="184229"/>
                    <a:pt x="338756" y="183397"/>
                    <a:pt x="336784" y="182493"/>
                  </a:cubicBezTo>
                  <a:lnTo>
                    <a:pt x="313486" y="194643"/>
                  </a:lnTo>
                  <a:cubicBezTo>
                    <a:pt x="310329" y="196281"/>
                    <a:pt x="306484" y="195928"/>
                    <a:pt x="303688" y="193711"/>
                  </a:cubicBezTo>
                  <a:cubicBezTo>
                    <a:pt x="297047" y="188454"/>
                    <a:pt x="291022" y="182429"/>
                    <a:pt x="285783" y="175806"/>
                  </a:cubicBezTo>
                  <a:cubicBezTo>
                    <a:pt x="283575" y="173001"/>
                    <a:pt x="283214" y="169165"/>
                    <a:pt x="284860" y="166008"/>
                  </a:cubicBezTo>
                  <a:lnTo>
                    <a:pt x="297020" y="142710"/>
                  </a:lnTo>
                  <a:cubicBezTo>
                    <a:pt x="296106" y="140738"/>
                    <a:pt x="295274" y="138720"/>
                    <a:pt x="294523" y="136667"/>
                  </a:cubicBezTo>
                  <a:lnTo>
                    <a:pt x="269434" y="128786"/>
                  </a:lnTo>
                  <a:cubicBezTo>
                    <a:pt x="266032" y="127718"/>
                    <a:pt x="263572" y="124742"/>
                    <a:pt x="263164" y="121195"/>
                  </a:cubicBezTo>
                  <a:cubicBezTo>
                    <a:pt x="262631" y="116627"/>
                    <a:pt x="262377" y="112492"/>
                    <a:pt x="262377" y="108565"/>
                  </a:cubicBezTo>
                  <a:cubicBezTo>
                    <a:pt x="262377" y="104639"/>
                    <a:pt x="262631" y="100504"/>
                    <a:pt x="263164" y="95935"/>
                  </a:cubicBezTo>
                  <a:cubicBezTo>
                    <a:pt x="263572" y="92388"/>
                    <a:pt x="266032" y="89411"/>
                    <a:pt x="269434" y="88344"/>
                  </a:cubicBezTo>
                  <a:lnTo>
                    <a:pt x="294523" y="80464"/>
                  </a:lnTo>
                  <a:cubicBezTo>
                    <a:pt x="295274" y="78409"/>
                    <a:pt x="296106" y="76393"/>
                    <a:pt x="297011" y="74420"/>
                  </a:cubicBezTo>
                  <a:lnTo>
                    <a:pt x="284860" y="51123"/>
                  </a:lnTo>
                  <a:cubicBezTo>
                    <a:pt x="283214" y="47956"/>
                    <a:pt x="283575" y="44129"/>
                    <a:pt x="285792" y="41324"/>
                  </a:cubicBezTo>
                  <a:cubicBezTo>
                    <a:pt x="291048" y="34683"/>
                    <a:pt x="297075" y="28658"/>
                    <a:pt x="303697" y="23419"/>
                  </a:cubicBezTo>
                  <a:cubicBezTo>
                    <a:pt x="306511" y="21212"/>
                    <a:pt x="310339" y="20859"/>
                    <a:pt x="313496" y="22497"/>
                  </a:cubicBezTo>
                  <a:lnTo>
                    <a:pt x="336793" y="34656"/>
                  </a:lnTo>
                  <a:cubicBezTo>
                    <a:pt x="338765" y="33743"/>
                    <a:pt x="340783" y="32911"/>
                    <a:pt x="342837" y="32160"/>
                  </a:cubicBezTo>
                  <a:lnTo>
                    <a:pt x="350717" y="7071"/>
                  </a:lnTo>
                  <a:cubicBezTo>
                    <a:pt x="351785" y="3669"/>
                    <a:pt x="354762" y="1207"/>
                    <a:pt x="358308" y="801"/>
                  </a:cubicBezTo>
                  <a:close/>
                </a:path>
              </a:pathLst>
            </a:custGeom>
            <a:solidFill>
              <a:schemeClr val="bg1"/>
            </a:solidFill>
            <a:ln w="833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0AD85AEB-CBC1-4AE6-ABE2-5DD34B070C27}"/>
                </a:ext>
              </a:extLst>
            </p:cNvPr>
            <p:cNvSpPr/>
            <p:nvPr/>
          </p:nvSpPr>
          <p:spPr>
            <a:xfrm>
              <a:off x="7917878" y="3310890"/>
              <a:ext cx="822293" cy="761509"/>
            </a:xfrm>
            <a:custGeom>
              <a:avLst/>
              <a:gdLst>
                <a:gd name="connsiteX0" fmla="*/ 503216 w 616720"/>
                <a:gd name="connsiteY0" fmla="*/ 412255 h 571132"/>
                <a:gd name="connsiteX1" fmla="*/ 472077 w 616720"/>
                <a:gd name="connsiteY1" fmla="*/ 443394 h 571132"/>
                <a:gd name="connsiteX2" fmla="*/ 503216 w 616720"/>
                <a:gd name="connsiteY2" fmla="*/ 474532 h 571132"/>
                <a:gd name="connsiteX3" fmla="*/ 534354 w 616720"/>
                <a:gd name="connsiteY3" fmla="*/ 443394 h 571132"/>
                <a:gd name="connsiteX4" fmla="*/ 503216 w 616720"/>
                <a:gd name="connsiteY4" fmla="*/ 412255 h 571132"/>
                <a:gd name="connsiteX5" fmla="*/ 503216 w 616720"/>
                <a:gd name="connsiteY5" fmla="*/ 391496 h 571132"/>
                <a:gd name="connsiteX6" fmla="*/ 555113 w 616720"/>
                <a:gd name="connsiteY6" fmla="*/ 443394 h 571132"/>
                <a:gd name="connsiteX7" fmla="*/ 503216 w 616720"/>
                <a:gd name="connsiteY7" fmla="*/ 495291 h 571132"/>
                <a:gd name="connsiteX8" fmla="*/ 451318 w 616720"/>
                <a:gd name="connsiteY8" fmla="*/ 443394 h 571132"/>
                <a:gd name="connsiteX9" fmla="*/ 503216 w 616720"/>
                <a:gd name="connsiteY9" fmla="*/ 391496 h 571132"/>
                <a:gd name="connsiteX10" fmla="*/ 137050 w 616720"/>
                <a:gd name="connsiteY10" fmla="*/ 379801 h 571132"/>
                <a:gd name="connsiteX11" fmla="*/ 25026 w 616720"/>
                <a:gd name="connsiteY11" fmla="*/ 517665 h 571132"/>
                <a:gd name="connsiteX12" fmla="*/ 60715 w 616720"/>
                <a:gd name="connsiteY12" fmla="*/ 546218 h 571132"/>
                <a:gd name="connsiteX13" fmla="*/ 174058 w 616720"/>
                <a:gd name="connsiteY13" fmla="*/ 406723 h 571132"/>
                <a:gd name="connsiteX14" fmla="*/ 478556 w 616720"/>
                <a:gd name="connsiteY14" fmla="*/ 351203 h 571132"/>
                <a:gd name="connsiteX15" fmla="*/ 470183 w 616720"/>
                <a:gd name="connsiteY15" fmla="*/ 354042 h 571132"/>
                <a:gd name="connsiteX16" fmla="*/ 468836 w 616720"/>
                <a:gd name="connsiteY16" fmla="*/ 368861 h 571132"/>
                <a:gd name="connsiteX17" fmla="*/ 463949 w 616720"/>
                <a:gd name="connsiteY17" fmla="*/ 376747 h 571132"/>
                <a:gd name="connsiteX18" fmla="*/ 453590 w 616720"/>
                <a:gd name="connsiteY18" fmla="*/ 384399 h 571132"/>
                <a:gd name="connsiteX19" fmla="*/ 444417 w 616720"/>
                <a:gd name="connsiteY19" fmla="*/ 386731 h 571132"/>
                <a:gd name="connsiteX20" fmla="*/ 430510 w 616720"/>
                <a:gd name="connsiteY20" fmla="*/ 383548 h 571132"/>
                <a:gd name="connsiteX21" fmla="*/ 425107 w 616720"/>
                <a:gd name="connsiteY21" fmla="*/ 391121 h 571132"/>
                <a:gd name="connsiteX22" fmla="*/ 432487 w 616720"/>
                <a:gd name="connsiteY22" fmla="*/ 403852 h 571132"/>
                <a:gd name="connsiteX23" fmla="*/ 433096 w 616720"/>
                <a:gd name="connsiteY23" fmla="*/ 413035 h 571132"/>
                <a:gd name="connsiteX24" fmla="*/ 429183 w 616720"/>
                <a:gd name="connsiteY24" fmla="*/ 425574 h 571132"/>
                <a:gd name="connsiteX25" fmla="*/ 423253 w 616720"/>
                <a:gd name="connsiteY25" fmla="*/ 432771 h 571132"/>
                <a:gd name="connsiteX26" fmla="*/ 410471 w 616720"/>
                <a:gd name="connsiteY26" fmla="*/ 438406 h 571132"/>
                <a:gd name="connsiteX27" fmla="*/ 410471 w 616720"/>
                <a:gd name="connsiteY27" fmla="*/ 448381 h 571132"/>
                <a:gd name="connsiteX28" fmla="*/ 423253 w 616720"/>
                <a:gd name="connsiteY28" fmla="*/ 454018 h 571132"/>
                <a:gd name="connsiteX29" fmla="*/ 429183 w 616720"/>
                <a:gd name="connsiteY29" fmla="*/ 461214 h 571132"/>
                <a:gd name="connsiteX30" fmla="*/ 433096 w 616720"/>
                <a:gd name="connsiteY30" fmla="*/ 473732 h 571132"/>
                <a:gd name="connsiteX31" fmla="*/ 432487 w 616720"/>
                <a:gd name="connsiteY31" fmla="*/ 482925 h 571132"/>
                <a:gd name="connsiteX32" fmla="*/ 425098 w 616720"/>
                <a:gd name="connsiteY32" fmla="*/ 495657 h 571132"/>
                <a:gd name="connsiteX33" fmla="*/ 430512 w 616720"/>
                <a:gd name="connsiteY33" fmla="*/ 503228 h 571132"/>
                <a:gd name="connsiteX34" fmla="*/ 444408 w 616720"/>
                <a:gd name="connsiteY34" fmla="*/ 500046 h 571132"/>
                <a:gd name="connsiteX35" fmla="*/ 453602 w 616720"/>
                <a:gd name="connsiteY35" fmla="*/ 502388 h 571132"/>
                <a:gd name="connsiteX36" fmla="*/ 463951 w 616720"/>
                <a:gd name="connsiteY36" fmla="*/ 510040 h 571132"/>
                <a:gd name="connsiteX37" fmla="*/ 468838 w 616720"/>
                <a:gd name="connsiteY37" fmla="*/ 517926 h 571132"/>
                <a:gd name="connsiteX38" fmla="*/ 470186 w 616720"/>
                <a:gd name="connsiteY38" fmla="*/ 532745 h 571132"/>
                <a:gd name="connsiteX39" fmla="*/ 478559 w 616720"/>
                <a:gd name="connsiteY39" fmla="*/ 535584 h 571132"/>
                <a:gd name="connsiteX40" fmla="*/ 488065 w 616720"/>
                <a:gd name="connsiteY40" fmla="*/ 524545 h 571132"/>
                <a:gd name="connsiteX41" fmla="*/ 495930 w 616720"/>
                <a:gd name="connsiteY41" fmla="*/ 520937 h 571132"/>
                <a:gd name="connsiteX42" fmla="*/ 510506 w 616720"/>
                <a:gd name="connsiteY42" fmla="*/ 520937 h 571132"/>
                <a:gd name="connsiteX43" fmla="*/ 518370 w 616720"/>
                <a:gd name="connsiteY43" fmla="*/ 524545 h 571132"/>
                <a:gd name="connsiteX44" fmla="*/ 527878 w 616720"/>
                <a:gd name="connsiteY44" fmla="*/ 535584 h 571132"/>
                <a:gd name="connsiteX45" fmla="*/ 536251 w 616720"/>
                <a:gd name="connsiteY45" fmla="*/ 532745 h 571132"/>
                <a:gd name="connsiteX46" fmla="*/ 537599 w 616720"/>
                <a:gd name="connsiteY46" fmla="*/ 517926 h 571132"/>
                <a:gd name="connsiteX47" fmla="*/ 542485 w 616720"/>
                <a:gd name="connsiteY47" fmla="*/ 510040 h 571132"/>
                <a:gd name="connsiteX48" fmla="*/ 552844 w 616720"/>
                <a:gd name="connsiteY48" fmla="*/ 502388 h 571132"/>
                <a:gd name="connsiteX49" fmla="*/ 562017 w 616720"/>
                <a:gd name="connsiteY49" fmla="*/ 500056 h 571132"/>
                <a:gd name="connsiteX50" fmla="*/ 575924 w 616720"/>
                <a:gd name="connsiteY50" fmla="*/ 503239 h 571132"/>
                <a:gd name="connsiteX51" fmla="*/ 581336 w 616720"/>
                <a:gd name="connsiteY51" fmla="*/ 495657 h 571132"/>
                <a:gd name="connsiteX52" fmla="*/ 573948 w 616720"/>
                <a:gd name="connsiteY52" fmla="*/ 482925 h 571132"/>
                <a:gd name="connsiteX53" fmla="*/ 573340 w 616720"/>
                <a:gd name="connsiteY53" fmla="*/ 473732 h 571132"/>
                <a:gd name="connsiteX54" fmla="*/ 577252 w 616720"/>
                <a:gd name="connsiteY54" fmla="*/ 461214 h 571132"/>
                <a:gd name="connsiteX55" fmla="*/ 583182 w 616720"/>
                <a:gd name="connsiteY55" fmla="*/ 454018 h 571132"/>
                <a:gd name="connsiteX56" fmla="*/ 595964 w 616720"/>
                <a:gd name="connsiteY56" fmla="*/ 448381 h 571132"/>
                <a:gd name="connsiteX57" fmla="*/ 595964 w 616720"/>
                <a:gd name="connsiteY57" fmla="*/ 438406 h 571132"/>
                <a:gd name="connsiteX58" fmla="*/ 583182 w 616720"/>
                <a:gd name="connsiteY58" fmla="*/ 432771 h 571132"/>
                <a:gd name="connsiteX59" fmla="*/ 577252 w 616720"/>
                <a:gd name="connsiteY59" fmla="*/ 425574 h 571132"/>
                <a:gd name="connsiteX60" fmla="*/ 573340 w 616720"/>
                <a:gd name="connsiteY60" fmla="*/ 413056 h 571132"/>
                <a:gd name="connsiteX61" fmla="*/ 573948 w 616720"/>
                <a:gd name="connsiteY61" fmla="*/ 403862 h 571132"/>
                <a:gd name="connsiteX62" fmla="*/ 581336 w 616720"/>
                <a:gd name="connsiteY62" fmla="*/ 391131 h 571132"/>
                <a:gd name="connsiteX63" fmla="*/ 575924 w 616720"/>
                <a:gd name="connsiteY63" fmla="*/ 383548 h 571132"/>
                <a:gd name="connsiteX64" fmla="*/ 562017 w 616720"/>
                <a:gd name="connsiteY64" fmla="*/ 386731 h 571132"/>
                <a:gd name="connsiteX65" fmla="*/ 552844 w 616720"/>
                <a:gd name="connsiteY65" fmla="*/ 384399 h 571132"/>
                <a:gd name="connsiteX66" fmla="*/ 542485 w 616720"/>
                <a:gd name="connsiteY66" fmla="*/ 376747 h 571132"/>
                <a:gd name="connsiteX67" fmla="*/ 537599 w 616720"/>
                <a:gd name="connsiteY67" fmla="*/ 368861 h 571132"/>
                <a:gd name="connsiteX68" fmla="*/ 536251 w 616720"/>
                <a:gd name="connsiteY68" fmla="*/ 354042 h 571132"/>
                <a:gd name="connsiteX69" fmla="*/ 527878 w 616720"/>
                <a:gd name="connsiteY69" fmla="*/ 351203 h 571132"/>
                <a:gd name="connsiteX70" fmla="*/ 518370 w 616720"/>
                <a:gd name="connsiteY70" fmla="*/ 362242 h 571132"/>
                <a:gd name="connsiteX71" fmla="*/ 510505 w 616720"/>
                <a:gd name="connsiteY71" fmla="*/ 365850 h 571132"/>
                <a:gd name="connsiteX72" fmla="*/ 495929 w 616720"/>
                <a:gd name="connsiteY72" fmla="*/ 365850 h 571132"/>
                <a:gd name="connsiteX73" fmla="*/ 488062 w 616720"/>
                <a:gd name="connsiteY73" fmla="*/ 362242 h 571132"/>
                <a:gd name="connsiteX74" fmla="*/ 480127 w 616720"/>
                <a:gd name="connsiteY74" fmla="*/ 329442 h 571132"/>
                <a:gd name="connsiteX75" fmla="*/ 490121 w 616720"/>
                <a:gd name="connsiteY75" fmla="*/ 332826 h 571132"/>
                <a:gd name="connsiteX76" fmla="*/ 500684 w 616720"/>
                <a:gd name="connsiteY76" fmla="*/ 345091 h 571132"/>
                <a:gd name="connsiteX77" fmla="*/ 505751 w 616720"/>
                <a:gd name="connsiteY77" fmla="*/ 345091 h 571132"/>
                <a:gd name="connsiteX78" fmla="*/ 516313 w 616720"/>
                <a:gd name="connsiteY78" fmla="*/ 332826 h 571132"/>
                <a:gd name="connsiteX79" fmla="*/ 526307 w 616720"/>
                <a:gd name="connsiteY79" fmla="*/ 329442 h 571132"/>
                <a:gd name="connsiteX80" fmla="*/ 550381 w 616720"/>
                <a:gd name="connsiteY80" fmla="*/ 337520 h 571132"/>
                <a:gd name="connsiteX81" fmla="*/ 556361 w 616720"/>
                <a:gd name="connsiteY81" fmla="*/ 345994 h 571132"/>
                <a:gd name="connsiteX82" fmla="*/ 557820 w 616720"/>
                <a:gd name="connsiteY82" fmla="*/ 361989 h 571132"/>
                <a:gd name="connsiteX83" fmla="*/ 562383 w 616720"/>
                <a:gd name="connsiteY83" fmla="*/ 365354 h 571132"/>
                <a:gd name="connsiteX84" fmla="*/ 577465 w 616720"/>
                <a:gd name="connsiteY84" fmla="*/ 361909 h 571132"/>
                <a:gd name="connsiteX85" fmla="*/ 587510 w 616720"/>
                <a:gd name="connsiteY85" fmla="*/ 365101 h 571132"/>
                <a:gd name="connsiteX86" fmla="*/ 602452 w 616720"/>
                <a:gd name="connsiteY86" fmla="*/ 385972 h 571132"/>
                <a:gd name="connsiteX87" fmla="*/ 602370 w 616720"/>
                <a:gd name="connsiteY87" fmla="*/ 396250 h 571132"/>
                <a:gd name="connsiteX88" fmla="*/ 594383 w 616720"/>
                <a:gd name="connsiteY88" fmla="*/ 410014 h 571132"/>
                <a:gd name="connsiteX89" fmla="*/ 596196 w 616720"/>
                <a:gd name="connsiteY89" fmla="*/ 415823 h 571132"/>
                <a:gd name="connsiteX90" fmla="*/ 610529 w 616720"/>
                <a:gd name="connsiteY90" fmla="*/ 422149 h 571132"/>
                <a:gd name="connsiteX91" fmla="*/ 616720 w 616720"/>
                <a:gd name="connsiteY91" fmla="*/ 431645 h 571132"/>
                <a:gd name="connsiteX92" fmla="*/ 616720 w 616720"/>
                <a:gd name="connsiteY92" fmla="*/ 455142 h 571132"/>
                <a:gd name="connsiteX93" fmla="*/ 610527 w 616720"/>
                <a:gd name="connsiteY93" fmla="*/ 464640 h 571132"/>
                <a:gd name="connsiteX94" fmla="*/ 596195 w 616720"/>
                <a:gd name="connsiteY94" fmla="*/ 470964 h 571132"/>
                <a:gd name="connsiteX95" fmla="*/ 594381 w 616720"/>
                <a:gd name="connsiteY95" fmla="*/ 476773 h 571132"/>
                <a:gd name="connsiteX96" fmla="*/ 602369 w 616720"/>
                <a:gd name="connsiteY96" fmla="*/ 490537 h 571132"/>
                <a:gd name="connsiteX97" fmla="*/ 602449 w 616720"/>
                <a:gd name="connsiteY97" fmla="*/ 500815 h 571132"/>
                <a:gd name="connsiteX98" fmla="*/ 587509 w 616720"/>
                <a:gd name="connsiteY98" fmla="*/ 521686 h 571132"/>
                <a:gd name="connsiteX99" fmla="*/ 577464 w 616720"/>
                <a:gd name="connsiteY99" fmla="*/ 524879 h 571132"/>
                <a:gd name="connsiteX100" fmla="*/ 562382 w 616720"/>
                <a:gd name="connsiteY100" fmla="*/ 521433 h 571132"/>
                <a:gd name="connsiteX101" fmla="*/ 557819 w 616720"/>
                <a:gd name="connsiteY101" fmla="*/ 524798 h 571132"/>
                <a:gd name="connsiteX102" fmla="*/ 556360 w 616720"/>
                <a:gd name="connsiteY102" fmla="*/ 540793 h 571132"/>
                <a:gd name="connsiteX103" fmla="*/ 550379 w 616720"/>
                <a:gd name="connsiteY103" fmla="*/ 549267 h 571132"/>
                <a:gd name="connsiteX104" fmla="*/ 526306 w 616720"/>
                <a:gd name="connsiteY104" fmla="*/ 557347 h 571132"/>
                <a:gd name="connsiteX105" fmla="*/ 524177 w 616720"/>
                <a:gd name="connsiteY105" fmla="*/ 557570 h 571132"/>
                <a:gd name="connsiteX106" fmla="*/ 516310 w 616720"/>
                <a:gd name="connsiteY106" fmla="*/ 553961 h 571132"/>
                <a:gd name="connsiteX107" fmla="*/ 505748 w 616720"/>
                <a:gd name="connsiteY107" fmla="*/ 541696 h 571132"/>
                <a:gd name="connsiteX108" fmla="*/ 500681 w 616720"/>
                <a:gd name="connsiteY108" fmla="*/ 541696 h 571132"/>
                <a:gd name="connsiteX109" fmla="*/ 490119 w 616720"/>
                <a:gd name="connsiteY109" fmla="*/ 553961 h 571132"/>
                <a:gd name="connsiteX110" fmla="*/ 480124 w 616720"/>
                <a:gd name="connsiteY110" fmla="*/ 557347 h 571132"/>
                <a:gd name="connsiteX111" fmla="*/ 456050 w 616720"/>
                <a:gd name="connsiteY111" fmla="*/ 549267 h 571132"/>
                <a:gd name="connsiteX112" fmla="*/ 450071 w 616720"/>
                <a:gd name="connsiteY112" fmla="*/ 540793 h 571132"/>
                <a:gd name="connsiteX113" fmla="*/ 448611 w 616720"/>
                <a:gd name="connsiteY113" fmla="*/ 524798 h 571132"/>
                <a:gd name="connsiteX114" fmla="*/ 444040 w 616720"/>
                <a:gd name="connsiteY114" fmla="*/ 521423 h 571132"/>
                <a:gd name="connsiteX115" fmla="*/ 428978 w 616720"/>
                <a:gd name="connsiteY115" fmla="*/ 524879 h 571132"/>
                <a:gd name="connsiteX116" fmla="*/ 418923 w 616720"/>
                <a:gd name="connsiteY116" fmla="*/ 521686 h 571132"/>
                <a:gd name="connsiteX117" fmla="*/ 403981 w 616720"/>
                <a:gd name="connsiteY117" fmla="*/ 500815 h 571132"/>
                <a:gd name="connsiteX118" fmla="*/ 404063 w 616720"/>
                <a:gd name="connsiteY118" fmla="*/ 490537 h 571132"/>
                <a:gd name="connsiteX119" fmla="*/ 412050 w 616720"/>
                <a:gd name="connsiteY119" fmla="*/ 476772 h 571132"/>
                <a:gd name="connsiteX120" fmla="*/ 410237 w 616720"/>
                <a:gd name="connsiteY120" fmla="*/ 470963 h 571132"/>
                <a:gd name="connsiteX121" fmla="*/ 395904 w 616720"/>
                <a:gd name="connsiteY121" fmla="*/ 464638 h 571132"/>
                <a:gd name="connsiteX122" fmla="*/ 389711 w 616720"/>
                <a:gd name="connsiteY122" fmla="*/ 455141 h 571132"/>
                <a:gd name="connsiteX123" fmla="*/ 389711 w 616720"/>
                <a:gd name="connsiteY123" fmla="*/ 431645 h 571132"/>
                <a:gd name="connsiteX124" fmla="*/ 395904 w 616720"/>
                <a:gd name="connsiteY124" fmla="*/ 422149 h 571132"/>
                <a:gd name="connsiteX125" fmla="*/ 410237 w 616720"/>
                <a:gd name="connsiteY125" fmla="*/ 415823 h 571132"/>
                <a:gd name="connsiteX126" fmla="*/ 412050 w 616720"/>
                <a:gd name="connsiteY126" fmla="*/ 410005 h 571132"/>
                <a:gd name="connsiteX127" fmla="*/ 404073 w 616720"/>
                <a:gd name="connsiteY127" fmla="*/ 396250 h 571132"/>
                <a:gd name="connsiteX128" fmla="*/ 403993 w 616720"/>
                <a:gd name="connsiteY128" fmla="*/ 385982 h 571132"/>
                <a:gd name="connsiteX129" fmla="*/ 418924 w 616720"/>
                <a:gd name="connsiteY129" fmla="*/ 365101 h 571132"/>
                <a:gd name="connsiteX130" fmla="*/ 428969 w 616720"/>
                <a:gd name="connsiteY130" fmla="*/ 361909 h 571132"/>
                <a:gd name="connsiteX131" fmla="*/ 444051 w 616720"/>
                <a:gd name="connsiteY131" fmla="*/ 365354 h 571132"/>
                <a:gd name="connsiteX132" fmla="*/ 448614 w 616720"/>
                <a:gd name="connsiteY132" fmla="*/ 361989 h 571132"/>
                <a:gd name="connsiteX133" fmla="*/ 450073 w 616720"/>
                <a:gd name="connsiteY133" fmla="*/ 345994 h 571132"/>
                <a:gd name="connsiteX134" fmla="*/ 456052 w 616720"/>
                <a:gd name="connsiteY134" fmla="*/ 337520 h 571132"/>
                <a:gd name="connsiteX135" fmla="*/ 480127 w 616720"/>
                <a:gd name="connsiteY135" fmla="*/ 329442 h 571132"/>
                <a:gd name="connsiteX136" fmla="*/ 135863 w 616720"/>
                <a:gd name="connsiteY136" fmla="*/ 319315 h 571132"/>
                <a:gd name="connsiteX137" fmla="*/ 118684 w 616720"/>
                <a:gd name="connsiteY137" fmla="*/ 340778 h 571132"/>
                <a:gd name="connsiteX138" fmla="*/ 193940 w 616720"/>
                <a:gd name="connsiteY138" fmla="*/ 395516 h 571132"/>
                <a:gd name="connsiteX139" fmla="*/ 195120 w 616720"/>
                <a:gd name="connsiteY139" fmla="*/ 396375 h 571132"/>
                <a:gd name="connsiteX140" fmla="*/ 216052 w 616720"/>
                <a:gd name="connsiteY140" fmla="*/ 411598 h 571132"/>
                <a:gd name="connsiteX141" fmla="*/ 235892 w 616720"/>
                <a:gd name="connsiteY141" fmla="*/ 386793 h 571132"/>
                <a:gd name="connsiteX142" fmla="*/ 135863 w 616720"/>
                <a:gd name="connsiteY142" fmla="*/ 319315 h 571132"/>
                <a:gd name="connsiteX143" fmla="*/ 404693 w 616720"/>
                <a:gd name="connsiteY143" fmla="*/ 125717 h 571132"/>
                <a:gd name="connsiteX144" fmla="*/ 343262 w 616720"/>
                <a:gd name="connsiteY144" fmla="*/ 187148 h 571132"/>
                <a:gd name="connsiteX145" fmla="*/ 404693 w 616720"/>
                <a:gd name="connsiteY145" fmla="*/ 269227 h 571132"/>
                <a:gd name="connsiteX146" fmla="*/ 404693 w 616720"/>
                <a:gd name="connsiteY146" fmla="*/ 125717 h 571132"/>
                <a:gd name="connsiteX147" fmla="*/ 489415 w 616720"/>
                <a:gd name="connsiteY147" fmla="*/ 115621 h 571132"/>
                <a:gd name="connsiteX148" fmla="*/ 475829 w 616720"/>
                <a:gd name="connsiteY148" fmla="*/ 130374 h 571132"/>
                <a:gd name="connsiteX149" fmla="*/ 475894 w 616720"/>
                <a:gd name="connsiteY149" fmla="*/ 264393 h 571132"/>
                <a:gd name="connsiteX150" fmla="*/ 489445 w 616720"/>
                <a:gd name="connsiteY150" fmla="*/ 279311 h 571132"/>
                <a:gd name="connsiteX151" fmla="*/ 495821 w 616720"/>
                <a:gd name="connsiteY151" fmla="*/ 277151 h 571132"/>
                <a:gd name="connsiteX152" fmla="*/ 496986 w 616720"/>
                <a:gd name="connsiteY152" fmla="*/ 264451 h 571132"/>
                <a:gd name="connsiteX153" fmla="*/ 501852 w 616720"/>
                <a:gd name="connsiteY153" fmla="*/ 256584 h 571132"/>
                <a:gd name="connsiteX154" fmla="*/ 511055 w 616720"/>
                <a:gd name="connsiteY154" fmla="*/ 249774 h 571132"/>
                <a:gd name="connsiteX155" fmla="*/ 520239 w 616720"/>
                <a:gd name="connsiteY155" fmla="*/ 247452 h 571132"/>
                <a:gd name="connsiteX156" fmla="*/ 532098 w 616720"/>
                <a:gd name="connsiteY156" fmla="*/ 250169 h 571132"/>
                <a:gd name="connsiteX157" fmla="*/ 536164 w 616720"/>
                <a:gd name="connsiteY157" fmla="*/ 244482 h 571132"/>
                <a:gd name="connsiteX158" fmla="*/ 529838 w 616720"/>
                <a:gd name="connsiteY158" fmla="*/ 233576 h 571132"/>
                <a:gd name="connsiteX159" fmla="*/ 529230 w 616720"/>
                <a:gd name="connsiteY159" fmla="*/ 224403 h 571132"/>
                <a:gd name="connsiteX160" fmla="*/ 532696 w 616720"/>
                <a:gd name="connsiteY160" fmla="*/ 213274 h 571132"/>
                <a:gd name="connsiteX161" fmla="*/ 538626 w 616720"/>
                <a:gd name="connsiteY161" fmla="*/ 206076 h 571132"/>
                <a:gd name="connsiteX162" fmla="*/ 549503 w 616720"/>
                <a:gd name="connsiteY162" fmla="*/ 201283 h 571132"/>
                <a:gd name="connsiteX163" fmla="*/ 549504 w 616720"/>
                <a:gd name="connsiteY163" fmla="*/ 201283 h 571132"/>
                <a:gd name="connsiteX164" fmla="*/ 549504 w 616720"/>
                <a:gd name="connsiteY164" fmla="*/ 193657 h 571132"/>
                <a:gd name="connsiteX165" fmla="*/ 538627 w 616720"/>
                <a:gd name="connsiteY165" fmla="*/ 188864 h 571132"/>
                <a:gd name="connsiteX166" fmla="*/ 532698 w 616720"/>
                <a:gd name="connsiteY166" fmla="*/ 181667 h 571132"/>
                <a:gd name="connsiteX167" fmla="*/ 529231 w 616720"/>
                <a:gd name="connsiteY167" fmla="*/ 170537 h 571132"/>
                <a:gd name="connsiteX168" fmla="*/ 529840 w 616720"/>
                <a:gd name="connsiteY168" fmla="*/ 161364 h 571132"/>
                <a:gd name="connsiteX169" fmla="*/ 536165 w 616720"/>
                <a:gd name="connsiteY169" fmla="*/ 150458 h 571132"/>
                <a:gd name="connsiteX170" fmla="*/ 532100 w 616720"/>
                <a:gd name="connsiteY170" fmla="*/ 144772 h 571132"/>
                <a:gd name="connsiteX171" fmla="*/ 520240 w 616720"/>
                <a:gd name="connsiteY171" fmla="*/ 147489 h 571132"/>
                <a:gd name="connsiteX172" fmla="*/ 511057 w 616720"/>
                <a:gd name="connsiteY172" fmla="*/ 145168 h 571132"/>
                <a:gd name="connsiteX173" fmla="*/ 501864 w 616720"/>
                <a:gd name="connsiteY173" fmla="*/ 138366 h 571132"/>
                <a:gd name="connsiteX174" fmla="*/ 496988 w 616720"/>
                <a:gd name="connsiteY174" fmla="*/ 130490 h 571132"/>
                <a:gd name="connsiteX175" fmla="*/ 495823 w 616720"/>
                <a:gd name="connsiteY175" fmla="*/ 117790 h 571132"/>
                <a:gd name="connsiteX176" fmla="*/ 489415 w 616720"/>
                <a:gd name="connsiteY176" fmla="*/ 115621 h 571132"/>
                <a:gd name="connsiteX177" fmla="*/ 353159 w 616720"/>
                <a:gd name="connsiteY177" fmla="*/ 78017 h 571132"/>
                <a:gd name="connsiteX178" fmla="*/ 340067 w 616720"/>
                <a:gd name="connsiteY178" fmla="*/ 85589 h 571132"/>
                <a:gd name="connsiteX179" fmla="*/ 344557 w 616720"/>
                <a:gd name="connsiteY179" fmla="*/ 99254 h 571132"/>
                <a:gd name="connsiteX180" fmla="*/ 341415 w 616720"/>
                <a:gd name="connsiteY180" fmla="*/ 110414 h 571132"/>
                <a:gd name="connsiteX181" fmla="*/ 328137 w 616720"/>
                <a:gd name="connsiteY181" fmla="*/ 123702 h 571132"/>
                <a:gd name="connsiteX182" fmla="*/ 316968 w 616720"/>
                <a:gd name="connsiteY182" fmla="*/ 126855 h 571132"/>
                <a:gd name="connsiteX183" fmla="*/ 303253 w 616720"/>
                <a:gd name="connsiteY183" fmla="*/ 122344 h 571132"/>
                <a:gd name="connsiteX184" fmla="*/ 294080 w 616720"/>
                <a:gd name="connsiteY184" fmla="*/ 137973 h 571132"/>
                <a:gd name="connsiteX185" fmla="*/ 304966 w 616720"/>
                <a:gd name="connsiteY185" fmla="*/ 147724 h 571132"/>
                <a:gd name="connsiteX186" fmla="*/ 307815 w 616720"/>
                <a:gd name="connsiteY186" fmla="*/ 158965 h 571132"/>
                <a:gd name="connsiteX187" fmla="*/ 302939 w 616720"/>
                <a:gd name="connsiteY187" fmla="*/ 177059 h 571132"/>
                <a:gd name="connsiteX188" fmla="*/ 294859 w 616720"/>
                <a:gd name="connsiteY188" fmla="*/ 185371 h 571132"/>
                <a:gd name="connsiteX189" fmla="*/ 281429 w 616720"/>
                <a:gd name="connsiteY189" fmla="*/ 188199 h 571132"/>
                <a:gd name="connsiteX190" fmla="*/ 281429 w 616720"/>
                <a:gd name="connsiteY190" fmla="*/ 206749 h 571132"/>
                <a:gd name="connsiteX191" fmla="*/ 294859 w 616720"/>
                <a:gd name="connsiteY191" fmla="*/ 209577 h 571132"/>
                <a:gd name="connsiteX192" fmla="*/ 302939 w 616720"/>
                <a:gd name="connsiteY192" fmla="*/ 217888 h 571132"/>
                <a:gd name="connsiteX193" fmla="*/ 307815 w 616720"/>
                <a:gd name="connsiteY193" fmla="*/ 235962 h 571132"/>
                <a:gd name="connsiteX194" fmla="*/ 304966 w 616720"/>
                <a:gd name="connsiteY194" fmla="*/ 247213 h 571132"/>
                <a:gd name="connsiteX195" fmla="*/ 294080 w 616720"/>
                <a:gd name="connsiteY195" fmla="*/ 256974 h 571132"/>
                <a:gd name="connsiteX196" fmla="*/ 303253 w 616720"/>
                <a:gd name="connsiteY196" fmla="*/ 272604 h 571132"/>
                <a:gd name="connsiteX197" fmla="*/ 316958 w 616720"/>
                <a:gd name="connsiteY197" fmla="*/ 268093 h 571132"/>
                <a:gd name="connsiteX198" fmla="*/ 328119 w 616720"/>
                <a:gd name="connsiteY198" fmla="*/ 271235 h 571132"/>
                <a:gd name="connsiteX199" fmla="*/ 341407 w 616720"/>
                <a:gd name="connsiteY199" fmla="*/ 284513 h 571132"/>
                <a:gd name="connsiteX200" fmla="*/ 344559 w 616720"/>
                <a:gd name="connsiteY200" fmla="*/ 295682 h 571132"/>
                <a:gd name="connsiteX201" fmla="*/ 340069 w 616720"/>
                <a:gd name="connsiteY201" fmla="*/ 309346 h 571132"/>
                <a:gd name="connsiteX202" fmla="*/ 353164 w 616720"/>
                <a:gd name="connsiteY202" fmla="*/ 316928 h 571132"/>
                <a:gd name="connsiteX203" fmla="*/ 390811 w 616720"/>
                <a:gd name="connsiteY203" fmla="*/ 287537 h 571132"/>
                <a:gd name="connsiteX204" fmla="*/ 324959 w 616720"/>
                <a:gd name="connsiteY204" fmla="*/ 221684 h 571132"/>
                <a:gd name="connsiteX205" fmla="*/ 390811 w 616720"/>
                <a:gd name="connsiteY205" fmla="*/ 107411 h 571132"/>
                <a:gd name="connsiteX206" fmla="*/ 353159 w 616720"/>
                <a:gd name="connsiteY206" fmla="*/ 78017 h 571132"/>
                <a:gd name="connsiteX207" fmla="*/ 290625 w 616720"/>
                <a:gd name="connsiteY207" fmla="*/ 62538 h 571132"/>
                <a:gd name="connsiteX208" fmla="*/ 252107 w 616720"/>
                <a:gd name="connsiteY208" fmla="*/ 68146 h 571132"/>
                <a:gd name="connsiteX209" fmla="*/ 161301 w 616720"/>
                <a:gd name="connsiteY209" fmla="*/ 235939 h 571132"/>
                <a:gd name="connsiteX210" fmla="*/ 329092 w 616720"/>
                <a:gd name="connsiteY210" fmla="*/ 326747 h 571132"/>
                <a:gd name="connsiteX211" fmla="*/ 321560 w 616720"/>
                <a:gd name="connsiteY211" fmla="*/ 321674 h 571132"/>
                <a:gd name="connsiteX212" fmla="*/ 317952 w 616720"/>
                <a:gd name="connsiteY212" fmla="*/ 310149 h 571132"/>
                <a:gd name="connsiteX213" fmla="*/ 322716 w 616720"/>
                <a:gd name="connsiteY213" fmla="*/ 295654 h 571132"/>
                <a:gd name="connsiteX214" fmla="*/ 317000 w 616720"/>
                <a:gd name="connsiteY214" fmla="*/ 289938 h 571132"/>
                <a:gd name="connsiteX215" fmla="*/ 302494 w 616720"/>
                <a:gd name="connsiteY215" fmla="*/ 294701 h 571132"/>
                <a:gd name="connsiteX216" fmla="*/ 290959 w 616720"/>
                <a:gd name="connsiteY216" fmla="*/ 291083 h 571132"/>
                <a:gd name="connsiteX217" fmla="*/ 271893 w 616720"/>
                <a:gd name="connsiteY217" fmla="*/ 258424 h 571132"/>
                <a:gd name="connsiteX218" fmla="*/ 274517 w 616720"/>
                <a:gd name="connsiteY218" fmla="*/ 246626 h 571132"/>
                <a:gd name="connsiteX219" fmla="*/ 286054 w 616720"/>
                <a:gd name="connsiteY219" fmla="*/ 236286 h 571132"/>
                <a:gd name="connsiteX220" fmla="*/ 283955 w 616720"/>
                <a:gd name="connsiteY220" fmla="*/ 228491 h 571132"/>
                <a:gd name="connsiteX221" fmla="*/ 268913 w 616720"/>
                <a:gd name="connsiteY221" fmla="*/ 225328 h 571132"/>
                <a:gd name="connsiteX222" fmla="*/ 260671 w 616720"/>
                <a:gd name="connsiteY222" fmla="*/ 215172 h 571132"/>
                <a:gd name="connsiteX223" fmla="*/ 260671 w 616720"/>
                <a:gd name="connsiteY223" fmla="*/ 179776 h 571132"/>
                <a:gd name="connsiteX224" fmla="*/ 268913 w 616720"/>
                <a:gd name="connsiteY224" fmla="*/ 169619 h 571132"/>
                <a:gd name="connsiteX225" fmla="*/ 283955 w 616720"/>
                <a:gd name="connsiteY225" fmla="*/ 166456 h 571132"/>
                <a:gd name="connsiteX226" fmla="*/ 286064 w 616720"/>
                <a:gd name="connsiteY226" fmla="*/ 158661 h 571132"/>
                <a:gd name="connsiteX227" fmla="*/ 274518 w 616720"/>
                <a:gd name="connsiteY227" fmla="*/ 148322 h 571132"/>
                <a:gd name="connsiteX228" fmla="*/ 271894 w 616720"/>
                <a:gd name="connsiteY228" fmla="*/ 136523 h 571132"/>
                <a:gd name="connsiteX229" fmla="*/ 290981 w 616720"/>
                <a:gd name="connsiteY229" fmla="*/ 103854 h 571132"/>
                <a:gd name="connsiteX230" fmla="*/ 302506 w 616720"/>
                <a:gd name="connsiteY230" fmla="*/ 100246 h 571132"/>
                <a:gd name="connsiteX231" fmla="*/ 317001 w 616720"/>
                <a:gd name="connsiteY231" fmla="*/ 105010 h 571132"/>
                <a:gd name="connsiteX232" fmla="*/ 322717 w 616720"/>
                <a:gd name="connsiteY232" fmla="*/ 99294 h 571132"/>
                <a:gd name="connsiteX233" fmla="*/ 317953 w 616720"/>
                <a:gd name="connsiteY233" fmla="*/ 84788 h 571132"/>
                <a:gd name="connsiteX234" fmla="*/ 321572 w 616720"/>
                <a:gd name="connsiteY234" fmla="*/ 73252 h 571132"/>
                <a:gd name="connsiteX235" fmla="*/ 329088 w 616720"/>
                <a:gd name="connsiteY235" fmla="*/ 68198 h 571132"/>
                <a:gd name="connsiteX236" fmla="*/ 290625 w 616720"/>
                <a:gd name="connsiteY236" fmla="*/ 62538 h 571132"/>
                <a:gd name="connsiteX237" fmla="*/ 290625 w 616720"/>
                <a:gd name="connsiteY237" fmla="*/ 41779 h 571132"/>
                <a:gd name="connsiteX238" fmla="*/ 446317 w 616720"/>
                <a:gd name="connsiteY238" fmla="*/ 197472 h 571132"/>
                <a:gd name="connsiteX239" fmla="*/ 290625 w 616720"/>
                <a:gd name="connsiteY239" fmla="*/ 353164 h 571132"/>
                <a:gd name="connsiteX240" fmla="*/ 134933 w 616720"/>
                <a:gd name="connsiteY240" fmla="*/ 197472 h 571132"/>
                <a:gd name="connsiteX241" fmla="*/ 290625 w 616720"/>
                <a:gd name="connsiteY241" fmla="*/ 41779 h 571132"/>
                <a:gd name="connsiteX242" fmla="*/ 290624 w 616720"/>
                <a:gd name="connsiteY242" fmla="*/ 21020 h 571132"/>
                <a:gd name="connsiteX243" fmla="*/ 114173 w 616720"/>
                <a:gd name="connsiteY243" fmla="*/ 197471 h 571132"/>
                <a:gd name="connsiteX244" fmla="*/ 290624 w 616720"/>
                <a:gd name="connsiteY244" fmla="*/ 373923 h 571132"/>
                <a:gd name="connsiteX245" fmla="*/ 467075 w 616720"/>
                <a:gd name="connsiteY245" fmla="*/ 197471 h 571132"/>
                <a:gd name="connsiteX246" fmla="*/ 290624 w 616720"/>
                <a:gd name="connsiteY246" fmla="*/ 21020 h 571132"/>
                <a:gd name="connsiteX247" fmla="*/ 278416 w 616720"/>
                <a:gd name="connsiteY247" fmla="*/ 358 h 571132"/>
                <a:gd name="connsiteX248" fmla="*/ 466860 w 616720"/>
                <a:gd name="connsiteY248" fmla="*/ 109481 h 571132"/>
                <a:gd name="connsiteX249" fmla="*/ 478316 w 616720"/>
                <a:gd name="connsiteY249" fmla="*/ 97032 h 571132"/>
                <a:gd name="connsiteX250" fmla="*/ 488077 w 616720"/>
                <a:gd name="connsiteY250" fmla="*/ 93901 h 571132"/>
                <a:gd name="connsiteX251" fmla="*/ 509960 w 616720"/>
                <a:gd name="connsiteY251" fmla="*/ 101249 h 571132"/>
                <a:gd name="connsiteX252" fmla="*/ 515932 w 616720"/>
                <a:gd name="connsiteY252" fmla="*/ 109712 h 571132"/>
                <a:gd name="connsiteX253" fmla="*/ 517208 w 616720"/>
                <a:gd name="connsiteY253" fmla="*/ 123630 h 571132"/>
                <a:gd name="connsiteX254" fmla="*/ 520584 w 616720"/>
                <a:gd name="connsiteY254" fmla="*/ 126113 h 571132"/>
                <a:gd name="connsiteX255" fmla="*/ 533660 w 616720"/>
                <a:gd name="connsiteY255" fmla="*/ 123122 h 571132"/>
                <a:gd name="connsiteX256" fmla="*/ 543726 w 616720"/>
                <a:gd name="connsiteY256" fmla="*/ 126326 h 571132"/>
                <a:gd name="connsiteX257" fmla="*/ 557287 w 616720"/>
                <a:gd name="connsiteY257" fmla="*/ 145291 h 571132"/>
                <a:gd name="connsiteX258" fmla="*/ 557206 w 616720"/>
                <a:gd name="connsiteY258" fmla="*/ 155559 h 571132"/>
                <a:gd name="connsiteX259" fmla="*/ 550261 w 616720"/>
                <a:gd name="connsiteY259" fmla="*/ 167530 h 571132"/>
                <a:gd name="connsiteX260" fmla="*/ 551620 w 616720"/>
                <a:gd name="connsiteY260" fmla="*/ 171909 h 571132"/>
                <a:gd name="connsiteX261" fmla="*/ 564068 w 616720"/>
                <a:gd name="connsiteY261" fmla="*/ 177403 h 571132"/>
                <a:gd name="connsiteX262" fmla="*/ 570260 w 616720"/>
                <a:gd name="connsiteY262" fmla="*/ 186899 h 571132"/>
                <a:gd name="connsiteX263" fmla="*/ 570260 w 616720"/>
                <a:gd name="connsiteY263" fmla="*/ 208043 h 571132"/>
                <a:gd name="connsiteX264" fmla="*/ 564068 w 616720"/>
                <a:gd name="connsiteY264" fmla="*/ 217540 h 571132"/>
                <a:gd name="connsiteX265" fmla="*/ 551620 w 616720"/>
                <a:gd name="connsiteY265" fmla="*/ 223033 h 571132"/>
                <a:gd name="connsiteX266" fmla="*/ 550261 w 616720"/>
                <a:gd name="connsiteY266" fmla="*/ 227413 h 571132"/>
                <a:gd name="connsiteX267" fmla="*/ 557206 w 616720"/>
                <a:gd name="connsiteY267" fmla="*/ 239384 h 571132"/>
                <a:gd name="connsiteX268" fmla="*/ 557277 w 616720"/>
                <a:gd name="connsiteY268" fmla="*/ 249662 h 571132"/>
                <a:gd name="connsiteX269" fmla="*/ 543726 w 616720"/>
                <a:gd name="connsiteY269" fmla="*/ 268617 h 571132"/>
                <a:gd name="connsiteX270" fmla="*/ 533660 w 616720"/>
                <a:gd name="connsiteY270" fmla="*/ 271820 h 571132"/>
                <a:gd name="connsiteX271" fmla="*/ 520573 w 616720"/>
                <a:gd name="connsiteY271" fmla="*/ 268829 h 571132"/>
                <a:gd name="connsiteX272" fmla="*/ 517208 w 616720"/>
                <a:gd name="connsiteY272" fmla="*/ 271312 h 571132"/>
                <a:gd name="connsiteX273" fmla="*/ 515932 w 616720"/>
                <a:gd name="connsiteY273" fmla="*/ 285229 h 571132"/>
                <a:gd name="connsiteX274" fmla="*/ 509960 w 616720"/>
                <a:gd name="connsiteY274" fmla="*/ 293693 h 571132"/>
                <a:gd name="connsiteX275" fmla="*/ 488066 w 616720"/>
                <a:gd name="connsiteY275" fmla="*/ 301042 h 571132"/>
                <a:gd name="connsiteX276" fmla="*/ 485937 w 616720"/>
                <a:gd name="connsiteY276" fmla="*/ 301265 h 571132"/>
                <a:gd name="connsiteX277" fmla="*/ 478254 w 616720"/>
                <a:gd name="connsiteY277" fmla="*/ 297869 h 571132"/>
                <a:gd name="connsiteX278" fmla="*/ 466900 w 616720"/>
                <a:gd name="connsiteY278" fmla="*/ 285375 h 571132"/>
                <a:gd name="connsiteX279" fmla="*/ 258462 w 616720"/>
                <a:gd name="connsiteY279" fmla="*/ 391820 h 571132"/>
                <a:gd name="connsiteX280" fmla="*/ 226076 w 616720"/>
                <a:gd name="connsiteY280" fmla="*/ 432307 h 571132"/>
                <a:gd name="connsiteX281" fmla="*/ 211865 w 616720"/>
                <a:gd name="connsiteY281" fmla="*/ 434213 h 571132"/>
                <a:gd name="connsiteX282" fmla="*/ 190876 w 616720"/>
                <a:gd name="connsiteY282" fmla="*/ 418947 h 571132"/>
                <a:gd name="connsiteX283" fmla="*/ 70333 w 616720"/>
                <a:gd name="connsiteY283" fmla="*/ 567301 h 571132"/>
                <a:gd name="connsiteX284" fmla="*/ 55788 w 616720"/>
                <a:gd name="connsiteY284" fmla="*/ 568862 h 571132"/>
                <a:gd name="connsiteX285" fmla="*/ 3891 w 616720"/>
                <a:gd name="connsiteY285" fmla="*/ 527344 h 571132"/>
                <a:gd name="connsiteX286" fmla="*/ 3853 w 616720"/>
                <a:gd name="connsiteY286" fmla="*/ 527313 h 571132"/>
                <a:gd name="connsiteX287" fmla="*/ 2320 w 616720"/>
                <a:gd name="connsiteY287" fmla="*/ 512687 h 571132"/>
                <a:gd name="connsiteX288" fmla="*/ 120234 w 616720"/>
                <a:gd name="connsiteY288" fmla="*/ 367570 h 571132"/>
                <a:gd name="connsiteX289" fmla="*/ 97692 w 616720"/>
                <a:gd name="connsiteY289" fmla="*/ 351176 h 571132"/>
                <a:gd name="connsiteX290" fmla="*/ 93505 w 616720"/>
                <a:gd name="connsiteY290" fmla="*/ 344163 h 571132"/>
                <a:gd name="connsiteX291" fmla="*/ 95684 w 616720"/>
                <a:gd name="connsiteY291" fmla="*/ 336298 h 571132"/>
                <a:gd name="connsiteX292" fmla="*/ 123451 w 616720"/>
                <a:gd name="connsiteY292" fmla="*/ 301592 h 571132"/>
                <a:gd name="connsiteX293" fmla="*/ 113934 w 616720"/>
                <a:gd name="connsiteY293" fmla="*/ 284580 h 571132"/>
                <a:gd name="connsiteX294" fmla="*/ 202849 w 616720"/>
                <a:gd name="connsiteY294" fmla="*/ 20568 h 571132"/>
                <a:gd name="connsiteX295" fmla="*/ 278416 w 616720"/>
                <a:gd name="connsiteY295" fmla="*/ 358 h 57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</a:cxnLst>
              <a:rect l="l" t="t" r="r" b="b"/>
              <a:pathLst>
                <a:path w="616720" h="571132">
                  <a:moveTo>
                    <a:pt x="503216" y="412255"/>
                  </a:moveTo>
                  <a:cubicBezTo>
                    <a:pt x="486018" y="412255"/>
                    <a:pt x="472077" y="426196"/>
                    <a:pt x="472077" y="443394"/>
                  </a:cubicBezTo>
                  <a:cubicBezTo>
                    <a:pt x="472077" y="460592"/>
                    <a:pt x="486018" y="474532"/>
                    <a:pt x="503216" y="474532"/>
                  </a:cubicBezTo>
                  <a:cubicBezTo>
                    <a:pt x="520406" y="474514"/>
                    <a:pt x="534335" y="460584"/>
                    <a:pt x="534354" y="443394"/>
                  </a:cubicBezTo>
                  <a:cubicBezTo>
                    <a:pt x="534354" y="426196"/>
                    <a:pt x="520414" y="412255"/>
                    <a:pt x="503216" y="412255"/>
                  </a:cubicBezTo>
                  <a:close/>
                  <a:moveTo>
                    <a:pt x="503216" y="391496"/>
                  </a:moveTo>
                  <a:cubicBezTo>
                    <a:pt x="531865" y="391530"/>
                    <a:pt x="555079" y="414746"/>
                    <a:pt x="555113" y="443394"/>
                  </a:cubicBezTo>
                  <a:cubicBezTo>
                    <a:pt x="555113" y="472056"/>
                    <a:pt x="531878" y="495291"/>
                    <a:pt x="503216" y="495291"/>
                  </a:cubicBezTo>
                  <a:cubicBezTo>
                    <a:pt x="474554" y="495291"/>
                    <a:pt x="451318" y="472056"/>
                    <a:pt x="451318" y="443394"/>
                  </a:cubicBezTo>
                  <a:cubicBezTo>
                    <a:pt x="451318" y="414732"/>
                    <a:pt x="474554" y="391496"/>
                    <a:pt x="503216" y="391496"/>
                  </a:cubicBezTo>
                  <a:close/>
                  <a:moveTo>
                    <a:pt x="137050" y="379801"/>
                  </a:moveTo>
                  <a:lnTo>
                    <a:pt x="25026" y="517665"/>
                  </a:lnTo>
                  <a:lnTo>
                    <a:pt x="60715" y="546218"/>
                  </a:lnTo>
                  <a:lnTo>
                    <a:pt x="174058" y="406723"/>
                  </a:lnTo>
                  <a:close/>
                  <a:moveTo>
                    <a:pt x="478556" y="351203"/>
                  </a:moveTo>
                  <a:cubicBezTo>
                    <a:pt x="475768" y="351995"/>
                    <a:pt x="472970" y="352947"/>
                    <a:pt x="470183" y="354042"/>
                  </a:cubicBezTo>
                  <a:lnTo>
                    <a:pt x="468836" y="368861"/>
                  </a:lnTo>
                  <a:cubicBezTo>
                    <a:pt x="468536" y="372112"/>
                    <a:pt x="466725" y="375032"/>
                    <a:pt x="463949" y="376747"/>
                  </a:cubicBezTo>
                  <a:cubicBezTo>
                    <a:pt x="460288" y="379003"/>
                    <a:pt x="456823" y="381564"/>
                    <a:pt x="453590" y="384399"/>
                  </a:cubicBezTo>
                  <a:cubicBezTo>
                    <a:pt x="451089" y="386611"/>
                    <a:pt x="447673" y="387479"/>
                    <a:pt x="444417" y="386731"/>
                  </a:cubicBezTo>
                  <a:lnTo>
                    <a:pt x="430510" y="383548"/>
                  </a:lnTo>
                  <a:cubicBezTo>
                    <a:pt x="428575" y="386001"/>
                    <a:pt x="426770" y="388535"/>
                    <a:pt x="425107" y="391121"/>
                  </a:cubicBezTo>
                  <a:lnTo>
                    <a:pt x="432487" y="403852"/>
                  </a:lnTo>
                  <a:cubicBezTo>
                    <a:pt x="434109" y="406651"/>
                    <a:pt x="434333" y="410045"/>
                    <a:pt x="433096" y="413035"/>
                  </a:cubicBezTo>
                  <a:cubicBezTo>
                    <a:pt x="431442" y="417097"/>
                    <a:pt x="430133" y="421291"/>
                    <a:pt x="429183" y="425574"/>
                  </a:cubicBezTo>
                  <a:cubicBezTo>
                    <a:pt x="428462" y="428778"/>
                    <a:pt x="426262" y="431448"/>
                    <a:pt x="423253" y="432771"/>
                  </a:cubicBezTo>
                  <a:lnTo>
                    <a:pt x="410471" y="438406"/>
                  </a:lnTo>
                  <a:lnTo>
                    <a:pt x="410471" y="448381"/>
                  </a:lnTo>
                  <a:lnTo>
                    <a:pt x="423253" y="454018"/>
                  </a:lnTo>
                  <a:cubicBezTo>
                    <a:pt x="426260" y="455339"/>
                    <a:pt x="428461" y="458009"/>
                    <a:pt x="429183" y="461214"/>
                  </a:cubicBezTo>
                  <a:cubicBezTo>
                    <a:pt x="430131" y="465489"/>
                    <a:pt x="431440" y="469677"/>
                    <a:pt x="433096" y="473732"/>
                  </a:cubicBezTo>
                  <a:cubicBezTo>
                    <a:pt x="434333" y="476725"/>
                    <a:pt x="434108" y="480121"/>
                    <a:pt x="432487" y="482925"/>
                  </a:cubicBezTo>
                  <a:lnTo>
                    <a:pt x="425098" y="495657"/>
                  </a:lnTo>
                  <a:cubicBezTo>
                    <a:pt x="426772" y="498252"/>
                    <a:pt x="428576" y="500786"/>
                    <a:pt x="430512" y="503228"/>
                  </a:cubicBezTo>
                  <a:lnTo>
                    <a:pt x="444408" y="500046"/>
                  </a:lnTo>
                  <a:cubicBezTo>
                    <a:pt x="447672" y="499300"/>
                    <a:pt x="451093" y="500172"/>
                    <a:pt x="453602" y="502388"/>
                  </a:cubicBezTo>
                  <a:cubicBezTo>
                    <a:pt x="456829" y="505226"/>
                    <a:pt x="460292" y="507787"/>
                    <a:pt x="463951" y="510040"/>
                  </a:cubicBezTo>
                  <a:cubicBezTo>
                    <a:pt x="466729" y="511755"/>
                    <a:pt x="468538" y="514675"/>
                    <a:pt x="468838" y="517926"/>
                  </a:cubicBezTo>
                  <a:lnTo>
                    <a:pt x="470186" y="532745"/>
                  </a:lnTo>
                  <a:cubicBezTo>
                    <a:pt x="472973" y="533840"/>
                    <a:pt x="475771" y="534794"/>
                    <a:pt x="478559" y="535584"/>
                  </a:cubicBezTo>
                  <a:lnTo>
                    <a:pt x="488065" y="524545"/>
                  </a:lnTo>
                  <a:cubicBezTo>
                    <a:pt x="490038" y="522257"/>
                    <a:pt x="492909" y="520939"/>
                    <a:pt x="495930" y="520937"/>
                  </a:cubicBezTo>
                  <a:lnTo>
                    <a:pt x="510506" y="520937"/>
                  </a:lnTo>
                  <a:cubicBezTo>
                    <a:pt x="513528" y="520939"/>
                    <a:pt x="516399" y="522255"/>
                    <a:pt x="518370" y="524545"/>
                  </a:cubicBezTo>
                  <a:lnTo>
                    <a:pt x="527878" y="535584"/>
                  </a:lnTo>
                  <a:cubicBezTo>
                    <a:pt x="530666" y="534792"/>
                    <a:pt x="533464" y="533840"/>
                    <a:pt x="536251" y="532745"/>
                  </a:cubicBezTo>
                  <a:lnTo>
                    <a:pt x="537599" y="517926"/>
                  </a:lnTo>
                  <a:cubicBezTo>
                    <a:pt x="537898" y="514675"/>
                    <a:pt x="539708" y="511755"/>
                    <a:pt x="542485" y="510040"/>
                  </a:cubicBezTo>
                  <a:cubicBezTo>
                    <a:pt x="546146" y="507784"/>
                    <a:pt x="549610" y="505225"/>
                    <a:pt x="552844" y="502388"/>
                  </a:cubicBezTo>
                  <a:cubicBezTo>
                    <a:pt x="555340" y="500165"/>
                    <a:pt x="558761" y="499296"/>
                    <a:pt x="562017" y="500056"/>
                  </a:cubicBezTo>
                  <a:lnTo>
                    <a:pt x="575924" y="503239"/>
                  </a:lnTo>
                  <a:cubicBezTo>
                    <a:pt x="577859" y="500779"/>
                    <a:pt x="579664" y="498252"/>
                    <a:pt x="581336" y="495657"/>
                  </a:cubicBezTo>
                  <a:lnTo>
                    <a:pt x="573948" y="482925"/>
                  </a:lnTo>
                  <a:cubicBezTo>
                    <a:pt x="572327" y="480121"/>
                    <a:pt x="572102" y="476724"/>
                    <a:pt x="573340" y="473732"/>
                  </a:cubicBezTo>
                  <a:cubicBezTo>
                    <a:pt x="574995" y="469677"/>
                    <a:pt x="576304" y="465489"/>
                    <a:pt x="577252" y="461214"/>
                  </a:cubicBezTo>
                  <a:cubicBezTo>
                    <a:pt x="577974" y="458009"/>
                    <a:pt x="580174" y="455339"/>
                    <a:pt x="583182" y="454018"/>
                  </a:cubicBezTo>
                  <a:lnTo>
                    <a:pt x="595964" y="448381"/>
                  </a:lnTo>
                  <a:lnTo>
                    <a:pt x="595964" y="438406"/>
                  </a:lnTo>
                  <a:lnTo>
                    <a:pt x="583182" y="432771"/>
                  </a:lnTo>
                  <a:cubicBezTo>
                    <a:pt x="580175" y="431448"/>
                    <a:pt x="577975" y="428778"/>
                    <a:pt x="577252" y="425574"/>
                  </a:cubicBezTo>
                  <a:cubicBezTo>
                    <a:pt x="576304" y="421298"/>
                    <a:pt x="574995" y="417110"/>
                    <a:pt x="573340" y="413056"/>
                  </a:cubicBezTo>
                  <a:cubicBezTo>
                    <a:pt x="572102" y="410062"/>
                    <a:pt x="572328" y="406666"/>
                    <a:pt x="573948" y="403862"/>
                  </a:cubicBezTo>
                  <a:lnTo>
                    <a:pt x="581336" y="391131"/>
                  </a:lnTo>
                  <a:cubicBezTo>
                    <a:pt x="579664" y="388527"/>
                    <a:pt x="577859" y="386001"/>
                    <a:pt x="575924" y="383548"/>
                  </a:cubicBezTo>
                  <a:lnTo>
                    <a:pt x="562017" y="386731"/>
                  </a:lnTo>
                  <a:cubicBezTo>
                    <a:pt x="558762" y="387480"/>
                    <a:pt x="555345" y="386612"/>
                    <a:pt x="552844" y="384399"/>
                  </a:cubicBezTo>
                  <a:cubicBezTo>
                    <a:pt x="549610" y="381564"/>
                    <a:pt x="546146" y="379003"/>
                    <a:pt x="542485" y="376747"/>
                  </a:cubicBezTo>
                  <a:cubicBezTo>
                    <a:pt x="539708" y="375032"/>
                    <a:pt x="537898" y="372112"/>
                    <a:pt x="537599" y="368861"/>
                  </a:cubicBezTo>
                  <a:lnTo>
                    <a:pt x="536251" y="354042"/>
                  </a:lnTo>
                  <a:cubicBezTo>
                    <a:pt x="533464" y="352947"/>
                    <a:pt x="530666" y="351993"/>
                    <a:pt x="527878" y="351203"/>
                  </a:cubicBezTo>
                  <a:lnTo>
                    <a:pt x="518370" y="362242"/>
                  </a:lnTo>
                  <a:cubicBezTo>
                    <a:pt x="516397" y="364530"/>
                    <a:pt x="513526" y="365848"/>
                    <a:pt x="510505" y="365850"/>
                  </a:cubicBezTo>
                  <a:lnTo>
                    <a:pt x="495929" y="365850"/>
                  </a:lnTo>
                  <a:cubicBezTo>
                    <a:pt x="492906" y="365848"/>
                    <a:pt x="490036" y="364532"/>
                    <a:pt x="488062" y="362242"/>
                  </a:cubicBezTo>
                  <a:close/>
                  <a:moveTo>
                    <a:pt x="480127" y="329442"/>
                  </a:moveTo>
                  <a:cubicBezTo>
                    <a:pt x="483827" y="328640"/>
                    <a:pt x="487668" y="329941"/>
                    <a:pt x="490121" y="332826"/>
                  </a:cubicBezTo>
                  <a:lnTo>
                    <a:pt x="500684" y="345091"/>
                  </a:lnTo>
                  <a:lnTo>
                    <a:pt x="505751" y="345091"/>
                  </a:lnTo>
                  <a:lnTo>
                    <a:pt x="516313" y="332826"/>
                  </a:lnTo>
                  <a:cubicBezTo>
                    <a:pt x="518771" y="329951"/>
                    <a:pt x="522607" y="328653"/>
                    <a:pt x="526307" y="329442"/>
                  </a:cubicBezTo>
                  <a:cubicBezTo>
                    <a:pt x="534612" y="331216"/>
                    <a:pt x="542688" y="333926"/>
                    <a:pt x="550381" y="337520"/>
                  </a:cubicBezTo>
                  <a:cubicBezTo>
                    <a:pt x="553746" y="339073"/>
                    <a:pt x="556026" y="342303"/>
                    <a:pt x="556361" y="345994"/>
                  </a:cubicBezTo>
                  <a:lnTo>
                    <a:pt x="557820" y="361989"/>
                  </a:lnTo>
                  <a:cubicBezTo>
                    <a:pt x="559381" y="363077"/>
                    <a:pt x="560903" y="364198"/>
                    <a:pt x="562383" y="365354"/>
                  </a:cubicBezTo>
                  <a:lnTo>
                    <a:pt x="577465" y="361909"/>
                  </a:lnTo>
                  <a:cubicBezTo>
                    <a:pt x="581145" y="361051"/>
                    <a:pt x="585000" y="362277"/>
                    <a:pt x="587510" y="365101"/>
                  </a:cubicBezTo>
                  <a:cubicBezTo>
                    <a:pt x="593240" y="371491"/>
                    <a:pt x="598250" y="378489"/>
                    <a:pt x="602452" y="385972"/>
                  </a:cubicBezTo>
                  <a:cubicBezTo>
                    <a:pt x="604236" y="389173"/>
                    <a:pt x="604204" y="393077"/>
                    <a:pt x="602370" y="396250"/>
                  </a:cubicBezTo>
                  <a:lnTo>
                    <a:pt x="594383" y="410014"/>
                  </a:lnTo>
                  <a:cubicBezTo>
                    <a:pt x="595031" y="411891"/>
                    <a:pt x="595638" y="413816"/>
                    <a:pt x="596196" y="415823"/>
                  </a:cubicBezTo>
                  <a:lnTo>
                    <a:pt x="610529" y="422149"/>
                  </a:lnTo>
                  <a:cubicBezTo>
                    <a:pt x="614295" y="423805"/>
                    <a:pt x="616724" y="427532"/>
                    <a:pt x="616720" y="431645"/>
                  </a:cubicBezTo>
                  <a:lnTo>
                    <a:pt x="616720" y="455142"/>
                  </a:lnTo>
                  <a:cubicBezTo>
                    <a:pt x="616723" y="459256"/>
                    <a:pt x="614293" y="462982"/>
                    <a:pt x="610527" y="464640"/>
                  </a:cubicBezTo>
                  <a:lnTo>
                    <a:pt x="596195" y="470964"/>
                  </a:lnTo>
                  <a:cubicBezTo>
                    <a:pt x="595638" y="472971"/>
                    <a:pt x="595030" y="474898"/>
                    <a:pt x="594381" y="476773"/>
                  </a:cubicBezTo>
                  <a:lnTo>
                    <a:pt x="602369" y="490537"/>
                  </a:lnTo>
                  <a:cubicBezTo>
                    <a:pt x="604203" y="493710"/>
                    <a:pt x="604234" y="497614"/>
                    <a:pt x="602449" y="500815"/>
                  </a:cubicBezTo>
                  <a:cubicBezTo>
                    <a:pt x="598247" y="508298"/>
                    <a:pt x="593237" y="515298"/>
                    <a:pt x="587509" y="521686"/>
                  </a:cubicBezTo>
                  <a:cubicBezTo>
                    <a:pt x="585000" y="524511"/>
                    <a:pt x="581144" y="525739"/>
                    <a:pt x="577464" y="524879"/>
                  </a:cubicBezTo>
                  <a:lnTo>
                    <a:pt x="562382" y="521433"/>
                  </a:lnTo>
                  <a:cubicBezTo>
                    <a:pt x="560901" y="522591"/>
                    <a:pt x="559380" y="523714"/>
                    <a:pt x="557819" y="524798"/>
                  </a:cubicBezTo>
                  <a:lnTo>
                    <a:pt x="556360" y="540793"/>
                  </a:lnTo>
                  <a:cubicBezTo>
                    <a:pt x="556025" y="544483"/>
                    <a:pt x="553746" y="547716"/>
                    <a:pt x="550379" y="549267"/>
                  </a:cubicBezTo>
                  <a:cubicBezTo>
                    <a:pt x="542687" y="552862"/>
                    <a:pt x="534611" y="555571"/>
                    <a:pt x="526306" y="557347"/>
                  </a:cubicBezTo>
                  <a:cubicBezTo>
                    <a:pt x="525605" y="557496"/>
                    <a:pt x="524892" y="557571"/>
                    <a:pt x="524177" y="557570"/>
                  </a:cubicBezTo>
                  <a:cubicBezTo>
                    <a:pt x="521154" y="557572"/>
                    <a:pt x="518281" y="556253"/>
                    <a:pt x="516310" y="553961"/>
                  </a:cubicBezTo>
                  <a:lnTo>
                    <a:pt x="505748" y="541696"/>
                  </a:lnTo>
                  <a:lnTo>
                    <a:pt x="500681" y="541696"/>
                  </a:lnTo>
                  <a:lnTo>
                    <a:pt x="490119" y="553961"/>
                  </a:lnTo>
                  <a:cubicBezTo>
                    <a:pt x="487658" y="556834"/>
                    <a:pt x="483824" y="558133"/>
                    <a:pt x="480124" y="557347"/>
                  </a:cubicBezTo>
                  <a:cubicBezTo>
                    <a:pt x="471819" y="555571"/>
                    <a:pt x="463744" y="552861"/>
                    <a:pt x="456050" y="549267"/>
                  </a:cubicBezTo>
                  <a:cubicBezTo>
                    <a:pt x="452686" y="547716"/>
                    <a:pt x="450405" y="544484"/>
                    <a:pt x="450071" y="540793"/>
                  </a:cubicBezTo>
                  <a:lnTo>
                    <a:pt x="448611" y="524798"/>
                  </a:lnTo>
                  <a:cubicBezTo>
                    <a:pt x="447050" y="523714"/>
                    <a:pt x="445520" y="522588"/>
                    <a:pt x="444040" y="521423"/>
                  </a:cubicBezTo>
                  <a:lnTo>
                    <a:pt x="428978" y="524879"/>
                  </a:lnTo>
                  <a:cubicBezTo>
                    <a:pt x="425294" y="525739"/>
                    <a:pt x="421436" y="524511"/>
                    <a:pt x="418923" y="521686"/>
                  </a:cubicBezTo>
                  <a:cubicBezTo>
                    <a:pt x="413193" y="515297"/>
                    <a:pt x="408183" y="508298"/>
                    <a:pt x="403981" y="500815"/>
                  </a:cubicBezTo>
                  <a:cubicBezTo>
                    <a:pt x="402197" y="497614"/>
                    <a:pt x="402228" y="493709"/>
                    <a:pt x="404063" y="490537"/>
                  </a:cubicBezTo>
                  <a:lnTo>
                    <a:pt x="412050" y="476772"/>
                  </a:lnTo>
                  <a:cubicBezTo>
                    <a:pt x="411401" y="474896"/>
                    <a:pt x="410794" y="472969"/>
                    <a:pt x="410237" y="470963"/>
                  </a:cubicBezTo>
                  <a:lnTo>
                    <a:pt x="395904" y="464638"/>
                  </a:lnTo>
                  <a:cubicBezTo>
                    <a:pt x="392138" y="462980"/>
                    <a:pt x="389709" y="459255"/>
                    <a:pt x="389711" y="455141"/>
                  </a:cubicBezTo>
                  <a:lnTo>
                    <a:pt x="389711" y="431645"/>
                  </a:lnTo>
                  <a:cubicBezTo>
                    <a:pt x="389709" y="427531"/>
                    <a:pt x="392138" y="423805"/>
                    <a:pt x="395904" y="422149"/>
                  </a:cubicBezTo>
                  <a:lnTo>
                    <a:pt x="410237" y="415823"/>
                  </a:lnTo>
                  <a:cubicBezTo>
                    <a:pt x="410797" y="413820"/>
                    <a:pt x="411401" y="411881"/>
                    <a:pt x="412050" y="410005"/>
                  </a:cubicBezTo>
                  <a:lnTo>
                    <a:pt x="404073" y="396250"/>
                  </a:lnTo>
                  <a:cubicBezTo>
                    <a:pt x="402239" y="393081"/>
                    <a:pt x="402209" y="389180"/>
                    <a:pt x="403993" y="385982"/>
                  </a:cubicBezTo>
                  <a:cubicBezTo>
                    <a:pt x="408187" y="378493"/>
                    <a:pt x="413193" y="371490"/>
                    <a:pt x="418924" y="365101"/>
                  </a:cubicBezTo>
                  <a:cubicBezTo>
                    <a:pt x="421437" y="362281"/>
                    <a:pt x="425287" y="361056"/>
                    <a:pt x="428969" y="361909"/>
                  </a:cubicBezTo>
                  <a:lnTo>
                    <a:pt x="444051" y="365354"/>
                  </a:lnTo>
                  <a:cubicBezTo>
                    <a:pt x="445531" y="364194"/>
                    <a:pt x="447053" y="363073"/>
                    <a:pt x="448614" y="361989"/>
                  </a:cubicBezTo>
                  <a:lnTo>
                    <a:pt x="450073" y="345994"/>
                  </a:lnTo>
                  <a:cubicBezTo>
                    <a:pt x="450408" y="342304"/>
                    <a:pt x="452687" y="339073"/>
                    <a:pt x="456052" y="337520"/>
                  </a:cubicBezTo>
                  <a:cubicBezTo>
                    <a:pt x="463746" y="333925"/>
                    <a:pt x="471823" y="331216"/>
                    <a:pt x="480127" y="329442"/>
                  </a:cubicBezTo>
                  <a:close/>
                  <a:moveTo>
                    <a:pt x="135863" y="319315"/>
                  </a:moveTo>
                  <a:lnTo>
                    <a:pt x="118684" y="340778"/>
                  </a:lnTo>
                  <a:lnTo>
                    <a:pt x="193940" y="395516"/>
                  </a:lnTo>
                  <a:lnTo>
                    <a:pt x="195120" y="396375"/>
                  </a:lnTo>
                  <a:lnTo>
                    <a:pt x="216052" y="411598"/>
                  </a:lnTo>
                  <a:lnTo>
                    <a:pt x="235892" y="386793"/>
                  </a:lnTo>
                  <a:cubicBezTo>
                    <a:pt x="196328" y="375282"/>
                    <a:pt x="161355" y="351690"/>
                    <a:pt x="135863" y="319315"/>
                  </a:cubicBezTo>
                  <a:close/>
                  <a:moveTo>
                    <a:pt x="404693" y="125717"/>
                  </a:moveTo>
                  <a:cubicBezTo>
                    <a:pt x="372855" y="130299"/>
                    <a:pt x="347844" y="155310"/>
                    <a:pt x="343262" y="187148"/>
                  </a:cubicBezTo>
                  <a:cubicBezTo>
                    <a:pt x="337560" y="226777"/>
                    <a:pt x="365063" y="263525"/>
                    <a:pt x="404693" y="269227"/>
                  </a:cubicBezTo>
                  <a:cubicBezTo>
                    <a:pt x="432514" y="225436"/>
                    <a:pt x="432514" y="169508"/>
                    <a:pt x="404693" y="125717"/>
                  </a:cubicBezTo>
                  <a:close/>
                  <a:moveTo>
                    <a:pt x="489415" y="115621"/>
                  </a:moveTo>
                  <a:lnTo>
                    <a:pt x="475829" y="130374"/>
                  </a:lnTo>
                  <a:cubicBezTo>
                    <a:pt x="491814" y="173612"/>
                    <a:pt x="491837" y="221138"/>
                    <a:pt x="475894" y="264393"/>
                  </a:cubicBezTo>
                  <a:lnTo>
                    <a:pt x="489445" y="279311"/>
                  </a:lnTo>
                  <a:cubicBezTo>
                    <a:pt x="491578" y="278693"/>
                    <a:pt x="493703" y="277973"/>
                    <a:pt x="495821" y="277151"/>
                  </a:cubicBezTo>
                  <a:lnTo>
                    <a:pt x="496986" y="264451"/>
                  </a:lnTo>
                  <a:cubicBezTo>
                    <a:pt x="497287" y="261212"/>
                    <a:pt x="499088" y="258302"/>
                    <a:pt x="501852" y="256584"/>
                  </a:cubicBezTo>
                  <a:cubicBezTo>
                    <a:pt x="505105" y="254575"/>
                    <a:pt x="508183" y="252297"/>
                    <a:pt x="511055" y="249774"/>
                  </a:cubicBezTo>
                  <a:cubicBezTo>
                    <a:pt x="513558" y="247553"/>
                    <a:pt x="516982" y="246687"/>
                    <a:pt x="520239" y="247452"/>
                  </a:cubicBezTo>
                  <a:lnTo>
                    <a:pt x="532098" y="250169"/>
                  </a:lnTo>
                  <a:cubicBezTo>
                    <a:pt x="533542" y="248314"/>
                    <a:pt x="534897" y="246418"/>
                    <a:pt x="536164" y="244482"/>
                  </a:cubicBezTo>
                  <a:lnTo>
                    <a:pt x="529838" y="233576"/>
                  </a:lnTo>
                  <a:cubicBezTo>
                    <a:pt x="528218" y="230780"/>
                    <a:pt x="527992" y="227389"/>
                    <a:pt x="529230" y="224403"/>
                  </a:cubicBezTo>
                  <a:cubicBezTo>
                    <a:pt x="530692" y="220796"/>
                    <a:pt x="531852" y="217075"/>
                    <a:pt x="532696" y="213274"/>
                  </a:cubicBezTo>
                  <a:cubicBezTo>
                    <a:pt x="533419" y="210069"/>
                    <a:pt x="535619" y="207399"/>
                    <a:pt x="538626" y="206076"/>
                  </a:cubicBezTo>
                  <a:lnTo>
                    <a:pt x="549503" y="201283"/>
                  </a:lnTo>
                  <a:lnTo>
                    <a:pt x="549504" y="201283"/>
                  </a:lnTo>
                  <a:lnTo>
                    <a:pt x="549504" y="193657"/>
                  </a:lnTo>
                  <a:lnTo>
                    <a:pt x="538627" y="188864"/>
                  </a:lnTo>
                  <a:cubicBezTo>
                    <a:pt x="535622" y="187542"/>
                    <a:pt x="533422" y="184871"/>
                    <a:pt x="532698" y="181667"/>
                  </a:cubicBezTo>
                  <a:cubicBezTo>
                    <a:pt x="531853" y="177868"/>
                    <a:pt x="530693" y="174144"/>
                    <a:pt x="529231" y="170537"/>
                  </a:cubicBezTo>
                  <a:cubicBezTo>
                    <a:pt x="527995" y="167552"/>
                    <a:pt x="528219" y="164160"/>
                    <a:pt x="529840" y="161364"/>
                  </a:cubicBezTo>
                  <a:lnTo>
                    <a:pt x="536165" y="150458"/>
                  </a:lnTo>
                  <a:cubicBezTo>
                    <a:pt x="534895" y="148523"/>
                    <a:pt x="533540" y="146627"/>
                    <a:pt x="532100" y="144772"/>
                  </a:cubicBezTo>
                  <a:lnTo>
                    <a:pt x="520240" y="147489"/>
                  </a:lnTo>
                  <a:cubicBezTo>
                    <a:pt x="516984" y="148248"/>
                    <a:pt x="513562" y="147382"/>
                    <a:pt x="511057" y="145168"/>
                  </a:cubicBezTo>
                  <a:cubicBezTo>
                    <a:pt x="508191" y="142643"/>
                    <a:pt x="505115" y="140369"/>
                    <a:pt x="501864" y="138366"/>
                  </a:cubicBezTo>
                  <a:cubicBezTo>
                    <a:pt x="499094" y="136650"/>
                    <a:pt x="497290" y="133735"/>
                    <a:pt x="496988" y="130490"/>
                  </a:cubicBezTo>
                  <a:lnTo>
                    <a:pt x="495823" y="117790"/>
                  </a:lnTo>
                  <a:cubicBezTo>
                    <a:pt x="493694" y="116969"/>
                    <a:pt x="491546" y="116240"/>
                    <a:pt x="489415" y="115621"/>
                  </a:cubicBezTo>
                  <a:close/>
                  <a:moveTo>
                    <a:pt x="353159" y="78017"/>
                  </a:moveTo>
                  <a:cubicBezTo>
                    <a:pt x="348666" y="80312"/>
                    <a:pt x="344296" y="82839"/>
                    <a:pt x="340067" y="85589"/>
                  </a:cubicBezTo>
                  <a:lnTo>
                    <a:pt x="344557" y="99254"/>
                  </a:lnTo>
                  <a:cubicBezTo>
                    <a:pt x="345872" y="103266"/>
                    <a:pt x="344631" y="107676"/>
                    <a:pt x="341415" y="110414"/>
                  </a:cubicBezTo>
                  <a:cubicBezTo>
                    <a:pt x="336628" y="114468"/>
                    <a:pt x="332187" y="118913"/>
                    <a:pt x="328137" y="123702"/>
                  </a:cubicBezTo>
                  <a:cubicBezTo>
                    <a:pt x="325395" y="126918"/>
                    <a:pt x="320985" y="128162"/>
                    <a:pt x="316968" y="126855"/>
                  </a:cubicBezTo>
                  <a:lnTo>
                    <a:pt x="303253" y="122344"/>
                  </a:lnTo>
                  <a:cubicBezTo>
                    <a:pt x="299853" y="127344"/>
                    <a:pt x="296788" y="132566"/>
                    <a:pt x="294080" y="137973"/>
                  </a:cubicBezTo>
                  <a:lnTo>
                    <a:pt x="304966" y="147724"/>
                  </a:lnTo>
                  <a:cubicBezTo>
                    <a:pt x="308118" y="150540"/>
                    <a:pt x="309245" y="154987"/>
                    <a:pt x="307815" y="158965"/>
                  </a:cubicBezTo>
                  <a:cubicBezTo>
                    <a:pt x="305690" y="164852"/>
                    <a:pt x="304060" y="170902"/>
                    <a:pt x="302939" y="177059"/>
                  </a:cubicBezTo>
                  <a:cubicBezTo>
                    <a:pt x="302188" y="181214"/>
                    <a:pt x="298994" y="184502"/>
                    <a:pt x="294859" y="185371"/>
                  </a:cubicBezTo>
                  <a:lnTo>
                    <a:pt x="281429" y="188199"/>
                  </a:lnTo>
                  <a:lnTo>
                    <a:pt x="281429" y="206749"/>
                  </a:lnTo>
                  <a:lnTo>
                    <a:pt x="294859" y="209577"/>
                  </a:lnTo>
                  <a:cubicBezTo>
                    <a:pt x="298994" y="210445"/>
                    <a:pt x="302188" y="213733"/>
                    <a:pt x="302939" y="217888"/>
                  </a:cubicBezTo>
                  <a:cubicBezTo>
                    <a:pt x="304056" y="224039"/>
                    <a:pt x="305686" y="230084"/>
                    <a:pt x="307815" y="235962"/>
                  </a:cubicBezTo>
                  <a:cubicBezTo>
                    <a:pt x="309245" y="239942"/>
                    <a:pt x="308119" y="244393"/>
                    <a:pt x="304966" y="247213"/>
                  </a:cubicBezTo>
                  <a:lnTo>
                    <a:pt x="294080" y="256974"/>
                  </a:lnTo>
                  <a:cubicBezTo>
                    <a:pt x="296786" y="262382"/>
                    <a:pt x="299850" y="267604"/>
                    <a:pt x="303253" y="272604"/>
                  </a:cubicBezTo>
                  <a:lnTo>
                    <a:pt x="316958" y="268093"/>
                  </a:lnTo>
                  <a:cubicBezTo>
                    <a:pt x="320972" y="266783"/>
                    <a:pt x="325379" y="268023"/>
                    <a:pt x="328119" y="271235"/>
                  </a:cubicBezTo>
                  <a:cubicBezTo>
                    <a:pt x="332173" y="276022"/>
                    <a:pt x="336617" y="280462"/>
                    <a:pt x="341407" y="284513"/>
                  </a:cubicBezTo>
                  <a:cubicBezTo>
                    <a:pt x="344631" y="287249"/>
                    <a:pt x="345877" y="291664"/>
                    <a:pt x="344559" y="295682"/>
                  </a:cubicBezTo>
                  <a:lnTo>
                    <a:pt x="340069" y="309346"/>
                  </a:lnTo>
                  <a:cubicBezTo>
                    <a:pt x="344297" y="312102"/>
                    <a:pt x="348669" y="314633"/>
                    <a:pt x="353164" y="316928"/>
                  </a:cubicBezTo>
                  <a:cubicBezTo>
                    <a:pt x="367354" y="309435"/>
                    <a:pt x="380102" y="299483"/>
                    <a:pt x="390811" y="287537"/>
                  </a:cubicBezTo>
                  <a:cubicBezTo>
                    <a:pt x="358688" y="278901"/>
                    <a:pt x="333595" y="253807"/>
                    <a:pt x="324959" y="221684"/>
                  </a:cubicBezTo>
                  <a:cubicBezTo>
                    <a:pt x="311588" y="171945"/>
                    <a:pt x="341071" y="120783"/>
                    <a:pt x="390811" y="107411"/>
                  </a:cubicBezTo>
                  <a:cubicBezTo>
                    <a:pt x="380098" y="95462"/>
                    <a:pt x="367350" y="85510"/>
                    <a:pt x="353159" y="78017"/>
                  </a:cubicBezTo>
                  <a:close/>
                  <a:moveTo>
                    <a:pt x="290625" y="62538"/>
                  </a:moveTo>
                  <a:cubicBezTo>
                    <a:pt x="277582" y="62536"/>
                    <a:pt x="264607" y="64424"/>
                    <a:pt x="252107" y="68146"/>
                  </a:cubicBezTo>
                  <a:cubicBezTo>
                    <a:pt x="180697" y="89406"/>
                    <a:pt x="140042" y="164529"/>
                    <a:pt x="161301" y="235939"/>
                  </a:cubicBezTo>
                  <a:cubicBezTo>
                    <a:pt x="182560" y="307350"/>
                    <a:pt x="257682" y="348005"/>
                    <a:pt x="329092" y="326747"/>
                  </a:cubicBezTo>
                  <a:cubicBezTo>
                    <a:pt x="326549" y="325071"/>
                    <a:pt x="323905" y="323446"/>
                    <a:pt x="321560" y="321674"/>
                  </a:cubicBezTo>
                  <a:cubicBezTo>
                    <a:pt x="318018" y="318998"/>
                    <a:pt x="316569" y="314367"/>
                    <a:pt x="317952" y="310149"/>
                  </a:cubicBezTo>
                  <a:lnTo>
                    <a:pt x="322716" y="295654"/>
                  </a:lnTo>
                  <a:cubicBezTo>
                    <a:pt x="320759" y="293809"/>
                    <a:pt x="318845" y="291894"/>
                    <a:pt x="317000" y="289938"/>
                  </a:cubicBezTo>
                  <a:lnTo>
                    <a:pt x="302494" y="294701"/>
                  </a:lnTo>
                  <a:cubicBezTo>
                    <a:pt x="298271" y="296091"/>
                    <a:pt x="293632" y="294634"/>
                    <a:pt x="290959" y="291083"/>
                  </a:cubicBezTo>
                  <a:cubicBezTo>
                    <a:pt x="283302" y="281010"/>
                    <a:pt x="276900" y="270044"/>
                    <a:pt x="271893" y="258424"/>
                  </a:cubicBezTo>
                  <a:cubicBezTo>
                    <a:pt x="270149" y="254334"/>
                    <a:pt x="271205" y="249590"/>
                    <a:pt x="274517" y="246626"/>
                  </a:cubicBezTo>
                  <a:lnTo>
                    <a:pt x="286054" y="236286"/>
                  </a:lnTo>
                  <a:cubicBezTo>
                    <a:pt x="285273" y="233701"/>
                    <a:pt x="284573" y="231096"/>
                    <a:pt x="283955" y="228491"/>
                  </a:cubicBezTo>
                  <a:lnTo>
                    <a:pt x="268913" y="225328"/>
                  </a:lnTo>
                  <a:cubicBezTo>
                    <a:pt x="264109" y="224316"/>
                    <a:pt x="260672" y="220079"/>
                    <a:pt x="260671" y="215172"/>
                  </a:cubicBezTo>
                  <a:lnTo>
                    <a:pt x="260671" y="179776"/>
                  </a:lnTo>
                  <a:cubicBezTo>
                    <a:pt x="260672" y="174868"/>
                    <a:pt x="264110" y="170631"/>
                    <a:pt x="268913" y="169619"/>
                  </a:cubicBezTo>
                  <a:lnTo>
                    <a:pt x="283955" y="166456"/>
                  </a:lnTo>
                  <a:cubicBezTo>
                    <a:pt x="284573" y="163852"/>
                    <a:pt x="285273" y="161247"/>
                    <a:pt x="286064" y="158661"/>
                  </a:cubicBezTo>
                  <a:lnTo>
                    <a:pt x="274518" y="148322"/>
                  </a:lnTo>
                  <a:cubicBezTo>
                    <a:pt x="271206" y="145358"/>
                    <a:pt x="270150" y="140613"/>
                    <a:pt x="271894" y="136523"/>
                  </a:cubicBezTo>
                  <a:cubicBezTo>
                    <a:pt x="276901" y="124896"/>
                    <a:pt x="283311" y="113926"/>
                    <a:pt x="290981" y="103854"/>
                  </a:cubicBezTo>
                  <a:cubicBezTo>
                    <a:pt x="293669" y="100329"/>
                    <a:pt x="298288" y="98883"/>
                    <a:pt x="302506" y="100246"/>
                  </a:cubicBezTo>
                  <a:lnTo>
                    <a:pt x="317001" y="105010"/>
                  </a:lnTo>
                  <a:cubicBezTo>
                    <a:pt x="318846" y="103053"/>
                    <a:pt x="320761" y="101139"/>
                    <a:pt x="322717" y="99294"/>
                  </a:cubicBezTo>
                  <a:lnTo>
                    <a:pt x="317953" y="84788"/>
                  </a:lnTo>
                  <a:cubicBezTo>
                    <a:pt x="316567" y="80565"/>
                    <a:pt x="318021" y="75926"/>
                    <a:pt x="321572" y="73252"/>
                  </a:cubicBezTo>
                  <a:cubicBezTo>
                    <a:pt x="323916" y="71485"/>
                    <a:pt x="326552" y="69869"/>
                    <a:pt x="329088" y="68198"/>
                  </a:cubicBezTo>
                  <a:cubicBezTo>
                    <a:pt x="316609" y="64457"/>
                    <a:pt x="303652" y="62550"/>
                    <a:pt x="290625" y="62538"/>
                  </a:cubicBezTo>
                  <a:close/>
                  <a:moveTo>
                    <a:pt x="290625" y="41779"/>
                  </a:moveTo>
                  <a:cubicBezTo>
                    <a:pt x="376611" y="41779"/>
                    <a:pt x="446317" y="111486"/>
                    <a:pt x="446317" y="197472"/>
                  </a:cubicBezTo>
                  <a:cubicBezTo>
                    <a:pt x="446317" y="283458"/>
                    <a:pt x="376611" y="353164"/>
                    <a:pt x="290625" y="353164"/>
                  </a:cubicBezTo>
                  <a:cubicBezTo>
                    <a:pt x="204678" y="353071"/>
                    <a:pt x="135027" y="283419"/>
                    <a:pt x="134933" y="197472"/>
                  </a:cubicBezTo>
                  <a:cubicBezTo>
                    <a:pt x="134933" y="111486"/>
                    <a:pt x="204639" y="41779"/>
                    <a:pt x="290625" y="41779"/>
                  </a:cubicBezTo>
                  <a:close/>
                  <a:moveTo>
                    <a:pt x="290624" y="21020"/>
                  </a:moveTo>
                  <a:cubicBezTo>
                    <a:pt x="193218" y="21129"/>
                    <a:pt x="114282" y="100064"/>
                    <a:pt x="114173" y="197471"/>
                  </a:cubicBezTo>
                  <a:cubicBezTo>
                    <a:pt x="114173" y="294923"/>
                    <a:pt x="193173" y="373923"/>
                    <a:pt x="290624" y="373923"/>
                  </a:cubicBezTo>
                  <a:cubicBezTo>
                    <a:pt x="388076" y="373923"/>
                    <a:pt x="467075" y="294923"/>
                    <a:pt x="467075" y="197471"/>
                  </a:cubicBezTo>
                  <a:cubicBezTo>
                    <a:pt x="467075" y="100019"/>
                    <a:pt x="388076" y="21020"/>
                    <a:pt x="290624" y="21020"/>
                  </a:cubicBezTo>
                  <a:close/>
                  <a:moveTo>
                    <a:pt x="278416" y="358"/>
                  </a:moveTo>
                  <a:cubicBezTo>
                    <a:pt x="355041" y="-4277"/>
                    <a:pt x="430596" y="36389"/>
                    <a:pt x="466860" y="109481"/>
                  </a:cubicBezTo>
                  <a:lnTo>
                    <a:pt x="478316" y="97032"/>
                  </a:lnTo>
                  <a:cubicBezTo>
                    <a:pt x="480787" y="94338"/>
                    <a:pt x="484499" y="93147"/>
                    <a:pt x="488077" y="93901"/>
                  </a:cubicBezTo>
                  <a:cubicBezTo>
                    <a:pt x="495627" y="95509"/>
                    <a:pt x="502969" y="97976"/>
                    <a:pt x="509960" y="101249"/>
                  </a:cubicBezTo>
                  <a:cubicBezTo>
                    <a:pt x="513315" y="102809"/>
                    <a:pt x="515587" y="106030"/>
                    <a:pt x="515932" y="109712"/>
                  </a:cubicBezTo>
                  <a:lnTo>
                    <a:pt x="517208" y="123630"/>
                  </a:lnTo>
                  <a:cubicBezTo>
                    <a:pt x="518354" y="124431"/>
                    <a:pt x="519478" y="125262"/>
                    <a:pt x="520584" y="126113"/>
                  </a:cubicBezTo>
                  <a:lnTo>
                    <a:pt x="533660" y="123122"/>
                  </a:lnTo>
                  <a:cubicBezTo>
                    <a:pt x="537348" y="122266"/>
                    <a:pt x="541209" y="123496"/>
                    <a:pt x="543726" y="126326"/>
                  </a:cubicBezTo>
                  <a:cubicBezTo>
                    <a:pt x="548927" y="132132"/>
                    <a:pt x="553473" y="138492"/>
                    <a:pt x="557287" y="145291"/>
                  </a:cubicBezTo>
                  <a:cubicBezTo>
                    <a:pt x="559071" y="148489"/>
                    <a:pt x="559040" y="152388"/>
                    <a:pt x="557206" y="155559"/>
                  </a:cubicBezTo>
                  <a:lnTo>
                    <a:pt x="550261" y="167530"/>
                  </a:lnTo>
                  <a:cubicBezTo>
                    <a:pt x="550748" y="168960"/>
                    <a:pt x="551194" y="170419"/>
                    <a:pt x="551620" y="171909"/>
                  </a:cubicBezTo>
                  <a:lnTo>
                    <a:pt x="564068" y="177403"/>
                  </a:lnTo>
                  <a:cubicBezTo>
                    <a:pt x="567834" y="179059"/>
                    <a:pt x="570263" y="182785"/>
                    <a:pt x="570260" y="186899"/>
                  </a:cubicBezTo>
                  <a:lnTo>
                    <a:pt x="570260" y="208043"/>
                  </a:lnTo>
                  <a:cubicBezTo>
                    <a:pt x="570263" y="212157"/>
                    <a:pt x="567833" y="215882"/>
                    <a:pt x="564068" y="217540"/>
                  </a:cubicBezTo>
                  <a:lnTo>
                    <a:pt x="551620" y="223033"/>
                  </a:lnTo>
                  <a:cubicBezTo>
                    <a:pt x="551194" y="224522"/>
                    <a:pt x="550748" y="225982"/>
                    <a:pt x="550261" y="227413"/>
                  </a:cubicBezTo>
                  <a:lnTo>
                    <a:pt x="557206" y="239384"/>
                  </a:lnTo>
                  <a:cubicBezTo>
                    <a:pt x="559043" y="242557"/>
                    <a:pt x="559069" y="246463"/>
                    <a:pt x="557277" y="249662"/>
                  </a:cubicBezTo>
                  <a:cubicBezTo>
                    <a:pt x="553464" y="256455"/>
                    <a:pt x="548921" y="262811"/>
                    <a:pt x="543726" y="268617"/>
                  </a:cubicBezTo>
                  <a:cubicBezTo>
                    <a:pt x="541213" y="271452"/>
                    <a:pt x="537348" y="272682"/>
                    <a:pt x="533660" y="271820"/>
                  </a:cubicBezTo>
                  <a:lnTo>
                    <a:pt x="520573" y="268829"/>
                  </a:lnTo>
                  <a:cubicBezTo>
                    <a:pt x="519478" y="269670"/>
                    <a:pt x="518354" y="270502"/>
                    <a:pt x="517208" y="271312"/>
                  </a:cubicBezTo>
                  <a:lnTo>
                    <a:pt x="515932" y="285229"/>
                  </a:lnTo>
                  <a:cubicBezTo>
                    <a:pt x="515587" y="288910"/>
                    <a:pt x="513314" y="292134"/>
                    <a:pt x="509960" y="293693"/>
                  </a:cubicBezTo>
                  <a:cubicBezTo>
                    <a:pt x="502967" y="296966"/>
                    <a:pt x="495620" y="299432"/>
                    <a:pt x="488066" y="301042"/>
                  </a:cubicBezTo>
                  <a:cubicBezTo>
                    <a:pt x="487366" y="301191"/>
                    <a:pt x="486652" y="301266"/>
                    <a:pt x="485937" y="301265"/>
                  </a:cubicBezTo>
                  <a:cubicBezTo>
                    <a:pt x="483012" y="301266"/>
                    <a:pt x="480222" y="300034"/>
                    <a:pt x="478254" y="297869"/>
                  </a:cubicBezTo>
                  <a:lnTo>
                    <a:pt x="466900" y="285375"/>
                  </a:lnTo>
                  <a:cubicBezTo>
                    <a:pt x="428812" y="363253"/>
                    <a:pt x="343880" y="406626"/>
                    <a:pt x="258462" y="391820"/>
                  </a:cubicBezTo>
                  <a:lnTo>
                    <a:pt x="226076" y="432307"/>
                  </a:lnTo>
                  <a:cubicBezTo>
                    <a:pt x="222609" y="436637"/>
                    <a:pt x="216350" y="437476"/>
                    <a:pt x="211865" y="434213"/>
                  </a:cubicBezTo>
                  <a:lnTo>
                    <a:pt x="190876" y="418947"/>
                  </a:lnTo>
                  <a:lnTo>
                    <a:pt x="70333" y="567301"/>
                  </a:lnTo>
                  <a:cubicBezTo>
                    <a:pt x="66733" y="571722"/>
                    <a:pt x="60244" y="572419"/>
                    <a:pt x="55788" y="568862"/>
                  </a:cubicBezTo>
                  <a:lnTo>
                    <a:pt x="3891" y="527344"/>
                  </a:lnTo>
                  <a:cubicBezTo>
                    <a:pt x="3879" y="527334"/>
                    <a:pt x="3866" y="527323"/>
                    <a:pt x="3853" y="527313"/>
                  </a:cubicBezTo>
                  <a:cubicBezTo>
                    <a:pt x="-610" y="523697"/>
                    <a:pt x="-1296" y="517149"/>
                    <a:pt x="2320" y="512687"/>
                  </a:cubicBezTo>
                  <a:lnTo>
                    <a:pt x="120234" y="367570"/>
                  </a:lnTo>
                  <a:lnTo>
                    <a:pt x="97692" y="351176"/>
                  </a:lnTo>
                  <a:cubicBezTo>
                    <a:pt x="95390" y="349513"/>
                    <a:pt x="93876" y="346977"/>
                    <a:pt x="93505" y="344163"/>
                  </a:cubicBezTo>
                  <a:cubicBezTo>
                    <a:pt x="93133" y="341355"/>
                    <a:pt x="93920" y="338515"/>
                    <a:pt x="95684" y="336298"/>
                  </a:cubicBezTo>
                  <a:lnTo>
                    <a:pt x="123451" y="301592"/>
                  </a:lnTo>
                  <a:cubicBezTo>
                    <a:pt x="120000" y="296081"/>
                    <a:pt x="116823" y="290404"/>
                    <a:pt x="113934" y="284580"/>
                  </a:cubicBezTo>
                  <a:cubicBezTo>
                    <a:pt x="65582" y="187122"/>
                    <a:pt x="105392" y="68919"/>
                    <a:pt x="202849" y="20568"/>
                  </a:cubicBezTo>
                  <a:cubicBezTo>
                    <a:pt x="227213" y="8480"/>
                    <a:pt x="252874" y="1902"/>
                    <a:pt x="278416" y="358"/>
                  </a:cubicBezTo>
                  <a:close/>
                </a:path>
              </a:pathLst>
            </a:custGeom>
            <a:solidFill>
              <a:schemeClr val="bg1"/>
            </a:solidFill>
            <a:ln w="99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0BBD749B-DC08-4811-90DD-72E6A3F7A73F}"/>
                </a:ext>
              </a:extLst>
            </p:cNvPr>
            <p:cNvSpPr/>
            <p:nvPr/>
          </p:nvSpPr>
          <p:spPr>
            <a:xfrm>
              <a:off x="10182328" y="3288057"/>
              <a:ext cx="753185" cy="807177"/>
            </a:xfrm>
            <a:custGeom>
              <a:avLst/>
              <a:gdLst>
                <a:gd name="connsiteX0" fmla="*/ 423095 w 564889"/>
                <a:gd name="connsiteY0" fmla="*/ 433669 h 605383"/>
                <a:gd name="connsiteX1" fmla="*/ 292477 w 564889"/>
                <a:gd name="connsiteY1" fmla="*/ 564287 h 605383"/>
                <a:gd name="connsiteX2" fmla="*/ 292477 w 564889"/>
                <a:gd name="connsiteY2" fmla="*/ 584474 h 605383"/>
                <a:gd name="connsiteX3" fmla="*/ 443283 w 564889"/>
                <a:gd name="connsiteY3" fmla="*/ 433669 h 605383"/>
                <a:gd name="connsiteX4" fmla="*/ 121486 w 564889"/>
                <a:gd name="connsiteY4" fmla="*/ 433669 h 605383"/>
                <a:gd name="connsiteX5" fmla="*/ 272291 w 564889"/>
                <a:gd name="connsiteY5" fmla="*/ 584474 h 605383"/>
                <a:gd name="connsiteX6" fmla="*/ 272291 w 564889"/>
                <a:gd name="connsiteY6" fmla="*/ 564287 h 605383"/>
                <a:gd name="connsiteX7" fmla="*/ 141674 w 564889"/>
                <a:gd name="connsiteY7" fmla="*/ 433669 h 605383"/>
                <a:gd name="connsiteX8" fmla="*/ 286229 w 564889"/>
                <a:gd name="connsiteY8" fmla="*/ 414322 h 605383"/>
                <a:gd name="connsiteX9" fmla="*/ 289835 w 564889"/>
                <a:gd name="connsiteY9" fmla="*/ 416486 h 605383"/>
                <a:gd name="connsiteX10" fmla="*/ 292719 w 564889"/>
                <a:gd name="connsiteY10" fmla="*/ 423696 h 605383"/>
                <a:gd name="connsiteX11" fmla="*/ 291877 w 564889"/>
                <a:gd name="connsiteY11" fmla="*/ 427540 h 605383"/>
                <a:gd name="connsiteX12" fmla="*/ 289714 w 564889"/>
                <a:gd name="connsiteY12" fmla="*/ 430906 h 605383"/>
                <a:gd name="connsiteX13" fmla="*/ 275416 w 564889"/>
                <a:gd name="connsiteY13" fmla="*/ 430906 h 605383"/>
                <a:gd name="connsiteX14" fmla="*/ 273253 w 564889"/>
                <a:gd name="connsiteY14" fmla="*/ 427540 h 605383"/>
                <a:gd name="connsiteX15" fmla="*/ 272411 w 564889"/>
                <a:gd name="connsiteY15" fmla="*/ 423696 h 605383"/>
                <a:gd name="connsiteX16" fmla="*/ 275295 w 564889"/>
                <a:gd name="connsiteY16" fmla="*/ 416486 h 605383"/>
                <a:gd name="connsiteX17" fmla="*/ 286229 w 564889"/>
                <a:gd name="connsiteY17" fmla="*/ 414322 h 605383"/>
                <a:gd name="connsiteX18" fmla="*/ 272532 w 564889"/>
                <a:gd name="connsiteY18" fmla="*/ 384521 h 605383"/>
                <a:gd name="connsiteX19" fmla="*/ 243332 w 564889"/>
                <a:gd name="connsiteY19" fmla="*/ 413722 h 605383"/>
                <a:gd name="connsiteX20" fmla="*/ 251984 w 564889"/>
                <a:gd name="connsiteY20" fmla="*/ 423575 h 605383"/>
                <a:gd name="connsiteX21" fmla="*/ 243332 w 564889"/>
                <a:gd name="connsiteY21" fmla="*/ 433429 h 605383"/>
                <a:gd name="connsiteX22" fmla="*/ 272532 w 564889"/>
                <a:gd name="connsiteY22" fmla="*/ 462628 h 605383"/>
                <a:gd name="connsiteX23" fmla="*/ 282386 w 564889"/>
                <a:gd name="connsiteY23" fmla="*/ 453977 h 605383"/>
                <a:gd name="connsiteX24" fmla="*/ 292239 w 564889"/>
                <a:gd name="connsiteY24" fmla="*/ 462628 h 605383"/>
                <a:gd name="connsiteX25" fmla="*/ 321438 w 564889"/>
                <a:gd name="connsiteY25" fmla="*/ 433429 h 605383"/>
                <a:gd name="connsiteX26" fmla="*/ 312787 w 564889"/>
                <a:gd name="connsiteY26" fmla="*/ 423575 h 605383"/>
                <a:gd name="connsiteX27" fmla="*/ 321438 w 564889"/>
                <a:gd name="connsiteY27" fmla="*/ 413722 h 605383"/>
                <a:gd name="connsiteX28" fmla="*/ 292239 w 564889"/>
                <a:gd name="connsiteY28" fmla="*/ 384521 h 605383"/>
                <a:gd name="connsiteX29" fmla="*/ 282386 w 564889"/>
                <a:gd name="connsiteY29" fmla="*/ 393174 h 605383"/>
                <a:gd name="connsiteX30" fmla="*/ 272532 w 564889"/>
                <a:gd name="connsiteY30" fmla="*/ 384521 h 605383"/>
                <a:gd name="connsiteX31" fmla="*/ 282386 w 564889"/>
                <a:gd name="connsiteY31" fmla="*/ 352919 h 605383"/>
                <a:gd name="connsiteX32" fmla="*/ 292479 w 564889"/>
                <a:gd name="connsiteY32" fmla="*/ 363013 h 605383"/>
                <a:gd name="connsiteX33" fmla="*/ 292479 w 564889"/>
                <a:gd name="connsiteY33" fmla="*/ 363975 h 605383"/>
                <a:gd name="connsiteX34" fmla="*/ 341986 w 564889"/>
                <a:gd name="connsiteY34" fmla="*/ 413482 h 605383"/>
                <a:gd name="connsiteX35" fmla="*/ 342948 w 564889"/>
                <a:gd name="connsiteY35" fmla="*/ 413482 h 605383"/>
                <a:gd name="connsiteX36" fmla="*/ 353042 w 564889"/>
                <a:gd name="connsiteY36" fmla="*/ 423575 h 605383"/>
                <a:gd name="connsiteX37" fmla="*/ 342948 w 564889"/>
                <a:gd name="connsiteY37" fmla="*/ 433669 h 605383"/>
                <a:gd name="connsiteX38" fmla="*/ 341986 w 564889"/>
                <a:gd name="connsiteY38" fmla="*/ 433669 h 605383"/>
                <a:gd name="connsiteX39" fmla="*/ 292479 w 564889"/>
                <a:gd name="connsiteY39" fmla="*/ 483176 h 605383"/>
                <a:gd name="connsiteX40" fmla="*/ 292479 w 564889"/>
                <a:gd name="connsiteY40" fmla="*/ 484138 h 605383"/>
                <a:gd name="connsiteX41" fmla="*/ 282386 w 564889"/>
                <a:gd name="connsiteY41" fmla="*/ 494232 h 605383"/>
                <a:gd name="connsiteX42" fmla="*/ 272292 w 564889"/>
                <a:gd name="connsiteY42" fmla="*/ 484138 h 605383"/>
                <a:gd name="connsiteX43" fmla="*/ 272292 w 564889"/>
                <a:gd name="connsiteY43" fmla="*/ 483176 h 605383"/>
                <a:gd name="connsiteX44" fmla="*/ 222785 w 564889"/>
                <a:gd name="connsiteY44" fmla="*/ 433669 h 605383"/>
                <a:gd name="connsiteX45" fmla="*/ 221823 w 564889"/>
                <a:gd name="connsiteY45" fmla="*/ 433669 h 605383"/>
                <a:gd name="connsiteX46" fmla="*/ 211729 w 564889"/>
                <a:gd name="connsiteY46" fmla="*/ 423575 h 605383"/>
                <a:gd name="connsiteX47" fmla="*/ 221823 w 564889"/>
                <a:gd name="connsiteY47" fmla="*/ 413482 h 605383"/>
                <a:gd name="connsiteX48" fmla="*/ 222785 w 564889"/>
                <a:gd name="connsiteY48" fmla="*/ 413482 h 605383"/>
                <a:gd name="connsiteX49" fmla="*/ 272292 w 564889"/>
                <a:gd name="connsiteY49" fmla="*/ 363975 h 605383"/>
                <a:gd name="connsiteX50" fmla="*/ 272292 w 564889"/>
                <a:gd name="connsiteY50" fmla="*/ 363013 h 605383"/>
                <a:gd name="connsiteX51" fmla="*/ 282386 w 564889"/>
                <a:gd name="connsiteY51" fmla="*/ 352919 h 605383"/>
                <a:gd name="connsiteX52" fmla="*/ 272410 w 564889"/>
                <a:gd name="connsiteY52" fmla="*/ 303052 h 605383"/>
                <a:gd name="connsiteX53" fmla="*/ 161980 w 564889"/>
                <a:gd name="connsiteY53" fmla="*/ 413482 h 605383"/>
                <a:gd name="connsiteX54" fmla="*/ 181688 w 564889"/>
                <a:gd name="connsiteY54" fmla="*/ 413482 h 605383"/>
                <a:gd name="connsiteX55" fmla="*/ 191782 w 564889"/>
                <a:gd name="connsiteY55" fmla="*/ 423575 h 605383"/>
                <a:gd name="connsiteX56" fmla="*/ 181688 w 564889"/>
                <a:gd name="connsiteY56" fmla="*/ 433669 h 605383"/>
                <a:gd name="connsiteX57" fmla="*/ 161980 w 564889"/>
                <a:gd name="connsiteY57" fmla="*/ 433669 h 605383"/>
                <a:gd name="connsiteX58" fmla="*/ 272410 w 564889"/>
                <a:gd name="connsiteY58" fmla="*/ 544099 h 605383"/>
                <a:gd name="connsiteX59" fmla="*/ 272410 w 564889"/>
                <a:gd name="connsiteY59" fmla="*/ 524393 h 605383"/>
                <a:gd name="connsiteX60" fmla="*/ 282504 w 564889"/>
                <a:gd name="connsiteY60" fmla="*/ 514299 h 605383"/>
                <a:gd name="connsiteX61" fmla="*/ 292598 w 564889"/>
                <a:gd name="connsiteY61" fmla="*/ 524393 h 605383"/>
                <a:gd name="connsiteX62" fmla="*/ 292598 w 564889"/>
                <a:gd name="connsiteY62" fmla="*/ 544099 h 605383"/>
                <a:gd name="connsiteX63" fmla="*/ 403028 w 564889"/>
                <a:gd name="connsiteY63" fmla="*/ 433669 h 605383"/>
                <a:gd name="connsiteX64" fmla="*/ 383321 w 564889"/>
                <a:gd name="connsiteY64" fmla="*/ 433669 h 605383"/>
                <a:gd name="connsiteX65" fmla="*/ 373227 w 564889"/>
                <a:gd name="connsiteY65" fmla="*/ 423575 h 605383"/>
                <a:gd name="connsiteX66" fmla="*/ 383321 w 564889"/>
                <a:gd name="connsiteY66" fmla="*/ 413482 h 605383"/>
                <a:gd name="connsiteX67" fmla="*/ 403028 w 564889"/>
                <a:gd name="connsiteY67" fmla="*/ 413482 h 605383"/>
                <a:gd name="connsiteX68" fmla="*/ 292598 w 564889"/>
                <a:gd name="connsiteY68" fmla="*/ 303052 h 605383"/>
                <a:gd name="connsiteX69" fmla="*/ 292598 w 564889"/>
                <a:gd name="connsiteY69" fmla="*/ 322760 h 605383"/>
                <a:gd name="connsiteX70" fmla="*/ 282504 w 564889"/>
                <a:gd name="connsiteY70" fmla="*/ 332853 h 605383"/>
                <a:gd name="connsiteX71" fmla="*/ 272410 w 564889"/>
                <a:gd name="connsiteY71" fmla="*/ 322760 h 605383"/>
                <a:gd name="connsiteX72" fmla="*/ 292477 w 564889"/>
                <a:gd name="connsiteY72" fmla="*/ 262677 h 605383"/>
                <a:gd name="connsiteX73" fmla="*/ 292477 w 564889"/>
                <a:gd name="connsiteY73" fmla="*/ 282864 h 605383"/>
                <a:gd name="connsiteX74" fmla="*/ 423095 w 564889"/>
                <a:gd name="connsiteY74" fmla="*/ 413482 h 605383"/>
                <a:gd name="connsiteX75" fmla="*/ 443283 w 564889"/>
                <a:gd name="connsiteY75" fmla="*/ 413482 h 605383"/>
                <a:gd name="connsiteX76" fmla="*/ 292477 w 564889"/>
                <a:gd name="connsiteY76" fmla="*/ 262677 h 605383"/>
                <a:gd name="connsiteX77" fmla="*/ 272291 w 564889"/>
                <a:gd name="connsiteY77" fmla="*/ 262677 h 605383"/>
                <a:gd name="connsiteX78" fmla="*/ 121486 w 564889"/>
                <a:gd name="connsiteY78" fmla="*/ 413482 h 605383"/>
                <a:gd name="connsiteX79" fmla="*/ 141674 w 564889"/>
                <a:gd name="connsiteY79" fmla="*/ 413482 h 605383"/>
                <a:gd name="connsiteX80" fmla="*/ 272291 w 564889"/>
                <a:gd name="connsiteY80" fmla="*/ 282864 h 605383"/>
                <a:gd name="connsiteX81" fmla="*/ 449532 w 564889"/>
                <a:gd name="connsiteY81" fmla="*/ 250300 h 605383"/>
                <a:gd name="connsiteX82" fmla="*/ 429465 w 564889"/>
                <a:gd name="connsiteY82" fmla="*/ 269286 h 605383"/>
                <a:gd name="connsiteX83" fmla="*/ 397141 w 564889"/>
                <a:gd name="connsiteY83" fmla="*/ 283104 h 605383"/>
                <a:gd name="connsiteX84" fmla="*/ 463350 w 564889"/>
                <a:gd name="connsiteY84" fmla="*/ 413482 h 605383"/>
                <a:gd name="connsiteX85" fmla="*/ 504206 w 564889"/>
                <a:gd name="connsiteY85" fmla="*/ 413482 h 605383"/>
                <a:gd name="connsiteX86" fmla="*/ 504206 w 564889"/>
                <a:gd name="connsiteY86" fmla="*/ 322760 h 605383"/>
                <a:gd name="connsiteX87" fmla="*/ 514300 w 564889"/>
                <a:gd name="connsiteY87" fmla="*/ 312666 h 605383"/>
                <a:gd name="connsiteX88" fmla="*/ 524393 w 564889"/>
                <a:gd name="connsiteY88" fmla="*/ 322760 h 605383"/>
                <a:gd name="connsiteX89" fmla="*/ 524393 w 564889"/>
                <a:gd name="connsiteY89" fmla="*/ 413482 h 605383"/>
                <a:gd name="connsiteX90" fmla="*/ 544581 w 564889"/>
                <a:gd name="connsiteY90" fmla="*/ 413482 h 605383"/>
                <a:gd name="connsiteX91" fmla="*/ 544701 w 564889"/>
                <a:gd name="connsiteY91" fmla="*/ 413482 h 605383"/>
                <a:gd name="connsiteX92" fmla="*/ 544701 w 564889"/>
                <a:gd name="connsiteY92" fmla="*/ 302332 h 605383"/>
                <a:gd name="connsiteX93" fmla="*/ 532445 w 564889"/>
                <a:gd name="connsiteY93" fmla="*/ 283826 h 605383"/>
                <a:gd name="connsiteX94" fmla="*/ 498558 w 564889"/>
                <a:gd name="connsiteY94" fmla="*/ 269286 h 605383"/>
                <a:gd name="connsiteX95" fmla="*/ 478491 w 564889"/>
                <a:gd name="connsiteY95" fmla="*/ 250300 h 605383"/>
                <a:gd name="connsiteX96" fmla="*/ 449532 w 564889"/>
                <a:gd name="connsiteY96" fmla="*/ 250300 h 605383"/>
                <a:gd name="connsiteX97" fmla="*/ 86398 w 564889"/>
                <a:gd name="connsiteY97" fmla="*/ 250180 h 605383"/>
                <a:gd name="connsiteX98" fmla="*/ 66331 w 564889"/>
                <a:gd name="connsiteY98" fmla="*/ 269166 h 605383"/>
                <a:gd name="connsiteX99" fmla="*/ 32444 w 564889"/>
                <a:gd name="connsiteY99" fmla="*/ 283706 h 605383"/>
                <a:gd name="connsiteX100" fmla="*/ 20188 w 564889"/>
                <a:gd name="connsiteY100" fmla="*/ 302332 h 605383"/>
                <a:gd name="connsiteX101" fmla="*/ 20188 w 564889"/>
                <a:gd name="connsiteY101" fmla="*/ 413363 h 605383"/>
                <a:gd name="connsiteX102" fmla="*/ 40375 w 564889"/>
                <a:gd name="connsiteY102" fmla="*/ 413363 h 605383"/>
                <a:gd name="connsiteX103" fmla="*/ 40375 w 564889"/>
                <a:gd name="connsiteY103" fmla="*/ 322639 h 605383"/>
                <a:gd name="connsiteX104" fmla="*/ 50469 w 564889"/>
                <a:gd name="connsiteY104" fmla="*/ 312546 h 605383"/>
                <a:gd name="connsiteX105" fmla="*/ 60563 w 564889"/>
                <a:gd name="connsiteY105" fmla="*/ 322639 h 605383"/>
                <a:gd name="connsiteX106" fmla="*/ 60563 w 564889"/>
                <a:gd name="connsiteY106" fmla="*/ 413363 h 605383"/>
                <a:gd name="connsiteX107" fmla="*/ 101419 w 564889"/>
                <a:gd name="connsiteY107" fmla="*/ 413363 h 605383"/>
                <a:gd name="connsiteX108" fmla="*/ 167628 w 564889"/>
                <a:gd name="connsiteY108" fmla="*/ 282984 h 605383"/>
                <a:gd name="connsiteX109" fmla="*/ 135424 w 564889"/>
                <a:gd name="connsiteY109" fmla="*/ 269166 h 605383"/>
                <a:gd name="connsiteX110" fmla="*/ 115357 w 564889"/>
                <a:gd name="connsiteY110" fmla="*/ 250180 h 605383"/>
                <a:gd name="connsiteX111" fmla="*/ 86398 w 564889"/>
                <a:gd name="connsiteY111" fmla="*/ 250180 h 605383"/>
                <a:gd name="connsiteX112" fmla="*/ 267964 w 564889"/>
                <a:gd name="connsiteY112" fmla="*/ 139390 h 605383"/>
                <a:gd name="connsiteX113" fmla="*/ 247897 w 564889"/>
                <a:gd name="connsiteY113" fmla="*/ 158375 h 605383"/>
                <a:gd name="connsiteX114" fmla="*/ 214012 w 564889"/>
                <a:gd name="connsiteY114" fmla="*/ 172915 h 605383"/>
                <a:gd name="connsiteX115" fmla="*/ 201755 w 564889"/>
                <a:gd name="connsiteY115" fmla="*/ 191421 h 605383"/>
                <a:gd name="connsiteX116" fmla="*/ 201755 w 564889"/>
                <a:gd name="connsiteY116" fmla="*/ 261235 h 605383"/>
                <a:gd name="connsiteX117" fmla="*/ 221943 w 564889"/>
                <a:gd name="connsiteY117" fmla="*/ 252703 h 605383"/>
                <a:gd name="connsiteX118" fmla="*/ 221943 w 564889"/>
                <a:gd name="connsiteY118" fmla="*/ 211849 h 605383"/>
                <a:gd name="connsiteX119" fmla="*/ 232037 w 564889"/>
                <a:gd name="connsiteY119" fmla="*/ 201755 h 605383"/>
                <a:gd name="connsiteX120" fmla="*/ 242130 w 564889"/>
                <a:gd name="connsiteY120" fmla="*/ 211849 h 605383"/>
                <a:gd name="connsiteX121" fmla="*/ 242130 w 564889"/>
                <a:gd name="connsiteY121" fmla="*/ 246816 h 605383"/>
                <a:gd name="connsiteX122" fmla="*/ 322759 w 564889"/>
                <a:gd name="connsiteY122" fmla="*/ 246816 h 605383"/>
                <a:gd name="connsiteX123" fmla="*/ 322759 w 564889"/>
                <a:gd name="connsiteY123" fmla="*/ 211849 h 605383"/>
                <a:gd name="connsiteX124" fmla="*/ 332852 w 564889"/>
                <a:gd name="connsiteY124" fmla="*/ 201755 h 605383"/>
                <a:gd name="connsiteX125" fmla="*/ 342946 w 564889"/>
                <a:gd name="connsiteY125" fmla="*/ 211849 h 605383"/>
                <a:gd name="connsiteX126" fmla="*/ 342946 w 564889"/>
                <a:gd name="connsiteY126" fmla="*/ 252703 h 605383"/>
                <a:gd name="connsiteX127" fmla="*/ 363134 w 564889"/>
                <a:gd name="connsiteY127" fmla="*/ 261235 h 605383"/>
                <a:gd name="connsiteX128" fmla="*/ 363134 w 564889"/>
                <a:gd name="connsiteY128" fmla="*/ 191421 h 605383"/>
                <a:gd name="connsiteX129" fmla="*/ 350877 w 564889"/>
                <a:gd name="connsiteY129" fmla="*/ 172915 h 605383"/>
                <a:gd name="connsiteX130" fmla="*/ 316992 w 564889"/>
                <a:gd name="connsiteY130" fmla="*/ 158375 h 605383"/>
                <a:gd name="connsiteX131" fmla="*/ 296925 w 564889"/>
                <a:gd name="connsiteY131" fmla="*/ 139390 h 605383"/>
                <a:gd name="connsiteX132" fmla="*/ 267964 w 564889"/>
                <a:gd name="connsiteY132" fmla="*/ 139390 h 605383"/>
                <a:gd name="connsiteX133" fmla="*/ 463951 w 564889"/>
                <a:gd name="connsiteY133" fmla="*/ 131099 h 605383"/>
                <a:gd name="connsiteX134" fmla="*/ 423576 w 564889"/>
                <a:gd name="connsiteY134" fmla="*/ 171474 h 605383"/>
                <a:gd name="connsiteX135" fmla="*/ 423576 w 564889"/>
                <a:gd name="connsiteY135" fmla="*/ 191661 h 605383"/>
                <a:gd name="connsiteX136" fmla="*/ 463951 w 564889"/>
                <a:gd name="connsiteY136" fmla="*/ 232036 h 605383"/>
                <a:gd name="connsiteX137" fmla="*/ 504326 w 564889"/>
                <a:gd name="connsiteY137" fmla="*/ 191661 h 605383"/>
                <a:gd name="connsiteX138" fmla="*/ 504326 w 564889"/>
                <a:gd name="connsiteY138" fmla="*/ 171474 h 605383"/>
                <a:gd name="connsiteX139" fmla="*/ 463951 w 564889"/>
                <a:gd name="connsiteY139" fmla="*/ 131099 h 605383"/>
                <a:gd name="connsiteX140" fmla="*/ 100938 w 564889"/>
                <a:gd name="connsiteY140" fmla="*/ 131099 h 605383"/>
                <a:gd name="connsiteX141" fmla="*/ 60563 w 564889"/>
                <a:gd name="connsiteY141" fmla="*/ 171474 h 605383"/>
                <a:gd name="connsiteX142" fmla="*/ 60563 w 564889"/>
                <a:gd name="connsiteY142" fmla="*/ 191661 h 605383"/>
                <a:gd name="connsiteX143" fmla="*/ 100938 w 564889"/>
                <a:gd name="connsiteY143" fmla="*/ 232036 h 605383"/>
                <a:gd name="connsiteX144" fmla="*/ 141313 w 564889"/>
                <a:gd name="connsiteY144" fmla="*/ 191661 h 605383"/>
                <a:gd name="connsiteX145" fmla="*/ 141313 w 564889"/>
                <a:gd name="connsiteY145" fmla="*/ 171474 h 605383"/>
                <a:gd name="connsiteX146" fmla="*/ 100938 w 564889"/>
                <a:gd name="connsiteY146" fmla="*/ 131099 h 605383"/>
                <a:gd name="connsiteX147" fmla="*/ 282385 w 564889"/>
                <a:gd name="connsiteY147" fmla="*/ 20188 h 605383"/>
                <a:gd name="connsiteX148" fmla="*/ 242010 w 564889"/>
                <a:gd name="connsiteY148" fmla="*/ 60563 h 605383"/>
                <a:gd name="connsiteX149" fmla="*/ 242010 w 564889"/>
                <a:gd name="connsiteY149" fmla="*/ 80750 h 605383"/>
                <a:gd name="connsiteX150" fmla="*/ 282385 w 564889"/>
                <a:gd name="connsiteY150" fmla="*/ 121125 h 605383"/>
                <a:gd name="connsiteX151" fmla="*/ 322759 w 564889"/>
                <a:gd name="connsiteY151" fmla="*/ 80750 h 605383"/>
                <a:gd name="connsiteX152" fmla="*/ 322759 w 564889"/>
                <a:gd name="connsiteY152" fmla="*/ 60563 h 605383"/>
                <a:gd name="connsiteX153" fmla="*/ 282385 w 564889"/>
                <a:gd name="connsiteY153" fmla="*/ 20188 h 605383"/>
                <a:gd name="connsiteX154" fmla="*/ 282385 w 564889"/>
                <a:gd name="connsiteY154" fmla="*/ 0 h 605383"/>
                <a:gd name="connsiteX155" fmla="*/ 342826 w 564889"/>
                <a:gd name="connsiteY155" fmla="*/ 60563 h 605383"/>
                <a:gd name="connsiteX156" fmla="*/ 342826 w 564889"/>
                <a:gd name="connsiteY156" fmla="*/ 80630 h 605383"/>
                <a:gd name="connsiteX157" fmla="*/ 315429 w 564889"/>
                <a:gd name="connsiteY157" fmla="*/ 131219 h 605383"/>
                <a:gd name="connsiteX158" fmla="*/ 324803 w 564889"/>
                <a:gd name="connsiteY158" fmla="*/ 139749 h 605383"/>
                <a:gd name="connsiteX159" fmla="*/ 358688 w 564889"/>
                <a:gd name="connsiteY159" fmla="*/ 154290 h 605383"/>
                <a:gd name="connsiteX160" fmla="*/ 383201 w 564889"/>
                <a:gd name="connsiteY160" fmla="*/ 191421 h 605383"/>
                <a:gd name="connsiteX161" fmla="*/ 383201 w 564889"/>
                <a:gd name="connsiteY161" fmla="*/ 267723 h 605383"/>
                <a:gd name="connsiteX162" fmla="*/ 387528 w 564889"/>
                <a:gd name="connsiteY162" fmla="*/ 265200 h 605383"/>
                <a:gd name="connsiteX163" fmla="*/ 421413 w 564889"/>
                <a:gd name="connsiteY163" fmla="*/ 250661 h 605383"/>
                <a:gd name="connsiteX164" fmla="*/ 430786 w 564889"/>
                <a:gd name="connsiteY164" fmla="*/ 242130 h 605383"/>
                <a:gd name="connsiteX165" fmla="*/ 403389 w 564889"/>
                <a:gd name="connsiteY165" fmla="*/ 191541 h 605383"/>
                <a:gd name="connsiteX166" fmla="*/ 403389 w 564889"/>
                <a:gd name="connsiteY166" fmla="*/ 171353 h 605383"/>
                <a:gd name="connsiteX167" fmla="*/ 463951 w 564889"/>
                <a:gd name="connsiteY167" fmla="*/ 110791 h 605383"/>
                <a:gd name="connsiteX168" fmla="*/ 524514 w 564889"/>
                <a:gd name="connsiteY168" fmla="*/ 171353 h 605383"/>
                <a:gd name="connsiteX169" fmla="*/ 524514 w 564889"/>
                <a:gd name="connsiteY169" fmla="*/ 191541 h 605383"/>
                <a:gd name="connsiteX170" fmla="*/ 497117 w 564889"/>
                <a:gd name="connsiteY170" fmla="*/ 242130 h 605383"/>
                <a:gd name="connsiteX171" fmla="*/ 506489 w 564889"/>
                <a:gd name="connsiteY171" fmla="*/ 250661 h 605383"/>
                <a:gd name="connsiteX172" fmla="*/ 540376 w 564889"/>
                <a:gd name="connsiteY172" fmla="*/ 265200 h 605383"/>
                <a:gd name="connsiteX173" fmla="*/ 564889 w 564889"/>
                <a:gd name="connsiteY173" fmla="*/ 302332 h 605383"/>
                <a:gd name="connsiteX174" fmla="*/ 564889 w 564889"/>
                <a:gd name="connsiteY174" fmla="*/ 423575 h 605383"/>
                <a:gd name="connsiteX175" fmla="*/ 554795 w 564889"/>
                <a:gd name="connsiteY175" fmla="*/ 433669 h 605383"/>
                <a:gd name="connsiteX176" fmla="*/ 463470 w 564889"/>
                <a:gd name="connsiteY176" fmla="*/ 433669 h 605383"/>
                <a:gd name="connsiteX177" fmla="*/ 282385 w 564889"/>
                <a:gd name="connsiteY177" fmla="*/ 605383 h 605383"/>
                <a:gd name="connsiteX178" fmla="*/ 101419 w 564889"/>
                <a:gd name="connsiteY178" fmla="*/ 433669 h 605383"/>
                <a:gd name="connsiteX179" fmla="*/ 10094 w 564889"/>
                <a:gd name="connsiteY179" fmla="*/ 433669 h 605383"/>
                <a:gd name="connsiteX180" fmla="*/ 0 w 564889"/>
                <a:gd name="connsiteY180" fmla="*/ 423575 h 605383"/>
                <a:gd name="connsiteX181" fmla="*/ 0 w 564889"/>
                <a:gd name="connsiteY181" fmla="*/ 302332 h 605383"/>
                <a:gd name="connsiteX182" fmla="*/ 24273 w 564889"/>
                <a:gd name="connsiteY182" fmla="*/ 265320 h 605383"/>
                <a:gd name="connsiteX183" fmla="*/ 58160 w 564889"/>
                <a:gd name="connsiteY183" fmla="*/ 250781 h 605383"/>
                <a:gd name="connsiteX184" fmla="*/ 67532 w 564889"/>
                <a:gd name="connsiteY184" fmla="*/ 242250 h 605383"/>
                <a:gd name="connsiteX185" fmla="*/ 40135 w 564889"/>
                <a:gd name="connsiteY185" fmla="*/ 191661 h 605383"/>
                <a:gd name="connsiteX186" fmla="*/ 40135 w 564889"/>
                <a:gd name="connsiteY186" fmla="*/ 171474 h 605383"/>
                <a:gd name="connsiteX187" fmla="*/ 100697 w 564889"/>
                <a:gd name="connsiteY187" fmla="*/ 110911 h 605383"/>
                <a:gd name="connsiteX188" fmla="*/ 161260 w 564889"/>
                <a:gd name="connsiteY188" fmla="*/ 171474 h 605383"/>
                <a:gd name="connsiteX189" fmla="*/ 161260 w 564889"/>
                <a:gd name="connsiteY189" fmla="*/ 191661 h 605383"/>
                <a:gd name="connsiteX190" fmla="*/ 133863 w 564889"/>
                <a:gd name="connsiteY190" fmla="*/ 242250 h 605383"/>
                <a:gd name="connsiteX191" fmla="*/ 143235 w 564889"/>
                <a:gd name="connsiteY191" fmla="*/ 250781 h 605383"/>
                <a:gd name="connsiteX192" fmla="*/ 177121 w 564889"/>
                <a:gd name="connsiteY192" fmla="*/ 265320 h 605383"/>
                <a:gd name="connsiteX193" fmla="*/ 181448 w 564889"/>
                <a:gd name="connsiteY193" fmla="*/ 267844 h 605383"/>
                <a:gd name="connsiteX194" fmla="*/ 181448 w 564889"/>
                <a:gd name="connsiteY194" fmla="*/ 191541 h 605383"/>
                <a:gd name="connsiteX195" fmla="*/ 205961 w 564889"/>
                <a:gd name="connsiteY195" fmla="*/ 154411 h 605383"/>
                <a:gd name="connsiteX196" fmla="*/ 239846 w 564889"/>
                <a:gd name="connsiteY196" fmla="*/ 139870 h 605383"/>
                <a:gd name="connsiteX197" fmla="*/ 249220 w 564889"/>
                <a:gd name="connsiteY197" fmla="*/ 131339 h 605383"/>
                <a:gd name="connsiteX198" fmla="*/ 221823 w 564889"/>
                <a:gd name="connsiteY198" fmla="*/ 80750 h 605383"/>
                <a:gd name="connsiteX199" fmla="*/ 221823 w 564889"/>
                <a:gd name="connsiteY199" fmla="*/ 60563 h 605383"/>
                <a:gd name="connsiteX200" fmla="*/ 282385 w 564889"/>
                <a:gd name="connsiteY200" fmla="*/ 0 h 605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</a:cxnLst>
              <a:rect l="l" t="t" r="r" b="b"/>
              <a:pathLst>
                <a:path w="564889" h="605383">
                  <a:moveTo>
                    <a:pt x="423095" y="433669"/>
                  </a:moveTo>
                  <a:cubicBezTo>
                    <a:pt x="418048" y="503606"/>
                    <a:pt x="362414" y="559240"/>
                    <a:pt x="292477" y="564287"/>
                  </a:cubicBezTo>
                  <a:lnTo>
                    <a:pt x="292477" y="584474"/>
                  </a:lnTo>
                  <a:cubicBezTo>
                    <a:pt x="373468" y="579307"/>
                    <a:pt x="438116" y="514780"/>
                    <a:pt x="443283" y="433669"/>
                  </a:cubicBezTo>
                  <a:close/>
                  <a:moveTo>
                    <a:pt x="121486" y="433669"/>
                  </a:moveTo>
                  <a:cubicBezTo>
                    <a:pt x="126772" y="514780"/>
                    <a:pt x="191301" y="579307"/>
                    <a:pt x="272291" y="584474"/>
                  </a:cubicBezTo>
                  <a:lnTo>
                    <a:pt x="272291" y="564287"/>
                  </a:lnTo>
                  <a:cubicBezTo>
                    <a:pt x="202355" y="559240"/>
                    <a:pt x="146721" y="503606"/>
                    <a:pt x="141674" y="433669"/>
                  </a:cubicBezTo>
                  <a:close/>
                  <a:moveTo>
                    <a:pt x="286229" y="414322"/>
                  </a:moveTo>
                  <a:cubicBezTo>
                    <a:pt x="287431" y="414803"/>
                    <a:pt x="288634" y="415524"/>
                    <a:pt x="289835" y="416486"/>
                  </a:cubicBezTo>
                  <a:cubicBezTo>
                    <a:pt x="291637" y="418408"/>
                    <a:pt x="292719" y="421052"/>
                    <a:pt x="292719" y="423696"/>
                  </a:cubicBezTo>
                  <a:cubicBezTo>
                    <a:pt x="292719" y="425017"/>
                    <a:pt x="292358" y="426340"/>
                    <a:pt x="291877" y="427540"/>
                  </a:cubicBezTo>
                  <a:cubicBezTo>
                    <a:pt x="291276" y="428743"/>
                    <a:pt x="290556" y="429944"/>
                    <a:pt x="289714" y="430906"/>
                  </a:cubicBezTo>
                  <a:cubicBezTo>
                    <a:pt x="285750" y="434750"/>
                    <a:pt x="279380" y="434750"/>
                    <a:pt x="275416" y="430906"/>
                  </a:cubicBezTo>
                  <a:cubicBezTo>
                    <a:pt x="274454" y="429944"/>
                    <a:pt x="273732" y="428743"/>
                    <a:pt x="273253" y="427540"/>
                  </a:cubicBezTo>
                  <a:cubicBezTo>
                    <a:pt x="272652" y="426340"/>
                    <a:pt x="272411" y="425017"/>
                    <a:pt x="272411" y="423696"/>
                  </a:cubicBezTo>
                  <a:cubicBezTo>
                    <a:pt x="272411" y="420932"/>
                    <a:pt x="273493" y="418408"/>
                    <a:pt x="275295" y="416486"/>
                  </a:cubicBezTo>
                  <a:cubicBezTo>
                    <a:pt x="278179" y="413602"/>
                    <a:pt x="282505" y="412760"/>
                    <a:pt x="286229" y="414322"/>
                  </a:cubicBezTo>
                  <a:close/>
                  <a:moveTo>
                    <a:pt x="272532" y="384521"/>
                  </a:moveTo>
                  <a:cubicBezTo>
                    <a:pt x="258113" y="388127"/>
                    <a:pt x="246937" y="399422"/>
                    <a:pt x="243332" y="413722"/>
                  </a:cubicBezTo>
                  <a:cubicBezTo>
                    <a:pt x="248258" y="414323"/>
                    <a:pt x="251984" y="418529"/>
                    <a:pt x="251984" y="423575"/>
                  </a:cubicBezTo>
                  <a:cubicBezTo>
                    <a:pt x="251984" y="428622"/>
                    <a:pt x="248258" y="432827"/>
                    <a:pt x="243332" y="433429"/>
                  </a:cubicBezTo>
                  <a:cubicBezTo>
                    <a:pt x="246937" y="447848"/>
                    <a:pt x="258232" y="459024"/>
                    <a:pt x="272532" y="462628"/>
                  </a:cubicBezTo>
                  <a:cubicBezTo>
                    <a:pt x="273133" y="457701"/>
                    <a:pt x="277339" y="453977"/>
                    <a:pt x="282386" y="453977"/>
                  </a:cubicBezTo>
                  <a:cubicBezTo>
                    <a:pt x="287432" y="453977"/>
                    <a:pt x="291638" y="457701"/>
                    <a:pt x="292239" y="462628"/>
                  </a:cubicBezTo>
                  <a:cubicBezTo>
                    <a:pt x="306538" y="459024"/>
                    <a:pt x="317714" y="447728"/>
                    <a:pt x="321438" y="433429"/>
                  </a:cubicBezTo>
                  <a:cubicBezTo>
                    <a:pt x="316511" y="432827"/>
                    <a:pt x="312787" y="428622"/>
                    <a:pt x="312787" y="423575"/>
                  </a:cubicBezTo>
                  <a:cubicBezTo>
                    <a:pt x="312787" y="418529"/>
                    <a:pt x="316511" y="414323"/>
                    <a:pt x="321438" y="413722"/>
                  </a:cubicBezTo>
                  <a:cubicBezTo>
                    <a:pt x="317834" y="399303"/>
                    <a:pt x="306538" y="388127"/>
                    <a:pt x="292239" y="384521"/>
                  </a:cubicBezTo>
                  <a:cubicBezTo>
                    <a:pt x="291638" y="389448"/>
                    <a:pt x="287432" y="393174"/>
                    <a:pt x="282386" y="393174"/>
                  </a:cubicBezTo>
                  <a:cubicBezTo>
                    <a:pt x="277339" y="393174"/>
                    <a:pt x="273133" y="389448"/>
                    <a:pt x="272532" y="384521"/>
                  </a:cubicBezTo>
                  <a:close/>
                  <a:moveTo>
                    <a:pt x="282386" y="352919"/>
                  </a:moveTo>
                  <a:cubicBezTo>
                    <a:pt x="287913" y="352919"/>
                    <a:pt x="292479" y="357485"/>
                    <a:pt x="292479" y="363013"/>
                  </a:cubicBezTo>
                  <a:lnTo>
                    <a:pt x="292479" y="363975"/>
                  </a:lnTo>
                  <a:cubicBezTo>
                    <a:pt x="317834" y="368300"/>
                    <a:pt x="337661" y="388127"/>
                    <a:pt x="341986" y="413482"/>
                  </a:cubicBezTo>
                  <a:lnTo>
                    <a:pt x="342948" y="413482"/>
                  </a:lnTo>
                  <a:cubicBezTo>
                    <a:pt x="348476" y="413482"/>
                    <a:pt x="353042" y="418048"/>
                    <a:pt x="353042" y="423575"/>
                  </a:cubicBezTo>
                  <a:cubicBezTo>
                    <a:pt x="353042" y="429103"/>
                    <a:pt x="348476" y="433669"/>
                    <a:pt x="342948" y="433669"/>
                  </a:cubicBezTo>
                  <a:lnTo>
                    <a:pt x="341986" y="433669"/>
                  </a:lnTo>
                  <a:cubicBezTo>
                    <a:pt x="337661" y="459024"/>
                    <a:pt x="317834" y="478851"/>
                    <a:pt x="292479" y="483176"/>
                  </a:cubicBezTo>
                  <a:lnTo>
                    <a:pt x="292479" y="484138"/>
                  </a:lnTo>
                  <a:cubicBezTo>
                    <a:pt x="292479" y="489666"/>
                    <a:pt x="287913" y="494232"/>
                    <a:pt x="282386" y="494232"/>
                  </a:cubicBezTo>
                  <a:cubicBezTo>
                    <a:pt x="276858" y="494232"/>
                    <a:pt x="272292" y="489666"/>
                    <a:pt x="272292" y="484138"/>
                  </a:cubicBezTo>
                  <a:lnTo>
                    <a:pt x="272292" y="483176"/>
                  </a:lnTo>
                  <a:cubicBezTo>
                    <a:pt x="246937" y="478851"/>
                    <a:pt x="227110" y="459024"/>
                    <a:pt x="222785" y="433669"/>
                  </a:cubicBezTo>
                  <a:lnTo>
                    <a:pt x="221823" y="433669"/>
                  </a:lnTo>
                  <a:cubicBezTo>
                    <a:pt x="216295" y="433669"/>
                    <a:pt x="211729" y="429103"/>
                    <a:pt x="211729" y="423575"/>
                  </a:cubicBezTo>
                  <a:cubicBezTo>
                    <a:pt x="211729" y="418048"/>
                    <a:pt x="216295" y="413482"/>
                    <a:pt x="221823" y="413482"/>
                  </a:cubicBezTo>
                  <a:lnTo>
                    <a:pt x="222785" y="413482"/>
                  </a:lnTo>
                  <a:cubicBezTo>
                    <a:pt x="227110" y="388127"/>
                    <a:pt x="246937" y="368300"/>
                    <a:pt x="272292" y="363975"/>
                  </a:cubicBezTo>
                  <a:lnTo>
                    <a:pt x="272292" y="363013"/>
                  </a:lnTo>
                  <a:cubicBezTo>
                    <a:pt x="272292" y="357485"/>
                    <a:pt x="276858" y="352919"/>
                    <a:pt x="282386" y="352919"/>
                  </a:cubicBezTo>
                  <a:close/>
                  <a:moveTo>
                    <a:pt x="272410" y="303052"/>
                  </a:moveTo>
                  <a:cubicBezTo>
                    <a:pt x="213651" y="307978"/>
                    <a:pt x="166908" y="354723"/>
                    <a:pt x="161980" y="413482"/>
                  </a:cubicBezTo>
                  <a:lnTo>
                    <a:pt x="181688" y="413482"/>
                  </a:lnTo>
                  <a:cubicBezTo>
                    <a:pt x="187214" y="413482"/>
                    <a:pt x="191782" y="418049"/>
                    <a:pt x="191782" y="423575"/>
                  </a:cubicBezTo>
                  <a:cubicBezTo>
                    <a:pt x="191782" y="429103"/>
                    <a:pt x="187214" y="433669"/>
                    <a:pt x="181688" y="433669"/>
                  </a:cubicBezTo>
                  <a:lnTo>
                    <a:pt x="161980" y="433669"/>
                  </a:lnTo>
                  <a:cubicBezTo>
                    <a:pt x="166908" y="492430"/>
                    <a:pt x="213651" y="539173"/>
                    <a:pt x="272410" y="544099"/>
                  </a:cubicBezTo>
                  <a:lnTo>
                    <a:pt x="272410" y="524393"/>
                  </a:lnTo>
                  <a:cubicBezTo>
                    <a:pt x="272410" y="518866"/>
                    <a:pt x="276978" y="514299"/>
                    <a:pt x="282504" y="514299"/>
                  </a:cubicBezTo>
                  <a:cubicBezTo>
                    <a:pt x="288032" y="514299"/>
                    <a:pt x="292598" y="518866"/>
                    <a:pt x="292598" y="524393"/>
                  </a:cubicBezTo>
                  <a:lnTo>
                    <a:pt x="292598" y="544099"/>
                  </a:lnTo>
                  <a:cubicBezTo>
                    <a:pt x="351358" y="539173"/>
                    <a:pt x="398101" y="492430"/>
                    <a:pt x="403028" y="433669"/>
                  </a:cubicBezTo>
                  <a:lnTo>
                    <a:pt x="383321" y="433669"/>
                  </a:lnTo>
                  <a:cubicBezTo>
                    <a:pt x="377675" y="433669"/>
                    <a:pt x="373227" y="429103"/>
                    <a:pt x="373227" y="423575"/>
                  </a:cubicBezTo>
                  <a:cubicBezTo>
                    <a:pt x="373227" y="418049"/>
                    <a:pt x="377793" y="413482"/>
                    <a:pt x="383321" y="413482"/>
                  </a:cubicBezTo>
                  <a:lnTo>
                    <a:pt x="403028" y="413482"/>
                  </a:lnTo>
                  <a:cubicBezTo>
                    <a:pt x="398101" y="354723"/>
                    <a:pt x="351358" y="307978"/>
                    <a:pt x="292598" y="303052"/>
                  </a:cubicBezTo>
                  <a:lnTo>
                    <a:pt x="292598" y="322760"/>
                  </a:lnTo>
                  <a:cubicBezTo>
                    <a:pt x="292598" y="328286"/>
                    <a:pt x="288032" y="332853"/>
                    <a:pt x="282504" y="332853"/>
                  </a:cubicBezTo>
                  <a:cubicBezTo>
                    <a:pt x="276978" y="332853"/>
                    <a:pt x="272410" y="328286"/>
                    <a:pt x="272410" y="322760"/>
                  </a:cubicBezTo>
                  <a:close/>
                  <a:moveTo>
                    <a:pt x="292477" y="262677"/>
                  </a:moveTo>
                  <a:lnTo>
                    <a:pt x="292477" y="282864"/>
                  </a:lnTo>
                  <a:cubicBezTo>
                    <a:pt x="362414" y="287911"/>
                    <a:pt x="418048" y="343547"/>
                    <a:pt x="423095" y="413482"/>
                  </a:cubicBezTo>
                  <a:lnTo>
                    <a:pt x="443283" y="413482"/>
                  </a:lnTo>
                  <a:cubicBezTo>
                    <a:pt x="438116" y="332372"/>
                    <a:pt x="373468" y="267844"/>
                    <a:pt x="292477" y="262677"/>
                  </a:cubicBezTo>
                  <a:close/>
                  <a:moveTo>
                    <a:pt x="272291" y="262677"/>
                  </a:moveTo>
                  <a:cubicBezTo>
                    <a:pt x="191181" y="267844"/>
                    <a:pt x="126653" y="332493"/>
                    <a:pt x="121486" y="413482"/>
                  </a:cubicBezTo>
                  <a:lnTo>
                    <a:pt x="141674" y="413482"/>
                  </a:lnTo>
                  <a:cubicBezTo>
                    <a:pt x="146721" y="343547"/>
                    <a:pt x="202355" y="287911"/>
                    <a:pt x="272291" y="282864"/>
                  </a:cubicBezTo>
                  <a:close/>
                  <a:moveTo>
                    <a:pt x="449532" y="250300"/>
                  </a:moveTo>
                  <a:cubicBezTo>
                    <a:pt x="445327" y="258832"/>
                    <a:pt x="438236" y="265561"/>
                    <a:pt x="429465" y="269286"/>
                  </a:cubicBezTo>
                  <a:lnTo>
                    <a:pt x="397141" y="283104"/>
                  </a:lnTo>
                  <a:cubicBezTo>
                    <a:pt x="436554" y="315310"/>
                    <a:pt x="460588" y="362654"/>
                    <a:pt x="463350" y="413482"/>
                  </a:cubicBezTo>
                  <a:lnTo>
                    <a:pt x="504206" y="413482"/>
                  </a:lnTo>
                  <a:lnTo>
                    <a:pt x="504206" y="322760"/>
                  </a:lnTo>
                  <a:cubicBezTo>
                    <a:pt x="504206" y="317232"/>
                    <a:pt x="508772" y="312666"/>
                    <a:pt x="514300" y="312666"/>
                  </a:cubicBezTo>
                  <a:cubicBezTo>
                    <a:pt x="519828" y="312666"/>
                    <a:pt x="524393" y="317232"/>
                    <a:pt x="524393" y="322760"/>
                  </a:cubicBezTo>
                  <a:lnTo>
                    <a:pt x="524393" y="413482"/>
                  </a:lnTo>
                  <a:lnTo>
                    <a:pt x="544581" y="413482"/>
                  </a:lnTo>
                  <a:lnTo>
                    <a:pt x="544701" y="413482"/>
                  </a:lnTo>
                  <a:lnTo>
                    <a:pt x="544701" y="302332"/>
                  </a:lnTo>
                  <a:cubicBezTo>
                    <a:pt x="544701" y="294280"/>
                    <a:pt x="539895" y="287071"/>
                    <a:pt x="532445" y="283826"/>
                  </a:cubicBezTo>
                  <a:lnTo>
                    <a:pt x="498558" y="269286"/>
                  </a:lnTo>
                  <a:cubicBezTo>
                    <a:pt x="489907" y="265561"/>
                    <a:pt x="482697" y="258832"/>
                    <a:pt x="478491" y="250300"/>
                  </a:cubicBezTo>
                  <a:cubicBezTo>
                    <a:pt x="468998" y="252703"/>
                    <a:pt x="459024" y="252703"/>
                    <a:pt x="449532" y="250300"/>
                  </a:cubicBezTo>
                  <a:close/>
                  <a:moveTo>
                    <a:pt x="86398" y="250180"/>
                  </a:moveTo>
                  <a:cubicBezTo>
                    <a:pt x="82192" y="258712"/>
                    <a:pt x="75102" y="265440"/>
                    <a:pt x="66331" y="269166"/>
                  </a:cubicBezTo>
                  <a:lnTo>
                    <a:pt x="32444" y="283706"/>
                  </a:lnTo>
                  <a:cubicBezTo>
                    <a:pt x="24994" y="286951"/>
                    <a:pt x="20188" y="294280"/>
                    <a:pt x="20188" y="302332"/>
                  </a:cubicBezTo>
                  <a:lnTo>
                    <a:pt x="20188" y="413363"/>
                  </a:lnTo>
                  <a:lnTo>
                    <a:pt x="40375" y="413363"/>
                  </a:lnTo>
                  <a:lnTo>
                    <a:pt x="40375" y="322639"/>
                  </a:lnTo>
                  <a:cubicBezTo>
                    <a:pt x="40375" y="317112"/>
                    <a:pt x="44941" y="312546"/>
                    <a:pt x="50469" y="312546"/>
                  </a:cubicBezTo>
                  <a:cubicBezTo>
                    <a:pt x="55997" y="312546"/>
                    <a:pt x="60563" y="317112"/>
                    <a:pt x="60563" y="322639"/>
                  </a:cubicBezTo>
                  <a:lnTo>
                    <a:pt x="60563" y="413363"/>
                  </a:lnTo>
                  <a:lnTo>
                    <a:pt x="101419" y="413363"/>
                  </a:lnTo>
                  <a:cubicBezTo>
                    <a:pt x="104181" y="362533"/>
                    <a:pt x="128215" y="315189"/>
                    <a:pt x="167628" y="282984"/>
                  </a:cubicBezTo>
                  <a:lnTo>
                    <a:pt x="135424" y="269166"/>
                  </a:lnTo>
                  <a:cubicBezTo>
                    <a:pt x="126772" y="265440"/>
                    <a:pt x="119562" y="258712"/>
                    <a:pt x="115357" y="250180"/>
                  </a:cubicBezTo>
                  <a:cubicBezTo>
                    <a:pt x="105865" y="252583"/>
                    <a:pt x="95891" y="252583"/>
                    <a:pt x="86398" y="250180"/>
                  </a:cubicBezTo>
                  <a:close/>
                  <a:moveTo>
                    <a:pt x="267964" y="139390"/>
                  </a:moveTo>
                  <a:cubicBezTo>
                    <a:pt x="263759" y="147921"/>
                    <a:pt x="256670" y="154650"/>
                    <a:pt x="247897" y="158375"/>
                  </a:cubicBezTo>
                  <a:lnTo>
                    <a:pt x="214012" y="172915"/>
                  </a:lnTo>
                  <a:cubicBezTo>
                    <a:pt x="206562" y="176040"/>
                    <a:pt x="201755" y="183369"/>
                    <a:pt x="201755" y="191421"/>
                  </a:cubicBezTo>
                  <a:lnTo>
                    <a:pt x="201755" y="261235"/>
                  </a:lnTo>
                  <a:cubicBezTo>
                    <a:pt x="208364" y="257990"/>
                    <a:pt x="215092" y="255106"/>
                    <a:pt x="221943" y="252703"/>
                  </a:cubicBezTo>
                  <a:lnTo>
                    <a:pt x="221943" y="211849"/>
                  </a:lnTo>
                  <a:cubicBezTo>
                    <a:pt x="221943" y="206321"/>
                    <a:pt x="226509" y="201755"/>
                    <a:pt x="232037" y="201755"/>
                  </a:cubicBezTo>
                  <a:cubicBezTo>
                    <a:pt x="237563" y="201755"/>
                    <a:pt x="242130" y="206321"/>
                    <a:pt x="242130" y="211849"/>
                  </a:cubicBezTo>
                  <a:lnTo>
                    <a:pt x="242130" y="246816"/>
                  </a:lnTo>
                  <a:cubicBezTo>
                    <a:pt x="268566" y="240567"/>
                    <a:pt x="296203" y="240567"/>
                    <a:pt x="322759" y="246816"/>
                  </a:cubicBezTo>
                  <a:lnTo>
                    <a:pt x="322759" y="211849"/>
                  </a:lnTo>
                  <a:cubicBezTo>
                    <a:pt x="322759" y="206321"/>
                    <a:pt x="327326" y="201755"/>
                    <a:pt x="332852" y="201755"/>
                  </a:cubicBezTo>
                  <a:cubicBezTo>
                    <a:pt x="338380" y="201755"/>
                    <a:pt x="342946" y="206321"/>
                    <a:pt x="342946" y="211849"/>
                  </a:cubicBezTo>
                  <a:lnTo>
                    <a:pt x="342946" y="252703"/>
                  </a:lnTo>
                  <a:cubicBezTo>
                    <a:pt x="349797" y="255106"/>
                    <a:pt x="356646" y="257990"/>
                    <a:pt x="363134" y="261235"/>
                  </a:cubicBezTo>
                  <a:lnTo>
                    <a:pt x="363134" y="191421"/>
                  </a:lnTo>
                  <a:cubicBezTo>
                    <a:pt x="363134" y="183369"/>
                    <a:pt x="358327" y="176040"/>
                    <a:pt x="350877" y="172915"/>
                  </a:cubicBezTo>
                  <a:lnTo>
                    <a:pt x="316992" y="158375"/>
                  </a:lnTo>
                  <a:cubicBezTo>
                    <a:pt x="308339" y="154650"/>
                    <a:pt x="301130" y="147921"/>
                    <a:pt x="296925" y="139390"/>
                  </a:cubicBezTo>
                  <a:cubicBezTo>
                    <a:pt x="287430" y="141794"/>
                    <a:pt x="277457" y="141794"/>
                    <a:pt x="267964" y="139390"/>
                  </a:cubicBezTo>
                  <a:close/>
                  <a:moveTo>
                    <a:pt x="463951" y="131099"/>
                  </a:moveTo>
                  <a:cubicBezTo>
                    <a:pt x="441601" y="131099"/>
                    <a:pt x="423576" y="149244"/>
                    <a:pt x="423576" y="171474"/>
                  </a:cubicBezTo>
                  <a:lnTo>
                    <a:pt x="423576" y="191661"/>
                  </a:lnTo>
                  <a:cubicBezTo>
                    <a:pt x="423576" y="214011"/>
                    <a:pt x="441721" y="232036"/>
                    <a:pt x="463951" y="232036"/>
                  </a:cubicBezTo>
                  <a:cubicBezTo>
                    <a:pt x="486301" y="232036"/>
                    <a:pt x="504326" y="213891"/>
                    <a:pt x="504326" y="191661"/>
                  </a:cubicBezTo>
                  <a:lnTo>
                    <a:pt x="504326" y="171474"/>
                  </a:lnTo>
                  <a:cubicBezTo>
                    <a:pt x="504326" y="149123"/>
                    <a:pt x="486181" y="131099"/>
                    <a:pt x="463951" y="131099"/>
                  </a:cubicBezTo>
                  <a:close/>
                  <a:moveTo>
                    <a:pt x="100938" y="131099"/>
                  </a:moveTo>
                  <a:cubicBezTo>
                    <a:pt x="78588" y="131099"/>
                    <a:pt x="60563" y="149244"/>
                    <a:pt x="60563" y="171474"/>
                  </a:cubicBezTo>
                  <a:lnTo>
                    <a:pt x="60563" y="191661"/>
                  </a:lnTo>
                  <a:cubicBezTo>
                    <a:pt x="60563" y="214011"/>
                    <a:pt x="78588" y="232036"/>
                    <a:pt x="100938" y="232036"/>
                  </a:cubicBezTo>
                  <a:cubicBezTo>
                    <a:pt x="123288" y="232036"/>
                    <a:pt x="141313" y="213891"/>
                    <a:pt x="141313" y="191661"/>
                  </a:cubicBezTo>
                  <a:lnTo>
                    <a:pt x="141313" y="171474"/>
                  </a:lnTo>
                  <a:cubicBezTo>
                    <a:pt x="141313" y="149123"/>
                    <a:pt x="123288" y="131099"/>
                    <a:pt x="100938" y="131099"/>
                  </a:cubicBezTo>
                  <a:close/>
                  <a:moveTo>
                    <a:pt x="282385" y="20188"/>
                  </a:moveTo>
                  <a:cubicBezTo>
                    <a:pt x="260033" y="20188"/>
                    <a:pt x="242010" y="38333"/>
                    <a:pt x="242010" y="60563"/>
                  </a:cubicBezTo>
                  <a:lnTo>
                    <a:pt x="242010" y="80750"/>
                  </a:lnTo>
                  <a:cubicBezTo>
                    <a:pt x="242010" y="103100"/>
                    <a:pt x="260033" y="121125"/>
                    <a:pt x="282385" y="121125"/>
                  </a:cubicBezTo>
                  <a:cubicBezTo>
                    <a:pt x="304735" y="121125"/>
                    <a:pt x="322759" y="102980"/>
                    <a:pt x="322759" y="80750"/>
                  </a:cubicBezTo>
                  <a:lnTo>
                    <a:pt x="322759" y="60563"/>
                  </a:lnTo>
                  <a:cubicBezTo>
                    <a:pt x="322759" y="38212"/>
                    <a:pt x="304735" y="20188"/>
                    <a:pt x="282385" y="20188"/>
                  </a:cubicBezTo>
                  <a:close/>
                  <a:moveTo>
                    <a:pt x="282385" y="0"/>
                  </a:moveTo>
                  <a:cubicBezTo>
                    <a:pt x="315790" y="0"/>
                    <a:pt x="342946" y="27036"/>
                    <a:pt x="342826" y="60563"/>
                  </a:cubicBezTo>
                  <a:lnTo>
                    <a:pt x="342826" y="80630"/>
                  </a:lnTo>
                  <a:cubicBezTo>
                    <a:pt x="342826" y="101058"/>
                    <a:pt x="332493" y="120043"/>
                    <a:pt x="315429" y="131219"/>
                  </a:cubicBezTo>
                  <a:cubicBezTo>
                    <a:pt x="317473" y="135063"/>
                    <a:pt x="320836" y="137947"/>
                    <a:pt x="324803" y="139749"/>
                  </a:cubicBezTo>
                  <a:lnTo>
                    <a:pt x="358688" y="154290"/>
                  </a:lnTo>
                  <a:cubicBezTo>
                    <a:pt x="373588" y="160658"/>
                    <a:pt x="383201" y="175318"/>
                    <a:pt x="383201" y="191421"/>
                  </a:cubicBezTo>
                  <a:lnTo>
                    <a:pt x="383201" y="267723"/>
                  </a:lnTo>
                  <a:cubicBezTo>
                    <a:pt x="384644" y="266763"/>
                    <a:pt x="386085" y="265921"/>
                    <a:pt x="387528" y="265200"/>
                  </a:cubicBezTo>
                  <a:lnTo>
                    <a:pt x="421413" y="250661"/>
                  </a:lnTo>
                  <a:cubicBezTo>
                    <a:pt x="425380" y="248858"/>
                    <a:pt x="428623" y="245854"/>
                    <a:pt x="430786" y="242130"/>
                  </a:cubicBezTo>
                  <a:cubicBezTo>
                    <a:pt x="413723" y="230954"/>
                    <a:pt x="403389" y="211969"/>
                    <a:pt x="403389" y="191541"/>
                  </a:cubicBezTo>
                  <a:lnTo>
                    <a:pt x="403389" y="171353"/>
                  </a:lnTo>
                  <a:cubicBezTo>
                    <a:pt x="403389" y="137827"/>
                    <a:pt x="430545" y="110791"/>
                    <a:pt x="463951" y="110791"/>
                  </a:cubicBezTo>
                  <a:cubicBezTo>
                    <a:pt x="497477" y="110791"/>
                    <a:pt x="524514" y="137947"/>
                    <a:pt x="524514" y="171353"/>
                  </a:cubicBezTo>
                  <a:lnTo>
                    <a:pt x="524514" y="191541"/>
                  </a:lnTo>
                  <a:cubicBezTo>
                    <a:pt x="524514" y="211969"/>
                    <a:pt x="514179" y="230954"/>
                    <a:pt x="497117" y="242130"/>
                  </a:cubicBezTo>
                  <a:cubicBezTo>
                    <a:pt x="499159" y="245974"/>
                    <a:pt x="502524" y="248858"/>
                    <a:pt x="506489" y="250661"/>
                  </a:cubicBezTo>
                  <a:lnTo>
                    <a:pt x="540376" y="265200"/>
                  </a:lnTo>
                  <a:cubicBezTo>
                    <a:pt x="555156" y="271569"/>
                    <a:pt x="564769" y="286229"/>
                    <a:pt x="564889" y="302332"/>
                  </a:cubicBezTo>
                  <a:lnTo>
                    <a:pt x="564889" y="423575"/>
                  </a:lnTo>
                  <a:cubicBezTo>
                    <a:pt x="564889" y="429103"/>
                    <a:pt x="560323" y="433669"/>
                    <a:pt x="554795" y="433669"/>
                  </a:cubicBezTo>
                  <a:lnTo>
                    <a:pt x="463470" y="433669"/>
                  </a:lnTo>
                  <a:cubicBezTo>
                    <a:pt x="458423" y="529921"/>
                    <a:pt x="378755" y="605383"/>
                    <a:pt x="282385" y="605383"/>
                  </a:cubicBezTo>
                  <a:cubicBezTo>
                    <a:pt x="186013" y="605383"/>
                    <a:pt x="106466" y="529921"/>
                    <a:pt x="101419" y="433669"/>
                  </a:cubicBezTo>
                  <a:lnTo>
                    <a:pt x="10094" y="433669"/>
                  </a:lnTo>
                  <a:cubicBezTo>
                    <a:pt x="4566" y="433669"/>
                    <a:pt x="0" y="429103"/>
                    <a:pt x="0" y="423575"/>
                  </a:cubicBezTo>
                  <a:lnTo>
                    <a:pt x="0" y="302332"/>
                  </a:lnTo>
                  <a:cubicBezTo>
                    <a:pt x="0" y="286229"/>
                    <a:pt x="9613" y="271569"/>
                    <a:pt x="24273" y="265320"/>
                  </a:cubicBezTo>
                  <a:lnTo>
                    <a:pt x="58160" y="250781"/>
                  </a:lnTo>
                  <a:cubicBezTo>
                    <a:pt x="62124" y="248979"/>
                    <a:pt x="65369" y="245974"/>
                    <a:pt x="67532" y="242250"/>
                  </a:cubicBezTo>
                  <a:cubicBezTo>
                    <a:pt x="50469" y="231074"/>
                    <a:pt x="40135" y="212089"/>
                    <a:pt x="40135" y="191661"/>
                  </a:cubicBezTo>
                  <a:lnTo>
                    <a:pt x="40135" y="171474"/>
                  </a:lnTo>
                  <a:cubicBezTo>
                    <a:pt x="40135" y="137947"/>
                    <a:pt x="67171" y="110911"/>
                    <a:pt x="100697" y="110911"/>
                  </a:cubicBezTo>
                  <a:cubicBezTo>
                    <a:pt x="134224" y="110911"/>
                    <a:pt x="161260" y="138068"/>
                    <a:pt x="161260" y="171474"/>
                  </a:cubicBezTo>
                  <a:lnTo>
                    <a:pt x="161260" y="191661"/>
                  </a:lnTo>
                  <a:cubicBezTo>
                    <a:pt x="161260" y="212089"/>
                    <a:pt x="150926" y="231074"/>
                    <a:pt x="133863" y="242250"/>
                  </a:cubicBezTo>
                  <a:cubicBezTo>
                    <a:pt x="135905" y="246095"/>
                    <a:pt x="139270" y="248979"/>
                    <a:pt x="143235" y="250781"/>
                  </a:cubicBezTo>
                  <a:lnTo>
                    <a:pt x="177121" y="265320"/>
                  </a:lnTo>
                  <a:cubicBezTo>
                    <a:pt x="178684" y="266042"/>
                    <a:pt x="180125" y="266883"/>
                    <a:pt x="181448" y="267844"/>
                  </a:cubicBezTo>
                  <a:lnTo>
                    <a:pt x="181448" y="191541"/>
                  </a:lnTo>
                  <a:cubicBezTo>
                    <a:pt x="181448" y="175318"/>
                    <a:pt x="191060" y="160779"/>
                    <a:pt x="205961" y="154411"/>
                  </a:cubicBezTo>
                  <a:lnTo>
                    <a:pt x="239846" y="139870"/>
                  </a:lnTo>
                  <a:cubicBezTo>
                    <a:pt x="243812" y="138068"/>
                    <a:pt x="247057" y="135063"/>
                    <a:pt x="249220" y="131339"/>
                  </a:cubicBezTo>
                  <a:cubicBezTo>
                    <a:pt x="232157" y="120163"/>
                    <a:pt x="221823" y="101178"/>
                    <a:pt x="221823" y="80750"/>
                  </a:cubicBezTo>
                  <a:lnTo>
                    <a:pt x="221823" y="60563"/>
                  </a:lnTo>
                  <a:cubicBezTo>
                    <a:pt x="221823" y="27036"/>
                    <a:pt x="248979" y="0"/>
                    <a:pt x="282385" y="0"/>
                  </a:cubicBezTo>
                  <a:close/>
                </a:path>
              </a:pathLst>
            </a:custGeom>
            <a:solidFill>
              <a:schemeClr val="bg1"/>
            </a:solidFill>
            <a:ln w="77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25BAD3B9-84BF-4FA8-9BBE-7024934B07F5}"/>
                </a:ext>
              </a:extLst>
            </p:cNvPr>
            <p:cNvSpPr/>
            <p:nvPr/>
          </p:nvSpPr>
          <p:spPr>
            <a:xfrm>
              <a:off x="3508105" y="3334688"/>
              <a:ext cx="713915" cy="713915"/>
            </a:xfrm>
            <a:custGeom>
              <a:avLst/>
              <a:gdLst>
                <a:gd name="connsiteX0" fmla="*/ 472969 w 535436"/>
                <a:gd name="connsiteY0" fmla="*/ 404549 h 535436"/>
                <a:gd name="connsiteX1" fmla="*/ 276643 w 535436"/>
                <a:gd name="connsiteY1" fmla="*/ 461814 h 535436"/>
                <a:gd name="connsiteX2" fmla="*/ 276643 w 535436"/>
                <a:gd name="connsiteY2" fmla="*/ 514617 h 535436"/>
                <a:gd name="connsiteX3" fmla="*/ 472969 w 535436"/>
                <a:gd name="connsiteY3" fmla="*/ 457352 h 535436"/>
                <a:gd name="connsiteX4" fmla="*/ 62468 w 535436"/>
                <a:gd name="connsiteY4" fmla="*/ 404549 h 535436"/>
                <a:gd name="connsiteX5" fmla="*/ 62468 w 535436"/>
                <a:gd name="connsiteY5" fmla="*/ 457352 h 535436"/>
                <a:gd name="connsiteX6" fmla="*/ 258795 w 535436"/>
                <a:gd name="connsiteY6" fmla="*/ 514617 h 535436"/>
                <a:gd name="connsiteX7" fmla="*/ 258795 w 535436"/>
                <a:gd name="connsiteY7" fmla="*/ 461814 h 535436"/>
                <a:gd name="connsiteX8" fmla="*/ 258795 w 535436"/>
                <a:gd name="connsiteY8" fmla="*/ 342081 h 535436"/>
                <a:gd name="connsiteX9" fmla="*/ 85411 w 535436"/>
                <a:gd name="connsiteY9" fmla="*/ 392653 h 535436"/>
                <a:gd name="connsiteX10" fmla="*/ 267719 w 535436"/>
                <a:gd name="connsiteY10" fmla="*/ 445822 h 535436"/>
                <a:gd name="connsiteX11" fmla="*/ 450026 w 535436"/>
                <a:gd name="connsiteY11" fmla="*/ 392653 h 535436"/>
                <a:gd name="connsiteX12" fmla="*/ 276643 w 535436"/>
                <a:gd name="connsiteY12" fmla="*/ 342081 h 535436"/>
                <a:gd name="connsiteX13" fmla="*/ 276643 w 535436"/>
                <a:gd name="connsiteY13" fmla="*/ 388959 h 535436"/>
                <a:gd name="connsiteX14" fmla="*/ 297105 w 535436"/>
                <a:gd name="connsiteY14" fmla="*/ 368496 h 535436"/>
                <a:gd name="connsiteX15" fmla="*/ 309724 w 535436"/>
                <a:gd name="connsiteY15" fmla="*/ 381115 h 535436"/>
                <a:gd name="connsiteX16" fmla="*/ 274028 w 535436"/>
                <a:gd name="connsiteY16" fmla="*/ 416810 h 535436"/>
                <a:gd name="connsiteX17" fmla="*/ 267719 w 535436"/>
                <a:gd name="connsiteY17" fmla="*/ 419425 h 535436"/>
                <a:gd name="connsiteX18" fmla="*/ 261410 w 535436"/>
                <a:gd name="connsiteY18" fmla="*/ 416810 h 535436"/>
                <a:gd name="connsiteX19" fmla="*/ 225714 w 535436"/>
                <a:gd name="connsiteY19" fmla="*/ 381115 h 535436"/>
                <a:gd name="connsiteX20" fmla="*/ 238332 w 535436"/>
                <a:gd name="connsiteY20" fmla="*/ 368496 h 535436"/>
                <a:gd name="connsiteX21" fmla="*/ 258795 w 535436"/>
                <a:gd name="connsiteY21" fmla="*/ 388959 h 535436"/>
                <a:gd name="connsiteX22" fmla="*/ 410501 w 535436"/>
                <a:gd name="connsiteY22" fmla="*/ 160631 h 535436"/>
                <a:gd name="connsiteX23" fmla="*/ 499740 w 535436"/>
                <a:gd name="connsiteY23" fmla="*/ 160631 h 535436"/>
                <a:gd name="connsiteX24" fmla="*/ 499740 w 535436"/>
                <a:gd name="connsiteY24" fmla="*/ 178479 h 535436"/>
                <a:gd name="connsiteX25" fmla="*/ 410501 w 535436"/>
                <a:gd name="connsiteY25" fmla="*/ 178479 h 535436"/>
                <a:gd name="connsiteX26" fmla="*/ 294490 w 535436"/>
                <a:gd name="connsiteY26" fmla="*/ 160631 h 535436"/>
                <a:gd name="connsiteX27" fmla="*/ 312338 w 535436"/>
                <a:gd name="connsiteY27" fmla="*/ 160631 h 535436"/>
                <a:gd name="connsiteX28" fmla="*/ 312338 w 535436"/>
                <a:gd name="connsiteY28" fmla="*/ 178479 h 535436"/>
                <a:gd name="connsiteX29" fmla="*/ 294490 w 535436"/>
                <a:gd name="connsiteY29" fmla="*/ 178479 h 535436"/>
                <a:gd name="connsiteX30" fmla="*/ 258794 w 535436"/>
                <a:gd name="connsiteY30" fmla="*/ 160631 h 535436"/>
                <a:gd name="connsiteX31" fmla="*/ 276642 w 535436"/>
                <a:gd name="connsiteY31" fmla="*/ 160631 h 535436"/>
                <a:gd name="connsiteX32" fmla="*/ 276642 w 535436"/>
                <a:gd name="connsiteY32" fmla="*/ 178479 h 535436"/>
                <a:gd name="connsiteX33" fmla="*/ 258794 w 535436"/>
                <a:gd name="connsiteY33" fmla="*/ 178479 h 535436"/>
                <a:gd name="connsiteX34" fmla="*/ 223098 w 535436"/>
                <a:gd name="connsiteY34" fmla="*/ 160631 h 535436"/>
                <a:gd name="connsiteX35" fmla="*/ 240946 w 535436"/>
                <a:gd name="connsiteY35" fmla="*/ 160631 h 535436"/>
                <a:gd name="connsiteX36" fmla="*/ 240946 w 535436"/>
                <a:gd name="connsiteY36" fmla="*/ 178479 h 535436"/>
                <a:gd name="connsiteX37" fmla="*/ 223098 w 535436"/>
                <a:gd name="connsiteY37" fmla="*/ 178479 h 535436"/>
                <a:gd name="connsiteX38" fmla="*/ 35696 w 535436"/>
                <a:gd name="connsiteY38" fmla="*/ 160631 h 535436"/>
                <a:gd name="connsiteX39" fmla="*/ 124935 w 535436"/>
                <a:gd name="connsiteY39" fmla="*/ 160631 h 535436"/>
                <a:gd name="connsiteX40" fmla="*/ 124935 w 535436"/>
                <a:gd name="connsiteY40" fmla="*/ 178479 h 535436"/>
                <a:gd name="connsiteX41" fmla="*/ 35696 w 535436"/>
                <a:gd name="connsiteY41" fmla="*/ 178479 h 535436"/>
                <a:gd name="connsiteX42" fmla="*/ 410501 w 535436"/>
                <a:gd name="connsiteY42" fmla="*/ 124935 h 535436"/>
                <a:gd name="connsiteX43" fmla="*/ 499740 w 535436"/>
                <a:gd name="connsiteY43" fmla="*/ 124935 h 535436"/>
                <a:gd name="connsiteX44" fmla="*/ 499740 w 535436"/>
                <a:gd name="connsiteY44" fmla="*/ 142783 h 535436"/>
                <a:gd name="connsiteX45" fmla="*/ 410501 w 535436"/>
                <a:gd name="connsiteY45" fmla="*/ 142783 h 535436"/>
                <a:gd name="connsiteX46" fmla="*/ 223098 w 535436"/>
                <a:gd name="connsiteY46" fmla="*/ 124935 h 535436"/>
                <a:gd name="connsiteX47" fmla="*/ 312337 w 535436"/>
                <a:gd name="connsiteY47" fmla="*/ 124935 h 535436"/>
                <a:gd name="connsiteX48" fmla="*/ 312337 w 535436"/>
                <a:gd name="connsiteY48" fmla="*/ 142783 h 535436"/>
                <a:gd name="connsiteX49" fmla="*/ 223098 w 535436"/>
                <a:gd name="connsiteY49" fmla="*/ 142783 h 535436"/>
                <a:gd name="connsiteX50" fmla="*/ 35696 w 535436"/>
                <a:gd name="connsiteY50" fmla="*/ 124935 h 535436"/>
                <a:gd name="connsiteX51" fmla="*/ 124935 w 535436"/>
                <a:gd name="connsiteY51" fmla="*/ 124935 h 535436"/>
                <a:gd name="connsiteX52" fmla="*/ 124935 w 535436"/>
                <a:gd name="connsiteY52" fmla="*/ 142783 h 535436"/>
                <a:gd name="connsiteX53" fmla="*/ 35696 w 535436"/>
                <a:gd name="connsiteY53" fmla="*/ 142783 h 535436"/>
                <a:gd name="connsiteX54" fmla="*/ 410501 w 535436"/>
                <a:gd name="connsiteY54" fmla="*/ 89239 h 535436"/>
                <a:gd name="connsiteX55" fmla="*/ 499740 w 535436"/>
                <a:gd name="connsiteY55" fmla="*/ 89239 h 535436"/>
                <a:gd name="connsiteX56" fmla="*/ 499740 w 535436"/>
                <a:gd name="connsiteY56" fmla="*/ 107087 h 535436"/>
                <a:gd name="connsiteX57" fmla="*/ 410501 w 535436"/>
                <a:gd name="connsiteY57" fmla="*/ 107087 h 535436"/>
                <a:gd name="connsiteX58" fmla="*/ 223098 w 535436"/>
                <a:gd name="connsiteY58" fmla="*/ 89239 h 535436"/>
                <a:gd name="connsiteX59" fmla="*/ 312337 w 535436"/>
                <a:gd name="connsiteY59" fmla="*/ 89239 h 535436"/>
                <a:gd name="connsiteX60" fmla="*/ 312337 w 535436"/>
                <a:gd name="connsiteY60" fmla="*/ 107087 h 535436"/>
                <a:gd name="connsiteX61" fmla="*/ 223098 w 535436"/>
                <a:gd name="connsiteY61" fmla="*/ 107087 h 535436"/>
                <a:gd name="connsiteX62" fmla="*/ 35696 w 535436"/>
                <a:gd name="connsiteY62" fmla="*/ 89239 h 535436"/>
                <a:gd name="connsiteX63" fmla="*/ 124935 w 535436"/>
                <a:gd name="connsiteY63" fmla="*/ 89239 h 535436"/>
                <a:gd name="connsiteX64" fmla="*/ 124935 w 535436"/>
                <a:gd name="connsiteY64" fmla="*/ 107087 h 535436"/>
                <a:gd name="connsiteX65" fmla="*/ 35696 w 535436"/>
                <a:gd name="connsiteY65" fmla="*/ 107087 h 535436"/>
                <a:gd name="connsiteX66" fmla="*/ 410501 w 535436"/>
                <a:gd name="connsiteY66" fmla="*/ 53544 h 535436"/>
                <a:gd name="connsiteX67" fmla="*/ 446197 w 535436"/>
                <a:gd name="connsiteY67" fmla="*/ 53544 h 535436"/>
                <a:gd name="connsiteX68" fmla="*/ 446197 w 535436"/>
                <a:gd name="connsiteY68" fmla="*/ 71392 h 535436"/>
                <a:gd name="connsiteX69" fmla="*/ 410501 w 535436"/>
                <a:gd name="connsiteY69" fmla="*/ 71392 h 535436"/>
                <a:gd name="connsiteX70" fmla="*/ 223098 w 535436"/>
                <a:gd name="connsiteY70" fmla="*/ 53544 h 535436"/>
                <a:gd name="connsiteX71" fmla="*/ 258794 w 535436"/>
                <a:gd name="connsiteY71" fmla="*/ 53544 h 535436"/>
                <a:gd name="connsiteX72" fmla="*/ 258794 w 535436"/>
                <a:gd name="connsiteY72" fmla="*/ 71392 h 535436"/>
                <a:gd name="connsiteX73" fmla="*/ 223098 w 535436"/>
                <a:gd name="connsiteY73" fmla="*/ 71392 h 535436"/>
                <a:gd name="connsiteX74" fmla="*/ 35696 w 535436"/>
                <a:gd name="connsiteY74" fmla="*/ 53544 h 535436"/>
                <a:gd name="connsiteX75" fmla="*/ 71392 w 535436"/>
                <a:gd name="connsiteY75" fmla="*/ 53544 h 535436"/>
                <a:gd name="connsiteX76" fmla="*/ 71392 w 535436"/>
                <a:gd name="connsiteY76" fmla="*/ 71392 h 535436"/>
                <a:gd name="connsiteX77" fmla="*/ 35696 w 535436"/>
                <a:gd name="connsiteY77" fmla="*/ 71392 h 535436"/>
                <a:gd name="connsiteX78" fmla="*/ 481893 w 535436"/>
                <a:gd name="connsiteY78" fmla="*/ 30466 h 535436"/>
                <a:gd name="connsiteX79" fmla="*/ 481893 w 535436"/>
                <a:gd name="connsiteY79" fmla="*/ 53544 h 535436"/>
                <a:gd name="connsiteX80" fmla="*/ 504970 w 535436"/>
                <a:gd name="connsiteY80" fmla="*/ 53544 h 535436"/>
                <a:gd name="connsiteX81" fmla="*/ 107087 w 535436"/>
                <a:gd name="connsiteY81" fmla="*/ 30466 h 535436"/>
                <a:gd name="connsiteX82" fmla="*/ 107087 w 535436"/>
                <a:gd name="connsiteY82" fmla="*/ 53544 h 535436"/>
                <a:gd name="connsiteX83" fmla="*/ 130164 w 535436"/>
                <a:gd name="connsiteY83" fmla="*/ 53544 h 535436"/>
                <a:gd name="connsiteX84" fmla="*/ 294491 w 535436"/>
                <a:gd name="connsiteY84" fmla="*/ 30466 h 535436"/>
                <a:gd name="connsiteX85" fmla="*/ 294491 w 535436"/>
                <a:gd name="connsiteY85" fmla="*/ 53543 h 535436"/>
                <a:gd name="connsiteX86" fmla="*/ 317568 w 535436"/>
                <a:gd name="connsiteY86" fmla="*/ 53543 h 535436"/>
                <a:gd name="connsiteX87" fmla="*/ 392653 w 535436"/>
                <a:gd name="connsiteY87" fmla="*/ 17848 h 535436"/>
                <a:gd name="connsiteX88" fmla="*/ 392653 w 535436"/>
                <a:gd name="connsiteY88" fmla="*/ 196327 h 535436"/>
                <a:gd name="connsiteX89" fmla="*/ 517588 w 535436"/>
                <a:gd name="connsiteY89" fmla="*/ 196327 h 535436"/>
                <a:gd name="connsiteX90" fmla="*/ 517588 w 535436"/>
                <a:gd name="connsiteY90" fmla="*/ 71391 h 535436"/>
                <a:gd name="connsiteX91" fmla="*/ 472969 w 535436"/>
                <a:gd name="connsiteY91" fmla="*/ 71391 h 535436"/>
                <a:gd name="connsiteX92" fmla="*/ 464045 w 535436"/>
                <a:gd name="connsiteY92" fmla="*/ 62467 h 535436"/>
                <a:gd name="connsiteX93" fmla="*/ 464045 w 535436"/>
                <a:gd name="connsiteY93" fmla="*/ 17848 h 535436"/>
                <a:gd name="connsiteX94" fmla="*/ 17848 w 535436"/>
                <a:gd name="connsiteY94" fmla="*/ 17848 h 535436"/>
                <a:gd name="connsiteX95" fmla="*/ 17848 w 535436"/>
                <a:gd name="connsiteY95" fmla="*/ 196327 h 535436"/>
                <a:gd name="connsiteX96" fmla="*/ 142783 w 535436"/>
                <a:gd name="connsiteY96" fmla="*/ 196327 h 535436"/>
                <a:gd name="connsiteX97" fmla="*/ 142783 w 535436"/>
                <a:gd name="connsiteY97" fmla="*/ 71391 h 535436"/>
                <a:gd name="connsiteX98" fmla="*/ 98163 w 535436"/>
                <a:gd name="connsiteY98" fmla="*/ 71391 h 535436"/>
                <a:gd name="connsiteX99" fmla="*/ 89239 w 535436"/>
                <a:gd name="connsiteY99" fmla="*/ 62467 h 535436"/>
                <a:gd name="connsiteX100" fmla="*/ 89239 w 535436"/>
                <a:gd name="connsiteY100" fmla="*/ 17848 h 535436"/>
                <a:gd name="connsiteX101" fmla="*/ 205251 w 535436"/>
                <a:gd name="connsiteY101" fmla="*/ 17848 h 535436"/>
                <a:gd name="connsiteX102" fmla="*/ 205251 w 535436"/>
                <a:gd name="connsiteY102" fmla="*/ 196327 h 535436"/>
                <a:gd name="connsiteX103" fmla="*/ 330186 w 535436"/>
                <a:gd name="connsiteY103" fmla="*/ 196327 h 535436"/>
                <a:gd name="connsiteX104" fmla="*/ 330186 w 535436"/>
                <a:gd name="connsiteY104" fmla="*/ 71391 h 535436"/>
                <a:gd name="connsiteX105" fmla="*/ 285567 w 535436"/>
                <a:gd name="connsiteY105" fmla="*/ 71391 h 535436"/>
                <a:gd name="connsiteX106" fmla="*/ 276643 w 535436"/>
                <a:gd name="connsiteY106" fmla="*/ 62467 h 535436"/>
                <a:gd name="connsiteX107" fmla="*/ 276643 w 535436"/>
                <a:gd name="connsiteY107" fmla="*/ 17848 h 535436"/>
                <a:gd name="connsiteX108" fmla="*/ 383729 w 535436"/>
                <a:gd name="connsiteY108" fmla="*/ 0 h 535436"/>
                <a:gd name="connsiteX109" fmla="*/ 472969 w 535436"/>
                <a:gd name="connsiteY109" fmla="*/ 0 h 535436"/>
                <a:gd name="connsiteX110" fmla="*/ 479278 w 535436"/>
                <a:gd name="connsiteY110" fmla="*/ 2615 h 535436"/>
                <a:gd name="connsiteX111" fmla="*/ 532822 w 535436"/>
                <a:gd name="connsiteY111" fmla="*/ 56158 h 535436"/>
                <a:gd name="connsiteX112" fmla="*/ 535436 w 535436"/>
                <a:gd name="connsiteY112" fmla="*/ 62467 h 535436"/>
                <a:gd name="connsiteX113" fmla="*/ 535436 w 535436"/>
                <a:gd name="connsiteY113" fmla="*/ 205251 h 535436"/>
                <a:gd name="connsiteX114" fmla="*/ 526512 w 535436"/>
                <a:gd name="connsiteY114" fmla="*/ 214175 h 535436"/>
                <a:gd name="connsiteX115" fmla="*/ 464045 w 535436"/>
                <a:gd name="connsiteY115" fmla="*/ 214175 h 535436"/>
                <a:gd name="connsiteX116" fmla="*/ 419425 w 535436"/>
                <a:gd name="connsiteY116" fmla="*/ 258795 h 535436"/>
                <a:gd name="connsiteX117" fmla="*/ 392653 w 535436"/>
                <a:gd name="connsiteY117" fmla="*/ 258795 h 535436"/>
                <a:gd name="connsiteX118" fmla="*/ 365881 w 535436"/>
                <a:gd name="connsiteY118" fmla="*/ 285566 h 535436"/>
                <a:gd name="connsiteX119" fmla="*/ 365881 w 535436"/>
                <a:gd name="connsiteY119" fmla="*/ 299720 h 535436"/>
                <a:gd name="connsiteX120" fmla="*/ 386344 w 535436"/>
                <a:gd name="connsiteY120" fmla="*/ 279257 h 535436"/>
                <a:gd name="connsiteX121" fmla="*/ 398962 w 535436"/>
                <a:gd name="connsiteY121" fmla="*/ 291876 h 535436"/>
                <a:gd name="connsiteX122" fmla="*/ 363267 w 535436"/>
                <a:gd name="connsiteY122" fmla="*/ 327571 h 535436"/>
                <a:gd name="connsiteX123" fmla="*/ 356957 w 535436"/>
                <a:gd name="connsiteY123" fmla="*/ 330186 h 535436"/>
                <a:gd name="connsiteX124" fmla="*/ 350648 w 535436"/>
                <a:gd name="connsiteY124" fmla="*/ 327571 h 535436"/>
                <a:gd name="connsiteX125" fmla="*/ 314952 w 535436"/>
                <a:gd name="connsiteY125" fmla="*/ 291876 h 535436"/>
                <a:gd name="connsiteX126" fmla="*/ 327571 w 535436"/>
                <a:gd name="connsiteY126" fmla="*/ 279257 h 535436"/>
                <a:gd name="connsiteX127" fmla="*/ 348033 w 535436"/>
                <a:gd name="connsiteY127" fmla="*/ 299720 h 535436"/>
                <a:gd name="connsiteX128" fmla="*/ 348033 w 535436"/>
                <a:gd name="connsiteY128" fmla="*/ 285566 h 535436"/>
                <a:gd name="connsiteX129" fmla="*/ 392653 w 535436"/>
                <a:gd name="connsiteY129" fmla="*/ 240947 h 535436"/>
                <a:gd name="connsiteX130" fmla="*/ 419425 w 535436"/>
                <a:gd name="connsiteY130" fmla="*/ 240947 h 535436"/>
                <a:gd name="connsiteX131" fmla="*/ 446197 w 535436"/>
                <a:gd name="connsiteY131" fmla="*/ 214175 h 535436"/>
                <a:gd name="connsiteX132" fmla="*/ 383729 w 535436"/>
                <a:gd name="connsiteY132" fmla="*/ 214175 h 535436"/>
                <a:gd name="connsiteX133" fmla="*/ 374805 w 535436"/>
                <a:gd name="connsiteY133" fmla="*/ 205251 h 535436"/>
                <a:gd name="connsiteX134" fmla="*/ 374805 w 535436"/>
                <a:gd name="connsiteY134" fmla="*/ 8924 h 535436"/>
                <a:gd name="connsiteX135" fmla="*/ 383729 w 535436"/>
                <a:gd name="connsiteY135" fmla="*/ 0 h 535436"/>
                <a:gd name="connsiteX136" fmla="*/ 196327 w 535436"/>
                <a:gd name="connsiteY136" fmla="*/ 0 h 535436"/>
                <a:gd name="connsiteX137" fmla="*/ 285567 w 535436"/>
                <a:gd name="connsiteY137" fmla="*/ 0 h 535436"/>
                <a:gd name="connsiteX138" fmla="*/ 291876 w 535436"/>
                <a:gd name="connsiteY138" fmla="*/ 2615 h 535436"/>
                <a:gd name="connsiteX139" fmla="*/ 345420 w 535436"/>
                <a:gd name="connsiteY139" fmla="*/ 56158 h 535436"/>
                <a:gd name="connsiteX140" fmla="*/ 348034 w 535436"/>
                <a:gd name="connsiteY140" fmla="*/ 62467 h 535436"/>
                <a:gd name="connsiteX141" fmla="*/ 348034 w 535436"/>
                <a:gd name="connsiteY141" fmla="*/ 205251 h 535436"/>
                <a:gd name="connsiteX142" fmla="*/ 339110 w 535436"/>
                <a:gd name="connsiteY142" fmla="*/ 214175 h 535436"/>
                <a:gd name="connsiteX143" fmla="*/ 276643 w 535436"/>
                <a:gd name="connsiteY143" fmla="*/ 214175 h 535436"/>
                <a:gd name="connsiteX144" fmla="*/ 276643 w 535436"/>
                <a:gd name="connsiteY144" fmla="*/ 323493 h 535436"/>
                <a:gd name="connsiteX145" fmla="*/ 484392 w 535436"/>
                <a:gd name="connsiteY145" fmla="*/ 384086 h 535436"/>
                <a:gd name="connsiteX146" fmla="*/ 490817 w 535436"/>
                <a:gd name="connsiteY146" fmla="*/ 392653 h 535436"/>
                <a:gd name="connsiteX147" fmla="*/ 490817 w 535436"/>
                <a:gd name="connsiteY147" fmla="*/ 464045 h 535436"/>
                <a:gd name="connsiteX148" fmla="*/ 484392 w 535436"/>
                <a:gd name="connsiteY148" fmla="*/ 472612 h 535436"/>
                <a:gd name="connsiteX149" fmla="*/ 270217 w 535436"/>
                <a:gd name="connsiteY149" fmla="*/ 535079 h 535436"/>
                <a:gd name="connsiteX150" fmla="*/ 267719 w 535436"/>
                <a:gd name="connsiteY150" fmla="*/ 535436 h 535436"/>
                <a:gd name="connsiteX151" fmla="*/ 265220 w 535436"/>
                <a:gd name="connsiteY151" fmla="*/ 535079 h 535436"/>
                <a:gd name="connsiteX152" fmla="*/ 51045 w 535436"/>
                <a:gd name="connsiteY152" fmla="*/ 472612 h 535436"/>
                <a:gd name="connsiteX153" fmla="*/ 44620 w 535436"/>
                <a:gd name="connsiteY153" fmla="*/ 464045 h 535436"/>
                <a:gd name="connsiteX154" fmla="*/ 44620 w 535436"/>
                <a:gd name="connsiteY154" fmla="*/ 392653 h 535436"/>
                <a:gd name="connsiteX155" fmla="*/ 51045 w 535436"/>
                <a:gd name="connsiteY155" fmla="*/ 384086 h 535436"/>
                <a:gd name="connsiteX156" fmla="*/ 258795 w 535436"/>
                <a:gd name="connsiteY156" fmla="*/ 323493 h 535436"/>
                <a:gd name="connsiteX157" fmla="*/ 258795 w 535436"/>
                <a:gd name="connsiteY157" fmla="*/ 214175 h 535436"/>
                <a:gd name="connsiteX158" fmla="*/ 196327 w 535436"/>
                <a:gd name="connsiteY158" fmla="*/ 214175 h 535436"/>
                <a:gd name="connsiteX159" fmla="*/ 187403 w 535436"/>
                <a:gd name="connsiteY159" fmla="*/ 205251 h 535436"/>
                <a:gd name="connsiteX160" fmla="*/ 187403 w 535436"/>
                <a:gd name="connsiteY160" fmla="*/ 8924 h 535436"/>
                <a:gd name="connsiteX161" fmla="*/ 196327 w 535436"/>
                <a:gd name="connsiteY161" fmla="*/ 0 h 535436"/>
                <a:gd name="connsiteX162" fmla="*/ 8924 w 535436"/>
                <a:gd name="connsiteY162" fmla="*/ 0 h 535436"/>
                <a:gd name="connsiteX163" fmla="*/ 98163 w 535436"/>
                <a:gd name="connsiteY163" fmla="*/ 0 h 535436"/>
                <a:gd name="connsiteX164" fmla="*/ 104472 w 535436"/>
                <a:gd name="connsiteY164" fmla="*/ 2615 h 535436"/>
                <a:gd name="connsiteX165" fmla="*/ 158016 w 535436"/>
                <a:gd name="connsiteY165" fmla="*/ 56158 h 535436"/>
                <a:gd name="connsiteX166" fmla="*/ 160631 w 535436"/>
                <a:gd name="connsiteY166" fmla="*/ 62467 h 535436"/>
                <a:gd name="connsiteX167" fmla="*/ 160631 w 535436"/>
                <a:gd name="connsiteY167" fmla="*/ 205251 h 535436"/>
                <a:gd name="connsiteX168" fmla="*/ 151707 w 535436"/>
                <a:gd name="connsiteY168" fmla="*/ 214175 h 535436"/>
                <a:gd name="connsiteX169" fmla="*/ 89239 w 535436"/>
                <a:gd name="connsiteY169" fmla="*/ 214175 h 535436"/>
                <a:gd name="connsiteX170" fmla="*/ 116011 w 535436"/>
                <a:gd name="connsiteY170" fmla="*/ 240947 h 535436"/>
                <a:gd name="connsiteX171" fmla="*/ 142783 w 535436"/>
                <a:gd name="connsiteY171" fmla="*/ 240947 h 535436"/>
                <a:gd name="connsiteX172" fmla="*/ 187403 w 535436"/>
                <a:gd name="connsiteY172" fmla="*/ 285566 h 535436"/>
                <a:gd name="connsiteX173" fmla="*/ 187403 w 535436"/>
                <a:gd name="connsiteY173" fmla="*/ 299720 h 535436"/>
                <a:gd name="connsiteX174" fmla="*/ 207865 w 535436"/>
                <a:gd name="connsiteY174" fmla="*/ 279257 h 535436"/>
                <a:gd name="connsiteX175" fmla="*/ 220484 w 535436"/>
                <a:gd name="connsiteY175" fmla="*/ 291876 h 535436"/>
                <a:gd name="connsiteX176" fmla="*/ 184788 w 535436"/>
                <a:gd name="connsiteY176" fmla="*/ 327571 h 535436"/>
                <a:gd name="connsiteX177" fmla="*/ 178479 w 535436"/>
                <a:gd name="connsiteY177" fmla="*/ 330186 h 535436"/>
                <a:gd name="connsiteX178" fmla="*/ 172170 w 535436"/>
                <a:gd name="connsiteY178" fmla="*/ 327571 h 535436"/>
                <a:gd name="connsiteX179" fmla="*/ 136474 w 535436"/>
                <a:gd name="connsiteY179" fmla="*/ 291876 h 535436"/>
                <a:gd name="connsiteX180" fmla="*/ 149092 w 535436"/>
                <a:gd name="connsiteY180" fmla="*/ 279257 h 535436"/>
                <a:gd name="connsiteX181" fmla="*/ 169555 w 535436"/>
                <a:gd name="connsiteY181" fmla="*/ 299720 h 535436"/>
                <a:gd name="connsiteX182" fmla="*/ 169555 w 535436"/>
                <a:gd name="connsiteY182" fmla="*/ 285566 h 535436"/>
                <a:gd name="connsiteX183" fmla="*/ 142783 w 535436"/>
                <a:gd name="connsiteY183" fmla="*/ 258795 h 535436"/>
                <a:gd name="connsiteX184" fmla="*/ 116011 w 535436"/>
                <a:gd name="connsiteY184" fmla="*/ 258795 h 535436"/>
                <a:gd name="connsiteX185" fmla="*/ 71391 w 535436"/>
                <a:gd name="connsiteY185" fmla="*/ 214175 h 535436"/>
                <a:gd name="connsiteX186" fmla="*/ 8924 w 535436"/>
                <a:gd name="connsiteY186" fmla="*/ 214175 h 535436"/>
                <a:gd name="connsiteX187" fmla="*/ 0 w 535436"/>
                <a:gd name="connsiteY187" fmla="*/ 205251 h 535436"/>
                <a:gd name="connsiteX188" fmla="*/ 0 w 535436"/>
                <a:gd name="connsiteY188" fmla="*/ 8924 h 535436"/>
                <a:gd name="connsiteX189" fmla="*/ 8924 w 535436"/>
                <a:gd name="connsiteY189" fmla="*/ 0 h 535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</a:cxnLst>
              <a:rect l="l" t="t" r="r" b="b"/>
              <a:pathLst>
                <a:path w="535436" h="535436">
                  <a:moveTo>
                    <a:pt x="472969" y="404549"/>
                  </a:moveTo>
                  <a:lnTo>
                    <a:pt x="276643" y="461814"/>
                  </a:lnTo>
                  <a:lnTo>
                    <a:pt x="276643" y="514617"/>
                  </a:lnTo>
                  <a:lnTo>
                    <a:pt x="472969" y="457352"/>
                  </a:lnTo>
                  <a:close/>
                  <a:moveTo>
                    <a:pt x="62468" y="404549"/>
                  </a:moveTo>
                  <a:lnTo>
                    <a:pt x="62468" y="457352"/>
                  </a:lnTo>
                  <a:lnTo>
                    <a:pt x="258795" y="514617"/>
                  </a:lnTo>
                  <a:lnTo>
                    <a:pt x="258795" y="461814"/>
                  </a:lnTo>
                  <a:close/>
                  <a:moveTo>
                    <a:pt x="258795" y="342081"/>
                  </a:moveTo>
                  <a:lnTo>
                    <a:pt x="85411" y="392653"/>
                  </a:lnTo>
                  <a:lnTo>
                    <a:pt x="267719" y="445822"/>
                  </a:lnTo>
                  <a:lnTo>
                    <a:pt x="450026" y="392653"/>
                  </a:lnTo>
                  <a:lnTo>
                    <a:pt x="276643" y="342081"/>
                  </a:lnTo>
                  <a:lnTo>
                    <a:pt x="276643" y="388959"/>
                  </a:lnTo>
                  <a:lnTo>
                    <a:pt x="297105" y="368496"/>
                  </a:lnTo>
                  <a:lnTo>
                    <a:pt x="309724" y="381115"/>
                  </a:lnTo>
                  <a:lnTo>
                    <a:pt x="274028" y="416810"/>
                  </a:lnTo>
                  <a:cubicBezTo>
                    <a:pt x="272288" y="418551"/>
                    <a:pt x="270003" y="419425"/>
                    <a:pt x="267719" y="419425"/>
                  </a:cubicBezTo>
                  <a:cubicBezTo>
                    <a:pt x="265434" y="419425"/>
                    <a:pt x="263150" y="418551"/>
                    <a:pt x="261410" y="416810"/>
                  </a:cubicBezTo>
                  <a:lnTo>
                    <a:pt x="225714" y="381115"/>
                  </a:lnTo>
                  <a:lnTo>
                    <a:pt x="238332" y="368496"/>
                  </a:lnTo>
                  <a:lnTo>
                    <a:pt x="258795" y="388959"/>
                  </a:lnTo>
                  <a:close/>
                  <a:moveTo>
                    <a:pt x="410501" y="160631"/>
                  </a:moveTo>
                  <a:lnTo>
                    <a:pt x="499740" y="160631"/>
                  </a:lnTo>
                  <a:lnTo>
                    <a:pt x="499740" y="178479"/>
                  </a:lnTo>
                  <a:lnTo>
                    <a:pt x="410501" y="178479"/>
                  </a:lnTo>
                  <a:close/>
                  <a:moveTo>
                    <a:pt x="294490" y="160631"/>
                  </a:moveTo>
                  <a:lnTo>
                    <a:pt x="312338" y="160631"/>
                  </a:lnTo>
                  <a:lnTo>
                    <a:pt x="312338" y="178479"/>
                  </a:lnTo>
                  <a:lnTo>
                    <a:pt x="294490" y="178479"/>
                  </a:lnTo>
                  <a:close/>
                  <a:moveTo>
                    <a:pt x="258794" y="160631"/>
                  </a:moveTo>
                  <a:lnTo>
                    <a:pt x="276642" y="160631"/>
                  </a:lnTo>
                  <a:lnTo>
                    <a:pt x="276642" y="178479"/>
                  </a:lnTo>
                  <a:lnTo>
                    <a:pt x="258794" y="178479"/>
                  </a:lnTo>
                  <a:close/>
                  <a:moveTo>
                    <a:pt x="223098" y="160631"/>
                  </a:moveTo>
                  <a:lnTo>
                    <a:pt x="240946" y="160631"/>
                  </a:lnTo>
                  <a:lnTo>
                    <a:pt x="240946" y="178479"/>
                  </a:lnTo>
                  <a:lnTo>
                    <a:pt x="223098" y="178479"/>
                  </a:lnTo>
                  <a:close/>
                  <a:moveTo>
                    <a:pt x="35696" y="160631"/>
                  </a:moveTo>
                  <a:lnTo>
                    <a:pt x="124935" y="160631"/>
                  </a:lnTo>
                  <a:lnTo>
                    <a:pt x="124935" y="178479"/>
                  </a:lnTo>
                  <a:lnTo>
                    <a:pt x="35696" y="178479"/>
                  </a:lnTo>
                  <a:close/>
                  <a:moveTo>
                    <a:pt x="410501" y="124935"/>
                  </a:moveTo>
                  <a:lnTo>
                    <a:pt x="499740" y="124935"/>
                  </a:lnTo>
                  <a:lnTo>
                    <a:pt x="499740" y="142783"/>
                  </a:lnTo>
                  <a:lnTo>
                    <a:pt x="410501" y="142783"/>
                  </a:lnTo>
                  <a:close/>
                  <a:moveTo>
                    <a:pt x="223098" y="124935"/>
                  </a:moveTo>
                  <a:lnTo>
                    <a:pt x="312337" y="124935"/>
                  </a:lnTo>
                  <a:lnTo>
                    <a:pt x="312337" y="142783"/>
                  </a:lnTo>
                  <a:lnTo>
                    <a:pt x="223098" y="142783"/>
                  </a:lnTo>
                  <a:close/>
                  <a:moveTo>
                    <a:pt x="35696" y="124935"/>
                  </a:moveTo>
                  <a:lnTo>
                    <a:pt x="124935" y="124935"/>
                  </a:lnTo>
                  <a:lnTo>
                    <a:pt x="124935" y="142783"/>
                  </a:lnTo>
                  <a:lnTo>
                    <a:pt x="35696" y="142783"/>
                  </a:lnTo>
                  <a:close/>
                  <a:moveTo>
                    <a:pt x="410501" y="89239"/>
                  </a:moveTo>
                  <a:lnTo>
                    <a:pt x="499740" y="89239"/>
                  </a:lnTo>
                  <a:lnTo>
                    <a:pt x="499740" y="107087"/>
                  </a:lnTo>
                  <a:lnTo>
                    <a:pt x="410501" y="107087"/>
                  </a:lnTo>
                  <a:close/>
                  <a:moveTo>
                    <a:pt x="223098" y="89239"/>
                  </a:moveTo>
                  <a:lnTo>
                    <a:pt x="312337" y="89239"/>
                  </a:lnTo>
                  <a:lnTo>
                    <a:pt x="312337" y="107087"/>
                  </a:lnTo>
                  <a:lnTo>
                    <a:pt x="223098" y="107087"/>
                  </a:lnTo>
                  <a:close/>
                  <a:moveTo>
                    <a:pt x="35696" y="89239"/>
                  </a:moveTo>
                  <a:lnTo>
                    <a:pt x="124935" y="89239"/>
                  </a:lnTo>
                  <a:lnTo>
                    <a:pt x="124935" y="107087"/>
                  </a:lnTo>
                  <a:lnTo>
                    <a:pt x="35696" y="107087"/>
                  </a:lnTo>
                  <a:close/>
                  <a:moveTo>
                    <a:pt x="410501" y="53544"/>
                  </a:moveTo>
                  <a:lnTo>
                    <a:pt x="446197" y="53544"/>
                  </a:lnTo>
                  <a:lnTo>
                    <a:pt x="446197" y="71392"/>
                  </a:lnTo>
                  <a:lnTo>
                    <a:pt x="410501" y="71392"/>
                  </a:lnTo>
                  <a:close/>
                  <a:moveTo>
                    <a:pt x="223098" y="53544"/>
                  </a:moveTo>
                  <a:lnTo>
                    <a:pt x="258794" y="53544"/>
                  </a:lnTo>
                  <a:lnTo>
                    <a:pt x="258794" y="71392"/>
                  </a:lnTo>
                  <a:lnTo>
                    <a:pt x="223098" y="71392"/>
                  </a:lnTo>
                  <a:close/>
                  <a:moveTo>
                    <a:pt x="35696" y="53544"/>
                  </a:moveTo>
                  <a:lnTo>
                    <a:pt x="71392" y="53544"/>
                  </a:lnTo>
                  <a:lnTo>
                    <a:pt x="71392" y="71392"/>
                  </a:lnTo>
                  <a:lnTo>
                    <a:pt x="35696" y="71392"/>
                  </a:lnTo>
                  <a:close/>
                  <a:moveTo>
                    <a:pt x="481893" y="30466"/>
                  </a:moveTo>
                  <a:lnTo>
                    <a:pt x="481893" y="53544"/>
                  </a:lnTo>
                  <a:lnTo>
                    <a:pt x="504970" y="53544"/>
                  </a:lnTo>
                  <a:close/>
                  <a:moveTo>
                    <a:pt x="107087" y="30466"/>
                  </a:moveTo>
                  <a:lnTo>
                    <a:pt x="107087" y="53544"/>
                  </a:lnTo>
                  <a:lnTo>
                    <a:pt x="130164" y="53544"/>
                  </a:lnTo>
                  <a:close/>
                  <a:moveTo>
                    <a:pt x="294491" y="30466"/>
                  </a:moveTo>
                  <a:lnTo>
                    <a:pt x="294491" y="53543"/>
                  </a:lnTo>
                  <a:lnTo>
                    <a:pt x="317568" y="53543"/>
                  </a:lnTo>
                  <a:close/>
                  <a:moveTo>
                    <a:pt x="392653" y="17848"/>
                  </a:moveTo>
                  <a:lnTo>
                    <a:pt x="392653" y="196327"/>
                  </a:lnTo>
                  <a:lnTo>
                    <a:pt x="517588" y="196327"/>
                  </a:lnTo>
                  <a:lnTo>
                    <a:pt x="517588" y="71391"/>
                  </a:lnTo>
                  <a:lnTo>
                    <a:pt x="472969" y="71391"/>
                  </a:lnTo>
                  <a:cubicBezTo>
                    <a:pt x="468034" y="71391"/>
                    <a:pt x="464045" y="67393"/>
                    <a:pt x="464045" y="62467"/>
                  </a:cubicBezTo>
                  <a:lnTo>
                    <a:pt x="464045" y="17848"/>
                  </a:lnTo>
                  <a:close/>
                  <a:moveTo>
                    <a:pt x="17848" y="17848"/>
                  </a:moveTo>
                  <a:lnTo>
                    <a:pt x="17848" y="196327"/>
                  </a:lnTo>
                  <a:lnTo>
                    <a:pt x="142783" y="196327"/>
                  </a:lnTo>
                  <a:lnTo>
                    <a:pt x="142783" y="71391"/>
                  </a:lnTo>
                  <a:lnTo>
                    <a:pt x="98163" y="71391"/>
                  </a:lnTo>
                  <a:cubicBezTo>
                    <a:pt x="93228" y="71391"/>
                    <a:pt x="89239" y="67393"/>
                    <a:pt x="89239" y="62467"/>
                  </a:cubicBezTo>
                  <a:lnTo>
                    <a:pt x="89239" y="17848"/>
                  </a:lnTo>
                  <a:close/>
                  <a:moveTo>
                    <a:pt x="205251" y="17848"/>
                  </a:moveTo>
                  <a:lnTo>
                    <a:pt x="205251" y="196327"/>
                  </a:lnTo>
                  <a:lnTo>
                    <a:pt x="330186" y="196327"/>
                  </a:lnTo>
                  <a:lnTo>
                    <a:pt x="330186" y="71391"/>
                  </a:lnTo>
                  <a:lnTo>
                    <a:pt x="285567" y="71391"/>
                  </a:lnTo>
                  <a:cubicBezTo>
                    <a:pt x="280632" y="71391"/>
                    <a:pt x="276643" y="67393"/>
                    <a:pt x="276643" y="62467"/>
                  </a:cubicBezTo>
                  <a:lnTo>
                    <a:pt x="276643" y="17848"/>
                  </a:lnTo>
                  <a:close/>
                  <a:moveTo>
                    <a:pt x="383729" y="0"/>
                  </a:moveTo>
                  <a:lnTo>
                    <a:pt x="472969" y="0"/>
                  </a:lnTo>
                  <a:cubicBezTo>
                    <a:pt x="475342" y="0"/>
                    <a:pt x="477609" y="937"/>
                    <a:pt x="479278" y="2615"/>
                  </a:cubicBezTo>
                  <a:lnTo>
                    <a:pt x="532822" y="56158"/>
                  </a:lnTo>
                  <a:cubicBezTo>
                    <a:pt x="534499" y="57827"/>
                    <a:pt x="535436" y="60103"/>
                    <a:pt x="535436" y="62467"/>
                  </a:cubicBezTo>
                  <a:lnTo>
                    <a:pt x="535436" y="205251"/>
                  </a:lnTo>
                  <a:cubicBezTo>
                    <a:pt x="535436" y="210177"/>
                    <a:pt x="531447" y="214175"/>
                    <a:pt x="526512" y="214175"/>
                  </a:cubicBezTo>
                  <a:lnTo>
                    <a:pt x="464045" y="214175"/>
                  </a:lnTo>
                  <a:cubicBezTo>
                    <a:pt x="464045" y="238778"/>
                    <a:pt x="444028" y="258795"/>
                    <a:pt x="419425" y="258795"/>
                  </a:cubicBezTo>
                  <a:lnTo>
                    <a:pt x="392653" y="258795"/>
                  </a:lnTo>
                  <a:cubicBezTo>
                    <a:pt x="377893" y="258795"/>
                    <a:pt x="365881" y="270806"/>
                    <a:pt x="365881" y="285566"/>
                  </a:cubicBezTo>
                  <a:lnTo>
                    <a:pt x="365881" y="299720"/>
                  </a:lnTo>
                  <a:lnTo>
                    <a:pt x="386344" y="279257"/>
                  </a:lnTo>
                  <a:lnTo>
                    <a:pt x="398962" y="291876"/>
                  </a:lnTo>
                  <a:lnTo>
                    <a:pt x="363267" y="327571"/>
                  </a:lnTo>
                  <a:cubicBezTo>
                    <a:pt x="361526" y="329312"/>
                    <a:pt x="359242" y="330186"/>
                    <a:pt x="356957" y="330186"/>
                  </a:cubicBezTo>
                  <a:cubicBezTo>
                    <a:pt x="354673" y="330186"/>
                    <a:pt x="352388" y="329312"/>
                    <a:pt x="350648" y="327571"/>
                  </a:cubicBezTo>
                  <a:lnTo>
                    <a:pt x="314952" y="291876"/>
                  </a:lnTo>
                  <a:lnTo>
                    <a:pt x="327571" y="279257"/>
                  </a:lnTo>
                  <a:lnTo>
                    <a:pt x="348033" y="299720"/>
                  </a:lnTo>
                  <a:lnTo>
                    <a:pt x="348033" y="285566"/>
                  </a:lnTo>
                  <a:cubicBezTo>
                    <a:pt x="348033" y="260963"/>
                    <a:pt x="368050" y="240947"/>
                    <a:pt x="392653" y="240947"/>
                  </a:cubicBezTo>
                  <a:lnTo>
                    <a:pt x="419425" y="240947"/>
                  </a:lnTo>
                  <a:cubicBezTo>
                    <a:pt x="434185" y="240947"/>
                    <a:pt x="446197" y="228935"/>
                    <a:pt x="446197" y="214175"/>
                  </a:cubicBezTo>
                  <a:lnTo>
                    <a:pt x="383729" y="214175"/>
                  </a:lnTo>
                  <a:cubicBezTo>
                    <a:pt x="378794" y="214175"/>
                    <a:pt x="374805" y="210177"/>
                    <a:pt x="374805" y="205251"/>
                  </a:cubicBezTo>
                  <a:lnTo>
                    <a:pt x="374805" y="8924"/>
                  </a:lnTo>
                  <a:cubicBezTo>
                    <a:pt x="374805" y="3998"/>
                    <a:pt x="378794" y="0"/>
                    <a:pt x="383729" y="0"/>
                  </a:cubicBezTo>
                  <a:close/>
                  <a:moveTo>
                    <a:pt x="196327" y="0"/>
                  </a:moveTo>
                  <a:lnTo>
                    <a:pt x="285567" y="0"/>
                  </a:lnTo>
                  <a:cubicBezTo>
                    <a:pt x="287940" y="0"/>
                    <a:pt x="290207" y="937"/>
                    <a:pt x="291876" y="2615"/>
                  </a:cubicBezTo>
                  <a:lnTo>
                    <a:pt x="345420" y="56158"/>
                  </a:lnTo>
                  <a:cubicBezTo>
                    <a:pt x="347097" y="57827"/>
                    <a:pt x="348034" y="60103"/>
                    <a:pt x="348034" y="62467"/>
                  </a:cubicBezTo>
                  <a:lnTo>
                    <a:pt x="348034" y="205251"/>
                  </a:lnTo>
                  <a:cubicBezTo>
                    <a:pt x="348034" y="210177"/>
                    <a:pt x="344045" y="214175"/>
                    <a:pt x="339110" y="214175"/>
                  </a:cubicBezTo>
                  <a:lnTo>
                    <a:pt x="276643" y="214175"/>
                  </a:lnTo>
                  <a:lnTo>
                    <a:pt x="276643" y="323493"/>
                  </a:lnTo>
                  <a:lnTo>
                    <a:pt x="484392" y="384086"/>
                  </a:lnTo>
                  <a:cubicBezTo>
                    <a:pt x="488203" y="385202"/>
                    <a:pt x="490817" y="388691"/>
                    <a:pt x="490817" y="392653"/>
                  </a:cubicBezTo>
                  <a:lnTo>
                    <a:pt x="490817" y="464045"/>
                  </a:lnTo>
                  <a:cubicBezTo>
                    <a:pt x="490817" y="468007"/>
                    <a:pt x="488203" y="471496"/>
                    <a:pt x="484392" y="472612"/>
                  </a:cubicBezTo>
                  <a:lnTo>
                    <a:pt x="270217" y="535079"/>
                  </a:lnTo>
                  <a:cubicBezTo>
                    <a:pt x="269396" y="535320"/>
                    <a:pt x="268567" y="535436"/>
                    <a:pt x="267719" y="535436"/>
                  </a:cubicBezTo>
                  <a:cubicBezTo>
                    <a:pt x="266871" y="535436"/>
                    <a:pt x="266041" y="535320"/>
                    <a:pt x="265220" y="535079"/>
                  </a:cubicBezTo>
                  <a:lnTo>
                    <a:pt x="51045" y="472612"/>
                  </a:lnTo>
                  <a:cubicBezTo>
                    <a:pt x="47235" y="471496"/>
                    <a:pt x="44620" y="468007"/>
                    <a:pt x="44620" y="464045"/>
                  </a:cubicBezTo>
                  <a:lnTo>
                    <a:pt x="44620" y="392653"/>
                  </a:lnTo>
                  <a:cubicBezTo>
                    <a:pt x="44620" y="388691"/>
                    <a:pt x="47235" y="385202"/>
                    <a:pt x="51045" y="384086"/>
                  </a:cubicBezTo>
                  <a:lnTo>
                    <a:pt x="258795" y="323493"/>
                  </a:lnTo>
                  <a:lnTo>
                    <a:pt x="258795" y="214175"/>
                  </a:lnTo>
                  <a:lnTo>
                    <a:pt x="196327" y="214175"/>
                  </a:lnTo>
                  <a:cubicBezTo>
                    <a:pt x="191392" y="214175"/>
                    <a:pt x="187403" y="210177"/>
                    <a:pt x="187403" y="205251"/>
                  </a:cubicBezTo>
                  <a:lnTo>
                    <a:pt x="187403" y="8924"/>
                  </a:lnTo>
                  <a:cubicBezTo>
                    <a:pt x="187403" y="3998"/>
                    <a:pt x="191392" y="0"/>
                    <a:pt x="196327" y="0"/>
                  </a:cubicBezTo>
                  <a:close/>
                  <a:moveTo>
                    <a:pt x="8924" y="0"/>
                  </a:moveTo>
                  <a:lnTo>
                    <a:pt x="98163" y="0"/>
                  </a:lnTo>
                  <a:cubicBezTo>
                    <a:pt x="100537" y="0"/>
                    <a:pt x="102804" y="937"/>
                    <a:pt x="104472" y="2615"/>
                  </a:cubicBezTo>
                  <a:lnTo>
                    <a:pt x="158016" y="56158"/>
                  </a:lnTo>
                  <a:cubicBezTo>
                    <a:pt x="159694" y="57827"/>
                    <a:pt x="160631" y="60103"/>
                    <a:pt x="160631" y="62467"/>
                  </a:cubicBezTo>
                  <a:lnTo>
                    <a:pt x="160631" y="205251"/>
                  </a:lnTo>
                  <a:cubicBezTo>
                    <a:pt x="160631" y="210177"/>
                    <a:pt x="156642" y="214175"/>
                    <a:pt x="151707" y="214175"/>
                  </a:cubicBezTo>
                  <a:lnTo>
                    <a:pt x="89239" y="214175"/>
                  </a:lnTo>
                  <a:cubicBezTo>
                    <a:pt x="89239" y="228935"/>
                    <a:pt x="101251" y="240947"/>
                    <a:pt x="116011" y="240947"/>
                  </a:cubicBezTo>
                  <a:lnTo>
                    <a:pt x="142783" y="240947"/>
                  </a:lnTo>
                  <a:cubicBezTo>
                    <a:pt x="167386" y="240947"/>
                    <a:pt x="187403" y="260963"/>
                    <a:pt x="187403" y="285566"/>
                  </a:cubicBezTo>
                  <a:lnTo>
                    <a:pt x="187403" y="299720"/>
                  </a:lnTo>
                  <a:lnTo>
                    <a:pt x="207865" y="279257"/>
                  </a:lnTo>
                  <a:lnTo>
                    <a:pt x="220484" y="291876"/>
                  </a:lnTo>
                  <a:lnTo>
                    <a:pt x="184788" y="327571"/>
                  </a:lnTo>
                  <a:cubicBezTo>
                    <a:pt x="183048" y="329312"/>
                    <a:pt x="180763" y="330186"/>
                    <a:pt x="178479" y="330186"/>
                  </a:cubicBezTo>
                  <a:cubicBezTo>
                    <a:pt x="176194" y="330186"/>
                    <a:pt x="173910" y="329312"/>
                    <a:pt x="172170" y="327571"/>
                  </a:cubicBezTo>
                  <a:lnTo>
                    <a:pt x="136474" y="291876"/>
                  </a:lnTo>
                  <a:lnTo>
                    <a:pt x="149092" y="279257"/>
                  </a:lnTo>
                  <a:lnTo>
                    <a:pt x="169555" y="299720"/>
                  </a:lnTo>
                  <a:lnTo>
                    <a:pt x="169555" y="285566"/>
                  </a:lnTo>
                  <a:cubicBezTo>
                    <a:pt x="169555" y="270806"/>
                    <a:pt x="157543" y="258795"/>
                    <a:pt x="142783" y="258795"/>
                  </a:cubicBezTo>
                  <a:lnTo>
                    <a:pt x="116011" y="258795"/>
                  </a:lnTo>
                  <a:cubicBezTo>
                    <a:pt x="91408" y="258795"/>
                    <a:pt x="71391" y="238778"/>
                    <a:pt x="71391" y="214175"/>
                  </a:cubicBezTo>
                  <a:lnTo>
                    <a:pt x="8924" y="214175"/>
                  </a:lnTo>
                  <a:cubicBezTo>
                    <a:pt x="3989" y="214175"/>
                    <a:pt x="0" y="210177"/>
                    <a:pt x="0" y="205251"/>
                  </a:cubicBezTo>
                  <a:lnTo>
                    <a:pt x="0" y="8924"/>
                  </a:lnTo>
                  <a:cubicBezTo>
                    <a:pt x="0" y="3998"/>
                    <a:pt x="3989" y="0"/>
                    <a:pt x="8924" y="0"/>
                  </a:cubicBezTo>
                  <a:close/>
                </a:path>
              </a:pathLst>
            </a:custGeom>
            <a:solidFill>
              <a:schemeClr val="bg1"/>
            </a:solidFill>
            <a:ln w="7620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A6DAC0A2-806F-47EA-91E7-4329CE6ABA66}"/>
                </a:ext>
              </a:extLst>
            </p:cNvPr>
            <p:cNvSpPr/>
            <p:nvPr/>
          </p:nvSpPr>
          <p:spPr>
            <a:xfrm>
              <a:off x="1232801" y="3256899"/>
              <a:ext cx="800564" cy="869491"/>
            </a:xfrm>
            <a:custGeom>
              <a:avLst/>
              <a:gdLst>
                <a:gd name="connsiteX0" fmla="*/ 309785 w 600423"/>
                <a:gd name="connsiteY0" fmla="*/ 401625 h 652118"/>
                <a:gd name="connsiteX1" fmla="*/ 309797 w 600423"/>
                <a:gd name="connsiteY1" fmla="*/ 401641 h 652118"/>
                <a:gd name="connsiteX2" fmla="*/ 309797 w 600423"/>
                <a:gd name="connsiteY2" fmla="*/ 629454 h 652118"/>
                <a:gd name="connsiteX3" fmla="*/ 526082 w 600423"/>
                <a:gd name="connsiteY3" fmla="*/ 540085 h 652118"/>
                <a:gd name="connsiteX4" fmla="*/ 526082 w 600423"/>
                <a:gd name="connsiteY4" fmla="*/ 417675 h 652118"/>
                <a:gd name="connsiteX5" fmla="*/ 373014 w 600423"/>
                <a:gd name="connsiteY5" fmla="*/ 469632 h 652118"/>
                <a:gd name="connsiteX6" fmla="*/ 369935 w 600423"/>
                <a:gd name="connsiteY6" fmla="*/ 470141 h 652118"/>
                <a:gd name="connsiteX7" fmla="*/ 362500 w 600423"/>
                <a:gd name="connsiteY7" fmla="*/ 466591 h 652118"/>
                <a:gd name="connsiteX8" fmla="*/ 309797 w 600423"/>
                <a:gd name="connsiteY8" fmla="*/ 401641 h 652118"/>
                <a:gd name="connsiteX9" fmla="*/ 309797 w 600423"/>
                <a:gd name="connsiteY9" fmla="*/ 401625 h 652118"/>
                <a:gd name="connsiteX10" fmla="*/ 291874 w 600423"/>
                <a:gd name="connsiteY10" fmla="*/ 398112 h 652118"/>
                <a:gd name="connsiteX11" fmla="*/ 236962 w 600423"/>
                <a:gd name="connsiteY11" fmla="*/ 465797 h 652118"/>
                <a:gd name="connsiteX12" fmla="*/ 230495 w 600423"/>
                <a:gd name="connsiteY12" fmla="*/ 468888 h 652118"/>
                <a:gd name="connsiteX13" fmla="*/ 227814 w 600423"/>
                <a:gd name="connsiteY13" fmla="*/ 468441 h 652118"/>
                <a:gd name="connsiteX14" fmla="*/ 73106 w 600423"/>
                <a:gd name="connsiteY14" fmla="*/ 415936 h 652118"/>
                <a:gd name="connsiteX15" fmla="*/ 73106 w 600423"/>
                <a:gd name="connsiteY15" fmla="*/ 540917 h 652118"/>
                <a:gd name="connsiteX16" fmla="*/ 291874 w 600423"/>
                <a:gd name="connsiteY16" fmla="*/ 631303 h 652118"/>
                <a:gd name="connsiteX17" fmla="*/ 531904 w 600423"/>
                <a:gd name="connsiteY17" fmla="*/ 320722 h 652118"/>
                <a:gd name="connsiteX18" fmla="*/ 316885 w 600423"/>
                <a:gd name="connsiteY18" fmla="*/ 379966 h 652118"/>
                <a:gd name="connsiteX19" fmla="*/ 373175 w 600423"/>
                <a:gd name="connsiteY19" fmla="*/ 449338 h 652118"/>
                <a:gd name="connsiteX20" fmla="*/ 576514 w 600423"/>
                <a:gd name="connsiteY20" fmla="*/ 380325 h 652118"/>
                <a:gd name="connsiteX21" fmla="*/ 68030 w 600423"/>
                <a:gd name="connsiteY21" fmla="*/ 319307 h 652118"/>
                <a:gd name="connsiteX22" fmla="*/ 21893 w 600423"/>
                <a:gd name="connsiteY22" fmla="*/ 380959 h 652118"/>
                <a:gd name="connsiteX23" fmla="*/ 227665 w 600423"/>
                <a:gd name="connsiteY23" fmla="*/ 450790 h 652118"/>
                <a:gd name="connsiteX24" fmla="*/ 285693 w 600423"/>
                <a:gd name="connsiteY24" fmla="*/ 379271 h 652118"/>
                <a:gd name="connsiteX25" fmla="*/ 184830 w 600423"/>
                <a:gd name="connsiteY25" fmla="*/ 267187 h 652118"/>
                <a:gd name="connsiteX26" fmla="*/ 197540 w 600423"/>
                <a:gd name="connsiteY26" fmla="*/ 280927 h 652118"/>
                <a:gd name="connsiteX27" fmla="*/ 95809 w 600423"/>
                <a:gd name="connsiteY27" fmla="*/ 309649 h 652118"/>
                <a:gd name="connsiteX28" fmla="*/ 300203 w 600423"/>
                <a:gd name="connsiteY28" fmla="*/ 365977 h 652118"/>
                <a:gd name="connsiteX29" fmla="*/ 504610 w 600423"/>
                <a:gd name="connsiteY29" fmla="*/ 309662 h 652118"/>
                <a:gd name="connsiteX30" fmla="*/ 407333 w 600423"/>
                <a:gd name="connsiteY30" fmla="*/ 282193 h 652118"/>
                <a:gd name="connsiteX31" fmla="*/ 420590 w 600423"/>
                <a:gd name="connsiteY31" fmla="*/ 268602 h 652118"/>
                <a:gd name="connsiteX32" fmla="*/ 420950 w 600423"/>
                <a:gd name="connsiteY32" fmla="*/ 268702 h 652118"/>
                <a:gd name="connsiteX33" fmla="*/ 537862 w 600423"/>
                <a:gd name="connsiteY33" fmla="*/ 301706 h 652118"/>
                <a:gd name="connsiteX34" fmla="*/ 542144 w 600423"/>
                <a:gd name="connsiteY34" fmla="*/ 304499 h 652118"/>
                <a:gd name="connsiteX35" fmla="*/ 542256 w 600423"/>
                <a:gd name="connsiteY35" fmla="*/ 304672 h 652118"/>
                <a:gd name="connsiteX36" fmla="*/ 570605 w 600423"/>
                <a:gd name="connsiteY36" fmla="*/ 342530 h 652118"/>
                <a:gd name="connsiteX37" fmla="*/ 598770 w 600423"/>
                <a:gd name="connsiteY37" fmla="*/ 380152 h 652118"/>
                <a:gd name="connsiteX38" fmla="*/ 600048 w 600423"/>
                <a:gd name="connsiteY38" fmla="*/ 387624 h 652118"/>
                <a:gd name="connsiteX39" fmla="*/ 594760 w 600423"/>
                <a:gd name="connsiteY39" fmla="*/ 393048 h 652118"/>
                <a:gd name="connsiteX40" fmla="*/ 543994 w 600423"/>
                <a:gd name="connsiteY40" fmla="*/ 410276 h 652118"/>
                <a:gd name="connsiteX41" fmla="*/ 543994 w 600423"/>
                <a:gd name="connsiteY41" fmla="*/ 546477 h 652118"/>
                <a:gd name="connsiteX42" fmla="*/ 538843 w 600423"/>
                <a:gd name="connsiteY42" fmla="*/ 554185 h 652118"/>
                <a:gd name="connsiteX43" fmla="*/ 303331 w 600423"/>
                <a:gd name="connsiteY43" fmla="*/ 651510 h 652118"/>
                <a:gd name="connsiteX44" fmla="*/ 300215 w 600423"/>
                <a:gd name="connsiteY44" fmla="*/ 652118 h 652118"/>
                <a:gd name="connsiteX45" fmla="*/ 297199 w 600423"/>
                <a:gd name="connsiteY45" fmla="*/ 651560 h 652118"/>
                <a:gd name="connsiteX46" fmla="*/ 61575 w 600423"/>
                <a:gd name="connsiteY46" fmla="*/ 554197 h 652118"/>
                <a:gd name="connsiteX47" fmla="*/ 56424 w 600423"/>
                <a:gd name="connsiteY47" fmla="*/ 546489 h 652118"/>
                <a:gd name="connsiteX48" fmla="*/ 56424 w 600423"/>
                <a:gd name="connsiteY48" fmla="*/ 410276 h 652118"/>
                <a:gd name="connsiteX49" fmla="*/ 5658 w 600423"/>
                <a:gd name="connsiteY49" fmla="*/ 393048 h 652118"/>
                <a:gd name="connsiteX50" fmla="*/ 370 w 600423"/>
                <a:gd name="connsiteY50" fmla="*/ 387624 h 652118"/>
                <a:gd name="connsiteX51" fmla="*/ 1660 w 600423"/>
                <a:gd name="connsiteY51" fmla="*/ 380152 h 652118"/>
                <a:gd name="connsiteX52" fmla="*/ 5099 w 600423"/>
                <a:gd name="connsiteY52" fmla="*/ 375559 h 652118"/>
                <a:gd name="connsiteX53" fmla="*/ 58100 w 600423"/>
                <a:gd name="connsiteY53" fmla="*/ 304747 h 652118"/>
                <a:gd name="connsiteX54" fmla="*/ 62407 w 600423"/>
                <a:gd name="connsiteY54" fmla="*/ 301756 h 652118"/>
                <a:gd name="connsiteX55" fmla="*/ 62506 w 600423"/>
                <a:gd name="connsiteY55" fmla="*/ 301730 h 652118"/>
                <a:gd name="connsiteX56" fmla="*/ 352745 w 600423"/>
                <a:gd name="connsiteY56" fmla="*/ 192154 h 652118"/>
                <a:gd name="connsiteX57" fmla="*/ 317891 w 600423"/>
                <a:gd name="connsiteY57" fmla="*/ 305280 h 652118"/>
                <a:gd name="connsiteX58" fmla="*/ 418667 w 600423"/>
                <a:gd name="connsiteY58" fmla="*/ 192154 h 652118"/>
                <a:gd name="connsiteX59" fmla="*/ 266318 w 600423"/>
                <a:gd name="connsiteY59" fmla="*/ 192154 h 652118"/>
                <a:gd name="connsiteX60" fmla="*/ 300203 w 600423"/>
                <a:gd name="connsiteY60" fmla="*/ 302165 h 652118"/>
                <a:gd name="connsiteX61" fmla="*/ 334101 w 600423"/>
                <a:gd name="connsiteY61" fmla="*/ 192154 h 652118"/>
                <a:gd name="connsiteX62" fmla="*/ 181752 w 600423"/>
                <a:gd name="connsiteY62" fmla="*/ 192154 h 652118"/>
                <a:gd name="connsiteX63" fmla="*/ 282516 w 600423"/>
                <a:gd name="connsiteY63" fmla="*/ 305280 h 652118"/>
                <a:gd name="connsiteX64" fmla="*/ 247662 w 600423"/>
                <a:gd name="connsiteY64" fmla="*/ 192154 h 652118"/>
                <a:gd name="connsiteX65" fmla="*/ 460136 w 600423"/>
                <a:gd name="connsiteY65" fmla="*/ 174331 h 652118"/>
                <a:gd name="connsiteX66" fmla="*/ 474547 w 600423"/>
                <a:gd name="connsiteY66" fmla="*/ 174331 h 652118"/>
                <a:gd name="connsiteX67" fmla="*/ 483459 w 600423"/>
                <a:gd name="connsiteY67" fmla="*/ 183243 h 652118"/>
                <a:gd name="connsiteX68" fmla="*/ 474547 w 600423"/>
                <a:gd name="connsiteY68" fmla="*/ 192155 h 652118"/>
                <a:gd name="connsiteX69" fmla="*/ 460136 w 600423"/>
                <a:gd name="connsiteY69" fmla="*/ 192155 h 652118"/>
                <a:gd name="connsiteX70" fmla="*/ 451224 w 600423"/>
                <a:gd name="connsiteY70" fmla="*/ 183243 h 652118"/>
                <a:gd name="connsiteX71" fmla="*/ 460136 w 600423"/>
                <a:gd name="connsiteY71" fmla="*/ 174331 h 652118"/>
                <a:gd name="connsiteX72" fmla="*/ 125871 w 600423"/>
                <a:gd name="connsiteY72" fmla="*/ 174331 h 652118"/>
                <a:gd name="connsiteX73" fmla="*/ 140282 w 600423"/>
                <a:gd name="connsiteY73" fmla="*/ 174331 h 652118"/>
                <a:gd name="connsiteX74" fmla="*/ 149194 w 600423"/>
                <a:gd name="connsiteY74" fmla="*/ 183243 h 652118"/>
                <a:gd name="connsiteX75" fmla="*/ 140282 w 600423"/>
                <a:gd name="connsiteY75" fmla="*/ 192155 h 652118"/>
                <a:gd name="connsiteX76" fmla="*/ 125871 w 600423"/>
                <a:gd name="connsiteY76" fmla="*/ 192155 h 652118"/>
                <a:gd name="connsiteX77" fmla="*/ 116959 w 600423"/>
                <a:gd name="connsiteY77" fmla="*/ 183243 h 652118"/>
                <a:gd name="connsiteX78" fmla="*/ 125871 w 600423"/>
                <a:gd name="connsiteY78" fmla="*/ 174331 h 652118"/>
                <a:gd name="connsiteX79" fmla="*/ 300203 w 600423"/>
                <a:gd name="connsiteY79" fmla="*/ 128615 h 652118"/>
                <a:gd name="connsiteX80" fmla="*/ 270625 w 600423"/>
                <a:gd name="connsiteY80" fmla="*/ 174330 h 652118"/>
                <a:gd name="connsiteX81" fmla="*/ 329782 w 600423"/>
                <a:gd name="connsiteY81" fmla="*/ 174330 h 652118"/>
                <a:gd name="connsiteX82" fmla="*/ 392440 w 600423"/>
                <a:gd name="connsiteY82" fmla="*/ 128081 h 652118"/>
                <a:gd name="connsiteX83" fmla="*/ 362538 w 600423"/>
                <a:gd name="connsiteY83" fmla="*/ 174330 h 652118"/>
                <a:gd name="connsiteX84" fmla="*/ 422391 w 600423"/>
                <a:gd name="connsiteY84" fmla="*/ 174330 h 652118"/>
                <a:gd name="connsiteX85" fmla="*/ 208116 w 600423"/>
                <a:gd name="connsiteY85" fmla="*/ 128044 h 652118"/>
                <a:gd name="connsiteX86" fmla="*/ 178053 w 600423"/>
                <a:gd name="connsiteY86" fmla="*/ 174330 h 652118"/>
                <a:gd name="connsiteX87" fmla="*/ 238055 w 600423"/>
                <a:gd name="connsiteY87" fmla="*/ 174330 h 652118"/>
                <a:gd name="connsiteX88" fmla="*/ 316302 w 600423"/>
                <a:gd name="connsiteY88" fmla="*/ 120684 h 652118"/>
                <a:gd name="connsiteX89" fmla="*/ 346166 w 600423"/>
                <a:gd name="connsiteY89" fmla="*/ 166846 h 652118"/>
                <a:gd name="connsiteX90" fmla="*/ 376018 w 600423"/>
                <a:gd name="connsiteY90" fmla="*/ 120684 h 652118"/>
                <a:gd name="connsiteX91" fmla="*/ 224575 w 600423"/>
                <a:gd name="connsiteY91" fmla="*/ 120684 h 652118"/>
                <a:gd name="connsiteX92" fmla="*/ 254340 w 600423"/>
                <a:gd name="connsiteY92" fmla="*/ 166697 h 652118"/>
                <a:gd name="connsiteX93" fmla="*/ 284116 w 600423"/>
                <a:gd name="connsiteY93" fmla="*/ 120684 h 652118"/>
                <a:gd name="connsiteX94" fmla="*/ 213193 w 600423"/>
                <a:gd name="connsiteY94" fmla="*/ 102860 h 652118"/>
                <a:gd name="connsiteX95" fmla="*/ 387363 w 600423"/>
                <a:gd name="connsiteY95" fmla="*/ 102860 h 652118"/>
                <a:gd name="connsiteX96" fmla="*/ 402767 w 600423"/>
                <a:gd name="connsiteY96" fmla="*/ 111238 h 652118"/>
                <a:gd name="connsiteX97" fmla="*/ 442250 w 600423"/>
                <a:gd name="connsiteY97" fmla="*/ 172195 h 652118"/>
                <a:gd name="connsiteX98" fmla="*/ 440550 w 600423"/>
                <a:gd name="connsiteY98" fmla="*/ 194376 h 652118"/>
                <a:gd name="connsiteX99" fmla="*/ 313919 w 600423"/>
                <a:gd name="connsiteY99" fmla="*/ 336534 h 652118"/>
                <a:gd name="connsiteX100" fmla="*/ 300215 w 600423"/>
                <a:gd name="connsiteY100" fmla="*/ 342679 h 652118"/>
                <a:gd name="connsiteX101" fmla="*/ 286512 w 600423"/>
                <a:gd name="connsiteY101" fmla="*/ 336534 h 652118"/>
                <a:gd name="connsiteX102" fmla="*/ 159894 w 600423"/>
                <a:gd name="connsiteY102" fmla="*/ 194389 h 652118"/>
                <a:gd name="connsiteX103" fmla="*/ 158206 w 600423"/>
                <a:gd name="connsiteY103" fmla="*/ 172182 h 652118"/>
                <a:gd name="connsiteX104" fmla="*/ 197801 w 600423"/>
                <a:gd name="connsiteY104" fmla="*/ 111213 h 652118"/>
                <a:gd name="connsiteX105" fmla="*/ 213193 w 600423"/>
                <a:gd name="connsiteY105" fmla="*/ 102860 h 652118"/>
                <a:gd name="connsiteX106" fmla="*/ 300389 w 600423"/>
                <a:gd name="connsiteY106" fmla="*/ 70167 h 652118"/>
                <a:gd name="connsiteX107" fmla="*/ 306695 w 600423"/>
                <a:gd name="connsiteY107" fmla="*/ 72773 h 652118"/>
                <a:gd name="connsiteX108" fmla="*/ 309301 w 600423"/>
                <a:gd name="connsiteY108" fmla="*/ 79067 h 652118"/>
                <a:gd name="connsiteX109" fmla="*/ 306683 w 600423"/>
                <a:gd name="connsiteY109" fmla="*/ 85373 h 652118"/>
                <a:gd name="connsiteX110" fmla="*/ 300389 w 600423"/>
                <a:gd name="connsiteY110" fmla="*/ 87979 h 652118"/>
                <a:gd name="connsiteX111" fmla="*/ 294083 w 600423"/>
                <a:gd name="connsiteY111" fmla="*/ 85373 h 652118"/>
                <a:gd name="connsiteX112" fmla="*/ 291477 w 600423"/>
                <a:gd name="connsiteY112" fmla="*/ 79079 h 652118"/>
                <a:gd name="connsiteX113" fmla="*/ 294083 w 600423"/>
                <a:gd name="connsiteY113" fmla="*/ 72773 h 652118"/>
                <a:gd name="connsiteX114" fmla="*/ 300389 w 600423"/>
                <a:gd name="connsiteY114" fmla="*/ 70167 h 652118"/>
                <a:gd name="connsiteX115" fmla="*/ 423569 w 600423"/>
                <a:gd name="connsiteY115" fmla="*/ 51101 h 652118"/>
                <a:gd name="connsiteX116" fmla="*/ 429874 w 600423"/>
                <a:gd name="connsiteY116" fmla="*/ 53707 h 652118"/>
                <a:gd name="connsiteX117" fmla="*/ 432481 w 600423"/>
                <a:gd name="connsiteY117" fmla="*/ 60013 h 652118"/>
                <a:gd name="connsiteX118" fmla="*/ 429874 w 600423"/>
                <a:gd name="connsiteY118" fmla="*/ 66319 h 652118"/>
                <a:gd name="connsiteX119" fmla="*/ 406341 w 600423"/>
                <a:gd name="connsiteY119" fmla="*/ 89852 h 652118"/>
                <a:gd name="connsiteX120" fmla="*/ 400035 w 600423"/>
                <a:gd name="connsiteY120" fmla="*/ 92459 h 652118"/>
                <a:gd name="connsiteX121" fmla="*/ 393729 w 600423"/>
                <a:gd name="connsiteY121" fmla="*/ 89852 h 652118"/>
                <a:gd name="connsiteX122" fmla="*/ 391123 w 600423"/>
                <a:gd name="connsiteY122" fmla="*/ 83547 h 652118"/>
                <a:gd name="connsiteX123" fmla="*/ 393729 w 600423"/>
                <a:gd name="connsiteY123" fmla="*/ 77241 h 652118"/>
                <a:gd name="connsiteX124" fmla="*/ 417263 w 600423"/>
                <a:gd name="connsiteY124" fmla="*/ 53707 h 652118"/>
                <a:gd name="connsiteX125" fmla="*/ 423569 w 600423"/>
                <a:gd name="connsiteY125" fmla="*/ 51101 h 652118"/>
                <a:gd name="connsiteX126" fmla="*/ 177147 w 600423"/>
                <a:gd name="connsiteY126" fmla="*/ 50977 h 652118"/>
                <a:gd name="connsiteX127" fmla="*/ 183453 w 600423"/>
                <a:gd name="connsiteY127" fmla="*/ 53583 h 652118"/>
                <a:gd name="connsiteX128" fmla="*/ 207011 w 600423"/>
                <a:gd name="connsiteY128" fmla="*/ 77117 h 652118"/>
                <a:gd name="connsiteX129" fmla="*/ 209618 w 600423"/>
                <a:gd name="connsiteY129" fmla="*/ 83423 h 652118"/>
                <a:gd name="connsiteX130" fmla="*/ 207011 w 600423"/>
                <a:gd name="connsiteY130" fmla="*/ 89728 h 652118"/>
                <a:gd name="connsiteX131" fmla="*/ 200706 w 600423"/>
                <a:gd name="connsiteY131" fmla="*/ 92335 h 652118"/>
                <a:gd name="connsiteX132" fmla="*/ 194400 w 600423"/>
                <a:gd name="connsiteY132" fmla="*/ 89728 h 652118"/>
                <a:gd name="connsiteX133" fmla="*/ 170841 w 600423"/>
                <a:gd name="connsiteY133" fmla="*/ 66182 h 652118"/>
                <a:gd name="connsiteX134" fmla="*/ 170841 w 600423"/>
                <a:gd name="connsiteY134" fmla="*/ 53583 h 652118"/>
                <a:gd name="connsiteX135" fmla="*/ 177147 w 600423"/>
                <a:gd name="connsiteY135" fmla="*/ 50977 h 652118"/>
                <a:gd name="connsiteX136" fmla="*/ 300389 w 600423"/>
                <a:gd name="connsiteY136" fmla="*/ 0 h 652118"/>
                <a:gd name="connsiteX137" fmla="*/ 309301 w 600423"/>
                <a:gd name="connsiteY137" fmla="*/ 8912 h 652118"/>
                <a:gd name="connsiteX138" fmla="*/ 309301 w 600423"/>
                <a:gd name="connsiteY138" fmla="*/ 55086 h 652118"/>
                <a:gd name="connsiteX139" fmla="*/ 300389 w 600423"/>
                <a:gd name="connsiteY139" fmla="*/ 63998 h 652118"/>
                <a:gd name="connsiteX140" fmla="*/ 291477 w 600423"/>
                <a:gd name="connsiteY140" fmla="*/ 55098 h 652118"/>
                <a:gd name="connsiteX141" fmla="*/ 291477 w 600423"/>
                <a:gd name="connsiteY141" fmla="*/ 8912 h 652118"/>
                <a:gd name="connsiteX142" fmla="*/ 300389 w 600423"/>
                <a:gd name="connsiteY142" fmla="*/ 0 h 652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</a:cxnLst>
              <a:rect l="l" t="t" r="r" b="b"/>
              <a:pathLst>
                <a:path w="600423" h="652118">
                  <a:moveTo>
                    <a:pt x="309785" y="401625"/>
                  </a:moveTo>
                  <a:lnTo>
                    <a:pt x="309797" y="401641"/>
                  </a:lnTo>
                  <a:lnTo>
                    <a:pt x="309797" y="629454"/>
                  </a:lnTo>
                  <a:lnTo>
                    <a:pt x="526082" y="540085"/>
                  </a:lnTo>
                  <a:lnTo>
                    <a:pt x="526082" y="417675"/>
                  </a:lnTo>
                  <a:lnTo>
                    <a:pt x="373014" y="469632"/>
                  </a:lnTo>
                  <a:cubicBezTo>
                    <a:pt x="372021" y="469968"/>
                    <a:pt x="370990" y="470141"/>
                    <a:pt x="369935" y="470141"/>
                  </a:cubicBezTo>
                  <a:cubicBezTo>
                    <a:pt x="367043" y="470141"/>
                    <a:pt x="364325" y="468851"/>
                    <a:pt x="362500" y="466591"/>
                  </a:cubicBezTo>
                  <a:lnTo>
                    <a:pt x="309797" y="401641"/>
                  </a:lnTo>
                  <a:lnTo>
                    <a:pt x="309797" y="401625"/>
                  </a:lnTo>
                  <a:close/>
                  <a:moveTo>
                    <a:pt x="291874" y="398112"/>
                  </a:moveTo>
                  <a:lnTo>
                    <a:pt x="236962" y="465797"/>
                  </a:lnTo>
                  <a:cubicBezTo>
                    <a:pt x="235385" y="467758"/>
                    <a:pt x="233014" y="468888"/>
                    <a:pt x="230495" y="468888"/>
                  </a:cubicBezTo>
                  <a:cubicBezTo>
                    <a:pt x="229577" y="468888"/>
                    <a:pt x="228670" y="468739"/>
                    <a:pt x="227814" y="468441"/>
                  </a:cubicBezTo>
                  <a:lnTo>
                    <a:pt x="73106" y="415936"/>
                  </a:lnTo>
                  <a:lnTo>
                    <a:pt x="73106" y="540917"/>
                  </a:lnTo>
                  <a:lnTo>
                    <a:pt x="291874" y="631303"/>
                  </a:lnTo>
                  <a:close/>
                  <a:moveTo>
                    <a:pt x="531904" y="320722"/>
                  </a:moveTo>
                  <a:lnTo>
                    <a:pt x="316885" y="379966"/>
                  </a:lnTo>
                  <a:lnTo>
                    <a:pt x="373175" y="449338"/>
                  </a:lnTo>
                  <a:lnTo>
                    <a:pt x="576514" y="380325"/>
                  </a:lnTo>
                  <a:close/>
                  <a:moveTo>
                    <a:pt x="68030" y="319307"/>
                  </a:moveTo>
                  <a:lnTo>
                    <a:pt x="21893" y="380959"/>
                  </a:lnTo>
                  <a:lnTo>
                    <a:pt x="227665" y="450790"/>
                  </a:lnTo>
                  <a:lnTo>
                    <a:pt x="285693" y="379271"/>
                  </a:lnTo>
                  <a:close/>
                  <a:moveTo>
                    <a:pt x="184830" y="267187"/>
                  </a:moveTo>
                  <a:lnTo>
                    <a:pt x="197540" y="280927"/>
                  </a:lnTo>
                  <a:lnTo>
                    <a:pt x="95809" y="309649"/>
                  </a:lnTo>
                  <a:lnTo>
                    <a:pt x="300203" y="365977"/>
                  </a:lnTo>
                  <a:lnTo>
                    <a:pt x="504610" y="309662"/>
                  </a:lnTo>
                  <a:lnTo>
                    <a:pt x="407333" y="282193"/>
                  </a:lnTo>
                  <a:lnTo>
                    <a:pt x="420590" y="268602"/>
                  </a:lnTo>
                  <a:lnTo>
                    <a:pt x="420950" y="268702"/>
                  </a:lnTo>
                  <a:lnTo>
                    <a:pt x="537862" y="301706"/>
                  </a:lnTo>
                  <a:cubicBezTo>
                    <a:pt x="540915" y="302674"/>
                    <a:pt x="542032" y="304313"/>
                    <a:pt x="542144" y="304499"/>
                  </a:cubicBezTo>
                  <a:lnTo>
                    <a:pt x="542256" y="304672"/>
                  </a:lnTo>
                  <a:cubicBezTo>
                    <a:pt x="542405" y="304859"/>
                    <a:pt x="556518" y="323713"/>
                    <a:pt x="570605" y="342530"/>
                  </a:cubicBezTo>
                  <a:cubicBezTo>
                    <a:pt x="584545" y="361149"/>
                    <a:pt x="598459" y="379742"/>
                    <a:pt x="598770" y="380152"/>
                  </a:cubicBezTo>
                  <a:cubicBezTo>
                    <a:pt x="600358" y="382299"/>
                    <a:pt x="600842" y="385079"/>
                    <a:pt x="600048" y="387624"/>
                  </a:cubicBezTo>
                  <a:cubicBezTo>
                    <a:pt x="599253" y="390168"/>
                    <a:pt x="597280" y="392191"/>
                    <a:pt x="594760" y="393048"/>
                  </a:cubicBezTo>
                  <a:lnTo>
                    <a:pt x="543994" y="410276"/>
                  </a:lnTo>
                  <a:lnTo>
                    <a:pt x="543994" y="546477"/>
                  </a:lnTo>
                  <a:cubicBezTo>
                    <a:pt x="543994" y="549866"/>
                    <a:pt x="541971" y="552894"/>
                    <a:pt x="538843" y="554185"/>
                  </a:cubicBezTo>
                  <a:lnTo>
                    <a:pt x="303331" y="651510"/>
                  </a:lnTo>
                  <a:cubicBezTo>
                    <a:pt x="303331" y="651510"/>
                    <a:pt x="301978" y="652118"/>
                    <a:pt x="300215" y="652118"/>
                  </a:cubicBezTo>
                  <a:cubicBezTo>
                    <a:pt x="298515" y="652118"/>
                    <a:pt x="297782" y="651808"/>
                    <a:pt x="297199" y="651560"/>
                  </a:cubicBezTo>
                  <a:lnTo>
                    <a:pt x="61575" y="554197"/>
                  </a:lnTo>
                  <a:cubicBezTo>
                    <a:pt x="58447" y="552906"/>
                    <a:pt x="56424" y="549878"/>
                    <a:pt x="56424" y="546489"/>
                  </a:cubicBezTo>
                  <a:lnTo>
                    <a:pt x="56424" y="410276"/>
                  </a:lnTo>
                  <a:lnTo>
                    <a:pt x="5658" y="393048"/>
                  </a:lnTo>
                  <a:cubicBezTo>
                    <a:pt x="3138" y="392191"/>
                    <a:pt x="1152" y="390168"/>
                    <a:pt x="370" y="387624"/>
                  </a:cubicBezTo>
                  <a:cubicBezTo>
                    <a:pt x="-412" y="385079"/>
                    <a:pt x="59" y="382286"/>
                    <a:pt x="1660" y="380152"/>
                  </a:cubicBezTo>
                  <a:lnTo>
                    <a:pt x="5099" y="375559"/>
                  </a:lnTo>
                  <a:cubicBezTo>
                    <a:pt x="39829" y="329162"/>
                    <a:pt x="57666" y="305343"/>
                    <a:pt x="58100" y="304747"/>
                  </a:cubicBezTo>
                  <a:cubicBezTo>
                    <a:pt x="59515" y="302823"/>
                    <a:pt x="61811" y="301954"/>
                    <a:pt x="62407" y="301756"/>
                  </a:cubicBezTo>
                  <a:lnTo>
                    <a:pt x="62506" y="301730"/>
                  </a:lnTo>
                  <a:close/>
                  <a:moveTo>
                    <a:pt x="352745" y="192154"/>
                  </a:moveTo>
                  <a:lnTo>
                    <a:pt x="317891" y="305280"/>
                  </a:lnTo>
                  <a:lnTo>
                    <a:pt x="418667" y="192154"/>
                  </a:lnTo>
                  <a:close/>
                  <a:moveTo>
                    <a:pt x="266318" y="192154"/>
                  </a:moveTo>
                  <a:lnTo>
                    <a:pt x="300203" y="302165"/>
                  </a:lnTo>
                  <a:lnTo>
                    <a:pt x="334101" y="192154"/>
                  </a:lnTo>
                  <a:close/>
                  <a:moveTo>
                    <a:pt x="181752" y="192154"/>
                  </a:moveTo>
                  <a:lnTo>
                    <a:pt x="282516" y="305280"/>
                  </a:lnTo>
                  <a:lnTo>
                    <a:pt x="247662" y="192154"/>
                  </a:lnTo>
                  <a:close/>
                  <a:moveTo>
                    <a:pt x="460136" y="174331"/>
                  </a:moveTo>
                  <a:lnTo>
                    <a:pt x="474547" y="174331"/>
                  </a:lnTo>
                  <a:cubicBezTo>
                    <a:pt x="479463" y="174331"/>
                    <a:pt x="483459" y="178327"/>
                    <a:pt x="483459" y="183243"/>
                  </a:cubicBezTo>
                  <a:cubicBezTo>
                    <a:pt x="483459" y="188158"/>
                    <a:pt x="479463" y="192155"/>
                    <a:pt x="474547" y="192155"/>
                  </a:cubicBezTo>
                  <a:lnTo>
                    <a:pt x="460136" y="192155"/>
                  </a:lnTo>
                  <a:cubicBezTo>
                    <a:pt x="455221" y="192155"/>
                    <a:pt x="451224" y="188158"/>
                    <a:pt x="451224" y="183243"/>
                  </a:cubicBezTo>
                  <a:cubicBezTo>
                    <a:pt x="451224" y="178327"/>
                    <a:pt x="455221" y="174331"/>
                    <a:pt x="460136" y="174331"/>
                  </a:cubicBezTo>
                  <a:close/>
                  <a:moveTo>
                    <a:pt x="125871" y="174331"/>
                  </a:moveTo>
                  <a:lnTo>
                    <a:pt x="140282" y="174331"/>
                  </a:lnTo>
                  <a:cubicBezTo>
                    <a:pt x="145198" y="174331"/>
                    <a:pt x="149194" y="178327"/>
                    <a:pt x="149194" y="183243"/>
                  </a:cubicBezTo>
                  <a:cubicBezTo>
                    <a:pt x="149194" y="188158"/>
                    <a:pt x="145198" y="192155"/>
                    <a:pt x="140282" y="192155"/>
                  </a:cubicBezTo>
                  <a:lnTo>
                    <a:pt x="125871" y="192155"/>
                  </a:lnTo>
                  <a:cubicBezTo>
                    <a:pt x="120956" y="192155"/>
                    <a:pt x="116959" y="188158"/>
                    <a:pt x="116959" y="183243"/>
                  </a:cubicBezTo>
                  <a:cubicBezTo>
                    <a:pt x="116959" y="178327"/>
                    <a:pt x="120956" y="174331"/>
                    <a:pt x="125871" y="174331"/>
                  </a:cubicBezTo>
                  <a:close/>
                  <a:moveTo>
                    <a:pt x="300203" y="128615"/>
                  </a:moveTo>
                  <a:lnTo>
                    <a:pt x="270625" y="174330"/>
                  </a:lnTo>
                  <a:lnTo>
                    <a:pt x="329782" y="174330"/>
                  </a:lnTo>
                  <a:close/>
                  <a:moveTo>
                    <a:pt x="392440" y="128081"/>
                  </a:moveTo>
                  <a:lnTo>
                    <a:pt x="362538" y="174330"/>
                  </a:lnTo>
                  <a:lnTo>
                    <a:pt x="422391" y="174330"/>
                  </a:lnTo>
                  <a:close/>
                  <a:moveTo>
                    <a:pt x="208116" y="128044"/>
                  </a:moveTo>
                  <a:lnTo>
                    <a:pt x="178053" y="174330"/>
                  </a:lnTo>
                  <a:lnTo>
                    <a:pt x="238055" y="174330"/>
                  </a:lnTo>
                  <a:close/>
                  <a:moveTo>
                    <a:pt x="316302" y="120684"/>
                  </a:moveTo>
                  <a:lnTo>
                    <a:pt x="346166" y="166846"/>
                  </a:lnTo>
                  <a:lnTo>
                    <a:pt x="376018" y="120684"/>
                  </a:lnTo>
                  <a:close/>
                  <a:moveTo>
                    <a:pt x="224575" y="120684"/>
                  </a:moveTo>
                  <a:lnTo>
                    <a:pt x="254340" y="166697"/>
                  </a:lnTo>
                  <a:lnTo>
                    <a:pt x="284116" y="120684"/>
                  </a:lnTo>
                  <a:close/>
                  <a:moveTo>
                    <a:pt x="213193" y="102860"/>
                  </a:moveTo>
                  <a:lnTo>
                    <a:pt x="387363" y="102860"/>
                  </a:lnTo>
                  <a:cubicBezTo>
                    <a:pt x="393606" y="102860"/>
                    <a:pt x="399366" y="105988"/>
                    <a:pt x="402767" y="111238"/>
                  </a:cubicBezTo>
                  <a:lnTo>
                    <a:pt x="442250" y="172195"/>
                  </a:lnTo>
                  <a:cubicBezTo>
                    <a:pt x="446731" y="179096"/>
                    <a:pt x="446024" y="188220"/>
                    <a:pt x="440550" y="194376"/>
                  </a:cubicBezTo>
                  <a:lnTo>
                    <a:pt x="313919" y="336534"/>
                  </a:lnTo>
                  <a:cubicBezTo>
                    <a:pt x="310444" y="340445"/>
                    <a:pt x="305441" y="342679"/>
                    <a:pt x="300215" y="342679"/>
                  </a:cubicBezTo>
                  <a:cubicBezTo>
                    <a:pt x="294990" y="342679"/>
                    <a:pt x="289988" y="340445"/>
                    <a:pt x="286512" y="336534"/>
                  </a:cubicBezTo>
                  <a:lnTo>
                    <a:pt x="159894" y="194389"/>
                  </a:lnTo>
                  <a:cubicBezTo>
                    <a:pt x="154408" y="188232"/>
                    <a:pt x="153713" y="179096"/>
                    <a:pt x="158206" y="172182"/>
                  </a:cubicBezTo>
                  <a:lnTo>
                    <a:pt x="197801" y="111213"/>
                  </a:lnTo>
                  <a:cubicBezTo>
                    <a:pt x="201202" y="105988"/>
                    <a:pt x="206950" y="102860"/>
                    <a:pt x="213193" y="102860"/>
                  </a:cubicBezTo>
                  <a:close/>
                  <a:moveTo>
                    <a:pt x="300389" y="70167"/>
                  </a:moveTo>
                  <a:cubicBezTo>
                    <a:pt x="302736" y="70167"/>
                    <a:pt x="305032" y="71110"/>
                    <a:pt x="306695" y="72773"/>
                  </a:cubicBezTo>
                  <a:cubicBezTo>
                    <a:pt x="308345" y="74412"/>
                    <a:pt x="309301" y="76708"/>
                    <a:pt x="309301" y="79067"/>
                  </a:cubicBezTo>
                  <a:cubicBezTo>
                    <a:pt x="309301" y="81413"/>
                    <a:pt x="308345" y="83721"/>
                    <a:pt x="306683" y="85373"/>
                  </a:cubicBezTo>
                  <a:cubicBezTo>
                    <a:pt x="305044" y="87023"/>
                    <a:pt x="302748" y="87979"/>
                    <a:pt x="300389" y="87979"/>
                  </a:cubicBezTo>
                  <a:cubicBezTo>
                    <a:pt x="298031" y="87979"/>
                    <a:pt x="295735" y="87023"/>
                    <a:pt x="294083" y="85373"/>
                  </a:cubicBezTo>
                  <a:cubicBezTo>
                    <a:pt x="292433" y="83721"/>
                    <a:pt x="291477" y="81425"/>
                    <a:pt x="291477" y="79079"/>
                  </a:cubicBezTo>
                  <a:cubicBezTo>
                    <a:pt x="291477" y="76733"/>
                    <a:pt x="292421" y="74437"/>
                    <a:pt x="294083" y="72773"/>
                  </a:cubicBezTo>
                  <a:cubicBezTo>
                    <a:pt x="295747" y="71123"/>
                    <a:pt x="298043" y="70167"/>
                    <a:pt x="300389" y="70167"/>
                  </a:cubicBezTo>
                  <a:close/>
                  <a:moveTo>
                    <a:pt x="423569" y="51101"/>
                  </a:moveTo>
                  <a:cubicBezTo>
                    <a:pt x="425952" y="51101"/>
                    <a:pt x="428186" y="52020"/>
                    <a:pt x="429874" y="53707"/>
                  </a:cubicBezTo>
                  <a:cubicBezTo>
                    <a:pt x="431550" y="55395"/>
                    <a:pt x="432481" y="57630"/>
                    <a:pt x="432481" y="60013"/>
                  </a:cubicBezTo>
                  <a:cubicBezTo>
                    <a:pt x="432481" y="62396"/>
                    <a:pt x="431550" y="64643"/>
                    <a:pt x="429874" y="66319"/>
                  </a:cubicBezTo>
                  <a:lnTo>
                    <a:pt x="406341" y="89852"/>
                  </a:lnTo>
                  <a:cubicBezTo>
                    <a:pt x="404653" y="91527"/>
                    <a:pt x="402418" y="92459"/>
                    <a:pt x="400035" y="92459"/>
                  </a:cubicBezTo>
                  <a:cubicBezTo>
                    <a:pt x="397652" y="92459"/>
                    <a:pt x="395418" y="91527"/>
                    <a:pt x="393729" y="89852"/>
                  </a:cubicBezTo>
                  <a:cubicBezTo>
                    <a:pt x="392055" y="88164"/>
                    <a:pt x="391123" y="85929"/>
                    <a:pt x="391123" y="83547"/>
                  </a:cubicBezTo>
                  <a:cubicBezTo>
                    <a:pt x="391123" y="81164"/>
                    <a:pt x="392055" y="78917"/>
                    <a:pt x="393729" y="77241"/>
                  </a:cubicBezTo>
                  <a:lnTo>
                    <a:pt x="417263" y="53707"/>
                  </a:lnTo>
                  <a:cubicBezTo>
                    <a:pt x="418952" y="52032"/>
                    <a:pt x="421186" y="51101"/>
                    <a:pt x="423569" y="51101"/>
                  </a:cubicBezTo>
                  <a:close/>
                  <a:moveTo>
                    <a:pt x="177147" y="50977"/>
                  </a:moveTo>
                  <a:cubicBezTo>
                    <a:pt x="179531" y="50977"/>
                    <a:pt x="181765" y="51896"/>
                    <a:pt x="183453" y="53583"/>
                  </a:cubicBezTo>
                  <a:lnTo>
                    <a:pt x="207011" y="77117"/>
                  </a:lnTo>
                  <a:cubicBezTo>
                    <a:pt x="208687" y="78805"/>
                    <a:pt x="209618" y="81040"/>
                    <a:pt x="209618" y="83423"/>
                  </a:cubicBezTo>
                  <a:cubicBezTo>
                    <a:pt x="209618" y="85805"/>
                    <a:pt x="208699" y="88040"/>
                    <a:pt x="207011" y="89728"/>
                  </a:cubicBezTo>
                  <a:cubicBezTo>
                    <a:pt x="205323" y="91403"/>
                    <a:pt x="203089" y="92335"/>
                    <a:pt x="200706" y="92335"/>
                  </a:cubicBezTo>
                  <a:cubicBezTo>
                    <a:pt x="198323" y="92335"/>
                    <a:pt x="196088" y="91416"/>
                    <a:pt x="194400" y="89728"/>
                  </a:cubicBezTo>
                  <a:lnTo>
                    <a:pt x="170841" y="66182"/>
                  </a:lnTo>
                  <a:cubicBezTo>
                    <a:pt x="167367" y="62706"/>
                    <a:pt x="167367" y="57059"/>
                    <a:pt x="170841" y="53583"/>
                  </a:cubicBezTo>
                  <a:cubicBezTo>
                    <a:pt x="172530" y="51908"/>
                    <a:pt x="174764" y="50977"/>
                    <a:pt x="177147" y="50977"/>
                  </a:cubicBezTo>
                  <a:close/>
                  <a:moveTo>
                    <a:pt x="300389" y="0"/>
                  </a:moveTo>
                  <a:cubicBezTo>
                    <a:pt x="305305" y="0"/>
                    <a:pt x="309301" y="3996"/>
                    <a:pt x="309301" y="8912"/>
                  </a:cubicBezTo>
                  <a:lnTo>
                    <a:pt x="309301" y="55086"/>
                  </a:lnTo>
                  <a:cubicBezTo>
                    <a:pt x="309301" y="60000"/>
                    <a:pt x="305305" y="63998"/>
                    <a:pt x="300389" y="63998"/>
                  </a:cubicBezTo>
                  <a:cubicBezTo>
                    <a:pt x="295474" y="63998"/>
                    <a:pt x="291477" y="60000"/>
                    <a:pt x="291477" y="55098"/>
                  </a:cubicBezTo>
                  <a:lnTo>
                    <a:pt x="291477" y="8912"/>
                  </a:lnTo>
                  <a:cubicBezTo>
                    <a:pt x="291477" y="3996"/>
                    <a:pt x="295474" y="0"/>
                    <a:pt x="300389" y="0"/>
                  </a:cubicBezTo>
                  <a:close/>
                </a:path>
              </a:pathLst>
            </a:custGeom>
            <a:solidFill>
              <a:schemeClr val="bg1"/>
            </a:solidFill>
            <a:ln w="1496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13" name="Title 12">
            <a:extLst>
              <a:ext uri="{FF2B5EF4-FFF2-40B4-BE49-F238E27FC236}">
                <a16:creationId xmlns:a16="http://schemas.microsoft.com/office/drawing/2014/main" id="{06418E94-8FE5-35B3-9221-2007917524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>
                <a:solidFill>
                  <a:srgbClr val="063853"/>
                </a:solidFill>
                <a:latin typeface="Montserrat SemiBold" panose="00000700000000000000" pitchFamily="2" charset="0"/>
                <a:ea typeface="Roboto" panose="02000000000000000000" pitchFamily="2" charset="0"/>
              </a:rPr>
              <a:t>Key effort drivers</a:t>
            </a:r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39AC43D-4DD7-15F3-1ADA-715FBDC596CA}"/>
              </a:ext>
            </a:extLst>
          </p:cNvPr>
          <p:cNvSpPr/>
          <p:nvPr/>
        </p:nvSpPr>
        <p:spPr>
          <a:xfrm>
            <a:off x="1607966" y="1311212"/>
            <a:ext cx="9401466" cy="91440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Which parameters are impacting the duration the most? How to handle them? Recommendations?</a:t>
            </a:r>
          </a:p>
        </p:txBody>
      </p:sp>
    </p:spTree>
    <p:extLst>
      <p:ext uri="{BB962C8B-B14F-4D97-AF65-F5344CB8AC3E}">
        <p14:creationId xmlns:p14="http://schemas.microsoft.com/office/powerpoint/2010/main" val="17488398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6C5EC9F-923E-009A-7066-B6C436A86A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8266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C5EC9F-923E-009A-7066-B6C436A86A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6696AF-4B09-7B8B-8E51-2AD887C80F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IN" dirty="0">
                <a:latin typeface="Montserrat SemiBold"/>
              </a:rPr>
              <a:t>Overview </a:t>
            </a:r>
            <a:r>
              <a:rPr lang="en-IN" dirty="0" err="1">
                <a:latin typeface="Montserrat SemiBold"/>
              </a:rPr>
              <a:t>Polarion</a:t>
            </a:r>
            <a:r>
              <a:rPr lang="en-IN" dirty="0">
                <a:latin typeface="Montserrat SemiBold"/>
              </a:rPr>
              <a:t> Implementation</a:t>
            </a:r>
            <a:endParaRPr lang="en-US" sz="2000" dirty="0"/>
          </a:p>
        </p:txBody>
      </p:sp>
      <p:grpSp>
        <p:nvGrpSpPr>
          <p:cNvPr id="93" name="Gruppieren 92">
            <a:extLst>
              <a:ext uri="{FF2B5EF4-FFF2-40B4-BE49-F238E27FC236}">
                <a16:creationId xmlns:a16="http://schemas.microsoft.com/office/drawing/2014/main" id="{3BDC3742-BB2D-4E60-15E3-BE0A46F0D38A}"/>
              </a:ext>
            </a:extLst>
          </p:cNvPr>
          <p:cNvGrpSpPr/>
          <p:nvPr/>
        </p:nvGrpSpPr>
        <p:grpSpPr>
          <a:xfrm>
            <a:off x="605162" y="1598443"/>
            <a:ext cx="914400" cy="920024"/>
            <a:chOff x="2792384" y="5248067"/>
            <a:chExt cx="914400" cy="920024"/>
          </a:xfrm>
        </p:grpSpPr>
        <p:pic>
          <p:nvPicPr>
            <p:cNvPr id="6" name="Grafik 5" descr="Klemmbrett gemischt Silhouette">
              <a:extLst>
                <a:ext uri="{FF2B5EF4-FFF2-40B4-BE49-F238E27FC236}">
                  <a16:creationId xmlns:a16="http://schemas.microsoft.com/office/drawing/2014/main" id="{BE2BE1B6-5885-A34F-940E-DF5BF27BF35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943683" y="5398561"/>
              <a:ext cx="619036" cy="619036"/>
            </a:xfrm>
            <a:prstGeom prst="rect">
              <a:avLst/>
            </a:prstGeom>
          </p:spPr>
        </p:pic>
        <p:grpSp>
          <p:nvGrpSpPr>
            <p:cNvPr id="92" name="Gruppieren 91">
              <a:extLst>
                <a:ext uri="{FF2B5EF4-FFF2-40B4-BE49-F238E27FC236}">
                  <a16:creationId xmlns:a16="http://schemas.microsoft.com/office/drawing/2014/main" id="{DB4B1D48-6781-E6DC-8597-0ACBD0CB1213}"/>
                </a:ext>
              </a:extLst>
            </p:cNvPr>
            <p:cNvGrpSpPr/>
            <p:nvPr/>
          </p:nvGrpSpPr>
          <p:grpSpPr>
            <a:xfrm>
              <a:off x="2792384" y="5248067"/>
              <a:ext cx="914400" cy="920024"/>
              <a:chOff x="2389160" y="4860209"/>
              <a:chExt cx="1720851" cy="1731436"/>
            </a:xfrm>
          </p:grpSpPr>
          <p:sp>
            <p:nvSpPr>
              <p:cNvPr id="90" name="Freeform 29">
                <a:extLst>
                  <a:ext uri="{FF2B5EF4-FFF2-40B4-BE49-F238E27FC236}">
                    <a16:creationId xmlns:a16="http://schemas.microsoft.com/office/drawing/2014/main" id="{823FABA9-A1B1-6AFD-FD58-95BC5F7D14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9160" y="5725927"/>
                <a:ext cx="1720851" cy="865718"/>
              </a:xfrm>
              <a:custGeom>
                <a:avLst/>
                <a:gdLst>
                  <a:gd name="T0" fmla="*/ 233 w 465"/>
                  <a:gd name="T1" fmla="*/ 233 h 233"/>
                  <a:gd name="T2" fmla="*/ 0 w 465"/>
                  <a:gd name="T3" fmla="*/ 0 h 233"/>
                  <a:gd name="T4" fmla="*/ 40 w 465"/>
                  <a:gd name="T5" fmla="*/ 0 h 233"/>
                  <a:gd name="T6" fmla="*/ 233 w 465"/>
                  <a:gd name="T7" fmla="*/ 193 h 233"/>
                  <a:gd name="T8" fmla="*/ 425 w 465"/>
                  <a:gd name="T9" fmla="*/ 0 h 233"/>
                  <a:gd name="T10" fmla="*/ 465 w 465"/>
                  <a:gd name="T11" fmla="*/ 0 h 233"/>
                  <a:gd name="T12" fmla="*/ 233 w 465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5" h="233">
                    <a:moveTo>
                      <a:pt x="233" y="233"/>
                    </a:moveTo>
                    <a:cubicBezTo>
                      <a:pt x="104" y="233"/>
                      <a:pt x="0" y="128"/>
                      <a:pt x="0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0" y="106"/>
                      <a:pt x="127" y="193"/>
                      <a:pt x="233" y="193"/>
                    </a:cubicBezTo>
                    <a:cubicBezTo>
                      <a:pt x="339" y="193"/>
                      <a:pt x="425" y="106"/>
                      <a:pt x="425" y="0"/>
                    </a:cubicBezTo>
                    <a:cubicBezTo>
                      <a:pt x="465" y="0"/>
                      <a:pt x="465" y="0"/>
                      <a:pt x="465" y="0"/>
                    </a:cubicBezTo>
                    <a:cubicBezTo>
                      <a:pt x="465" y="128"/>
                      <a:pt x="361" y="233"/>
                      <a:pt x="233" y="23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91" name="Freeform 31">
                <a:extLst>
                  <a:ext uri="{FF2B5EF4-FFF2-40B4-BE49-F238E27FC236}">
                    <a16:creationId xmlns:a16="http://schemas.microsoft.com/office/drawing/2014/main" id="{163F6C52-BEAB-4CB9-7388-DD26C8BC36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9160" y="4860209"/>
                <a:ext cx="1720851" cy="865718"/>
              </a:xfrm>
              <a:custGeom>
                <a:avLst/>
                <a:gdLst>
                  <a:gd name="T0" fmla="*/ 465 w 465"/>
                  <a:gd name="T1" fmla="*/ 233 h 233"/>
                  <a:gd name="T2" fmla="*/ 425 w 465"/>
                  <a:gd name="T3" fmla="*/ 233 h 233"/>
                  <a:gd name="T4" fmla="*/ 233 w 465"/>
                  <a:gd name="T5" fmla="*/ 40 h 233"/>
                  <a:gd name="T6" fmla="*/ 40 w 465"/>
                  <a:gd name="T7" fmla="*/ 233 h 233"/>
                  <a:gd name="T8" fmla="*/ 0 w 465"/>
                  <a:gd name="T9" fmla="*/ 233 h 233"/>
                  <a:gd name="T10" fmla="*/ 233 w 465"/>
                  <a:gd name="T11" fmla="*/ 0 h 233"/>
                  <a:gd name="T12" fmla="*/ 465 w 465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5" h="233">
                    <a:moveTo>
                      <a:pt x="465" y="233"/>
                    </a:moveTo>
                    <a:cubicBezTo>
                      <a:pt x="425" y="233"/>
                      <a:pt x="425" y="233"/>
                      <a:pt x="425" y="233"/>
                    </a:cubicBezTo>
                    <a:cubicBezTo>
                      <a:pt x="425" y="127"/>
                      <a:pt x="339" y="40"/>
                      <a:pt x="233" y="40"/>
                    </a:cubicBezTo>
                    <a:cubicBezTo>
                      <a:pt x="127" y="40"/>
                      <a:pt x="40" y="127"/>
                      <a:pt x="40" y="233"/>
                    </a:cubicBezTo>
                    <a:cubicBezTo>
                      <a:pt x="0" y="233"/>
                      <a:pt x="0" y="233"/>
                      <a:pt x="0" y="233"/>
                    </a:cubicBezTo>
                    <a:cubicBezTo>
                      <a:pt x="0" y="104"/>
                      <a:pt x="104" y="0"/>
                      <a:pt x="233" y="0"/>
                    </a:cubicBezTo>
                    <a:cubicBezTo>
                      <a:pt x="361" y="0"/>
                      <a:pt x="465" y="104"/>
                      <a:pt x="465" y="233"/>
                    </a:cubicBezTo>
                    <a:close/>
                  </a:path>
                </a:pathLst>
              </a:custGeom>
              <a:solidFill>
                <a:srgbClr val="00D0CB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</p:grp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DD894536-4F44-B384-FCC0-4584A1BDC0F5}"/>
              </a:ext>
            </a:extLst>
          </p:cNvPr>
          <p:cNvGrpSpPr/>
          <p:nvPr/>
        </p:nvGrpSpPr>
        <p:grpSpPr>
          <a:xfrm>
            <a:off x="6359461" y="1600904"/>
            <a:ext cx="914400" cy="920024"/>
            <a:chOff x="2207079" y="5001833"/>
            <a:chExt cx="914400" cy="920024"/>
          </a:xfrm>
        </p:grpSpPr>
        <p:pic>
          <p:nvPicPr>
            <p:cNvPr id="9" name="Grafik 8" descr="Tageskalender Silhouette">
              <a:extLst>
                <a:ext uri="{FF2B5EF4-FFF2-40B4-BE49-F238E27FC236}">
                  <a16:creationId xmlns:a16="http://schemas.microsoft.com/office/drawing/2014/main" id="{6D7BA263-9E4D-B155-5BE1-F9865B68D6B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358189" y="5156504"/>
              <a:ext cx="610681" cy="610681"/>
            </a:xfrm>
            <a:prstGeom prst="rect">
              <a:avLst/>
            </a:prstGeom>
          </p:spPr>
        </p:pic>
        <p:grpSp>
          <p:nvGrpSpPr>
            <p:cNvPr id="96" name="Gruppieren 95">
              <a:extLst>
                <a:ext uri="{FF2B5EF4-FFF2-40B4-BE49-F238E27FC236}">
                  <a16:creationId xmlns:a16="http://schemas.microsoft.com/office/drawing/2014/main" id="{DE447742-50DD-2A59-B4D0-9FE03D964021}"/>
                </a:ext>
              </a:extLst>
            </p:cNvPr>
            <p:cNvGrpSpPr/>
            <p:nvPr/>
          </p:nvGrpSpPr>
          <p:grpSpPr>
            <a:xfrm>
              <a:off x="2207079" y="5001833"/>
              <a:ext cx="914400" cy="920024"/>
              <a:chOff x="2389160" y="4860209"/>
              <a:chExt cx="1720851" cy="1731436"/>
            </a:xfrm>
          </p:grpSpPr>
          <p:sp>
            <p:nvSpPr>
              <p:cNvPr id="97" name="Freeform 29">
                <a:extLst>
                  <a:ext uri="{FF2B5EF4-FFF2-40B4-BE49-F238E27FC236}">
                    <a16:creationId xmlns:a16="http://schemas.microsoft.com/office/drawing/2014/main" id="{3ADF87CC-D383-1897-843A-527A36A2FC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9160" y="5725927"/>
                <a:ext cx="1720851" cy="865718"/>
              </a:xfrm>
              <a:custGeom>
                <a:avLst/>
                <a:gdLst>
                  <a:gd name="T0" fmla="*/ 233 w 465"/>
                  <a:gd name="T1" fmla="*/ 233 h 233"/>
                  <a:gd name="T2" fmla="*/ 0 w 465"/>
                  <a:gd name="T3" fmla="*/ 0 h 233"/>
                  <a:gd name="T4" fmla="*/ 40 w 465"/>
                  <a:gd name="T5" fmla="*/ 0 h 233"/>
                  <a:gd name="T6" fmla="*/ 233 w 465"/>
                  <a:gd name="T7" fmla="*/ 193 h 233"/>
                  <a:gd name="T8" fmla="*/ 425 w 465"/>
                  <a:gd name="T9" fmla="*/ 0 h 233"/>
                  <a:gd name="T10" fmla="*/ 465 w 465"/>
                  <a:gd name="T11" fmla="*/ 0 h 233"/>
                  <a:gd name="T12" fmla="*/ 233 w 465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5" h="233">
                    <a:moveTo>
                      <a:pt x="233" y="233"/>
                    </a:moveTo>
                    <a:cubicBezTo>
                      <a:pt x="104" y="233"/>
                      <a:pt x="0" y="128"/>
                      <a:pt x="0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0" y="106"/>
                      <a:pt x="127" y="193"/>
                      <a:pt x="233" y="193"/>
                    </a:cubicBezTo>
                    <a:cubicBezTo>
                      <a:pt x="339" y="193"/>
                      <a:pt x="425" y="106"/>
                      <a:pt x="425" y="0"/>
                    </a:cubicBezTo>
                    <a:cubicBezTo>
                      <a:pt x="465" y="0"/>
                      <a:pt x="465" y="0"/>
                      <a:pt x="465" y="0"/>
                    </a:cubicBezTo>
                    <a:cubicBezTo>
                      <a:pt x="465" y="128"/>
                      <a:pt x="361" y="233"/>
                      <a:pt x="233" y="233"/>
                    </a:cubicBezTo>
                    <a:close/>
                  </a:path>
                </a:pathLst>
              </a:custGeom>
              <a:solidFill>
                <a:srgbClr val="5C8EC0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98" name="Freeform 31">
                <a:extLst>
                  <a:ext uri="{FF2B5EF4-FFF2-40B4-BE49-F238E27FC236}">
                    <a16:creationId xmlns:a16="http://schemas.microsoft.com/office/drawing/2014/main" id="{F7B30738-08D3-3B6E-EE33-05F3E0908B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9160" y="4860209"/>
                <a:ext cx="1720851" cy="865718"/>
              </a:xfrm>
              <a:custGeom>
                <a:avLst/>
                <a:gdLst>
                  <a:gd name="T0" fmla="*/ 465 w 465"/>
                  <a:gd name="T1" fmla="*/ 233 h 233"/>
                  <a:gd name="T2" fmla="*/ 425 w 465"/>
                  <a:gd name="T3" fmla="*/ 233 h 233"/>
                  <a:gd name="T4" fmla="*/ 233 w 465"/>
                  <a:gd name="T5" fmla="*/ 40 h 233"/>
                  <a:gd name="T6" fmla="*/ 40 w 465"/>
                  <a:gd name="T7" fmla="*/ 233 h 233"/>
                  <a:gd name="T8" fmla="*/ 0 w 465"/>
                  <a:gd name="T9" fmla="*/ 233 h 233"/>
                  <a:gd name="T10" fmla="*/ 233 w 465"/>
                  <a:gd name="T11" fmla="*/ 0 h 233"/>
                  <a:gd name="T12" fmla="*/ 465 w 465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5" h="233">
                    <a:moveTo>
                      <a:pt x="465" y="233"/>
                    </a:moveTo>
                    <a:cubicBezTo>
                      <a:pt x="425" y="233"/>
                      <a:pt x="425" y="233"/>
                      <a:pt x="425" y="233"/>
                    </a:cubicBezTo>
                    <a:cubicBezTo>
                      <a:pt x="425" y="127"/>
                      <a:pt x="339" y="40"/>
                      <a:pt x="233" y="40"/>
                    </a:cubicBezTo>
                    <a:cubicBezTo>
                      <a:pt x="127" y="40"/>
                      <a:pt x="40" y="127"/>
                      <a:pt x="40" y="233"/>
                    </a:cubicBezTo>
                    <a:cubicBezTo>
                      <a:pt x="0" y="233"/>
                      <a:pt x="0" y="233"/>
                      <a:pt x="0" y="233"/>
                    </a:cubicBezTo>
                    <a:cubicBezTo>
                      <a:pt x="0" y="104"/>
                      <a:pt x="104" y="0"/>
                      <a:pt x="233" y="0"/>
                    </a:cubicBezTo>
                    <a:cubicBezTo>
                      <a:pt x="361" y="0"/>
                      <a:pt x="465" y="104"/>
                      <a:pt x="465" y="23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</p:grp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68CBF95C-6F50-56E7-1CED-671192FBBCAC}"/>
              </a:ext>
            </a:extLst>
          </p:cNvPr>
          <p:cNvGrpSpPr/>
          <p:nvPr/>
        </p:nvGrpSpPr>
        <p:grpSpPr>
          <a:xfrm>
            <a:off x="614903" y="3069481"/>
            <a:ext cx="914400" cy="920024"/>
            <a:chOff x="803902" y="3860557"/>
            <a:chExt cx="914400" cy="920024"/>
          </a:xfrm>
        </p:grpSpPr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432B9ADD-A31E-793E-92E5-4228CB1750B5}"/>
                </a:ext>
              </a:extLst>
            </p:cNvPr>
            <p:cNvGrpSpPr/>
            <p:nvPr/>
          </p:nvGrpSpPr>
          <p:grpSpPr>
            <a:xfrm>
              <a:off x="1017342" y="4090563"/>
              <a:ext cx="486976" cy="460012"/>
              <a:chOff x="3404319" y="-2819457"/>
              <a:chExt cx="2399913" cy="1933434"/>
            </a:xfrm>
          </p:grpSpPr>
          <p:grpSp>
            <p:nvGrpSpPr>
              <p:cNvPr id="55" name="Grafik 63" descr="Illustrator Silhouette">
                <a:extLst>
                  <a:ext uri="{FF2B5EF4-FFF2-40B4-BE49-F238E27FC236}">
                    <a16:creationId xmlns:a16="http://schemas.microsoft.com/office/drawing/2014/main" id="{FF50D222-1CFF-DE49-25DC-7E2F48AF98BF}"/>
                  </a:ext>
                </a:extLst>
              </p:cNvPr>
              <p:cNvGrpSpPr/>
              <p:nvPr/>
            </p:nvGrpSpPr>
            <p:grpSpPr>
              <a:xfrm>
                <a:off x="3404319" y="-2819457"/>
                <a:ext cx="2399913" cy="1933434"/>
                <a:chOff x="4378008" y="-2071533"/>
                <a:chExt cx="762000" cy="647880"/>
              </a:xfrm>
              <a:solidFill>
                <a:srgbClr val="686C86"/>
              </a:solidFill>
            </p:grpSpPr>
            <p:sp>
              <p:nvSpPr>
                <p:cNvPr id="65" name="Freihandform: Form 64">
                  <a:extLst>
                    <a:ext uri="{FF2B5EF4-FFF2-40B4-BE49-F238E27FC236}">
                      <a16:creationId xmlns:a16="http://schemas.microsoft.com/office/drawing/2014/main" id="{9F35AF25-6FE0-9FDE-10A2-D99369D35B55}"/>
                    </a:ext>
                  </a:extLst>
                </p:cNvPr>
                <p:cNvSpPr/>
                <p:nvPr/>
              </p:nvSpPr>
              <p:spPr>
                <a:xfrm>
                  <a:off x="4378008" y="-2071533"/>
                  <a:ext cx="762000" cy="647880"/>
                </a:xfrm>
                <a:custGeom>
                  <a:avLst/>
                  <a:gdLst>
                    <a:gd name="connsiteX0" fmla="*/ 723900 w 762000"/>
                    <a:gd name="connsiteY0" fmla="*/ 0 h 647880"/>
                    <a:gd name="connsiteX1" fmla="*/ 38100 w 762000"/>
                    <a:gd name="connsiteY1" fmla="*/ 0 h 647880"/>
                    <a:gd name="connsiteX2" fmla="*/ 0 w 762000"/>
                    <a:gd name="connsiteY2" fmla="*/ 38100 h 647880"/>
                    <a:gd name="connsiteX3" fmla="*/ 0 w 762000"/>
                    <a:gd name="connsiteY3" fmla="*/ 495481 h 647880"/>
                    <a:gd name="connsiteX4" fmla="*/ 38100 w 762000"/>
                    <a:gd name="connsiteY4" fmla="*/ 533581 h 647880"/>
                    <a:gd name="connsiteX5" fmla="*/ 314325 w 762000"/>
                    <a:gd name="connsiteY5" fmla="*/ 533581 h 647880"/>
                    <a:gd name="connsiteX6" fmla="*/ 314325 w 762000"/>
                    <a:gd name="connsiteY6" fmla="*/ 628831 h 647880"/>
                    <a:gd name="connsiteX7" fmla="*/ 209550 w 762000"/>
                    <a:gd name="connsiteY7" fmla="*/ 628831 h 647880"/>
                    <a:gd name="connsiteX8" fmla="*/ 209550 w 762000"/>
                    <a:gd name="connsiteY8" fmla="*/ 647881 h 647880"/>
                    <a:gd name="connsiteX9" fmla="*/ 552450 w 762000"/>
                    <a:gd name="connsiteY9" fmla="*/ 647881 h 647880"/>
                    <a:gd name="connsiteX10" fmla="*/ 552450 w 762000"/>
                    <a:gd name="connsiteY10" fmla="*/ 628831 h 647880"/>
                    <a:gd name="connsiteX11" fmla="*/ 447675 w 762000"/>
                    <a:gd name="connsiteY11" fmla="*/ 628831 h 647880"/>
                    <a:gd name="connsiteX12" fmla="*/ 447675 w 762000"/>
                    <a:gd name="connsiteY12" fmla="*/ 533581 h 647880"/>
                    <a:gd name="connsiteX13" fmla="*/ 723900 w 762000"/>
                    <a:gd name="connsiteY13" fmla="*/ 533581 h 647880"/>
                    <a:gd name="connsiteX14" fmla="*/ 762000 w 762000"/>
                    <a:gd name="connsiteY14" fmla="*/ 495481 h 647880"/>
                    <a:gd name="connsiteX15" fmla="*/ 762000 w 762000"/>
                    <a:gd name="connsiteY15" fmla="*/ 38110 h 647880"/>
                    <a:gd name="connsiteX16" fmla="*/ 723900 w 762000"/>
                    <a:gd name="connsiteY16" fmla="*/ 0 h 647880"/>
                    <a:gd name="connsiteX17" fmla="*/ 428625 w 762000"/>
                    <a:gd name="connsiteY17" fmla="*/ 628831 h 647880"/>
                    <a:gd name="connsiteX18" fmla="*/ 333375 w 762000"/>
                    <a:gd name="connsiteY18" fmla="*/ 628831 h 647880"/>
                    <a:gd name="connsiteX19" fmla="*/ 333375 w 762000"/>
                    <a:gd name="connsiteY19" fmla="*/ 533581 h 647880"/>
                    <a:gd name="connsiteX20" fmla="*/ 428625 w 762000"/>
                    <a:gd name="connsiteY20" fmla="*/ 533581 h 647880"/>
                    <a:gd name="connsiteX21" fmla="*/ 742950 w 762000"/>
                    <a:gd name="connsiteY21" fmla="*/ 495481 h 647880"/>
                    <a:gd name="connsiteX22" fmla="*/ 723900 w 762000"/>
                    <a:gd name="connsiteY22" fmla="*/ 514531 h 647880"/>
                    <a:gd name="connsiteX23" fmla="*/ 38100 w 762000"/>
                    <a:gd name="connsiteY23" fmla="*/ 514531 h 647880"/>
                    <a:gd name="connsiteX24" fmla="*/ 19050 w 762000"/>
                    <a:gd name="connsiteY24" fmla="*/ 495481 h 647880"/>
                    <a:gd name="connsiteX25" fmla="*/ 19050 w 762000"/>
                    <a:gd name="connsiteY25" fmla="*/ 38110 h 647880"/>
                    <a:gd name="connsiteX26" fmla="*/ 38100 w 762000"/>
                    <a:gd name="connsiteY26" fmla="*/ 19060 h 647880"/>
                    <a:gd name="connsiteX27" fmla="*/ 723900 w 762000"/>
                    <a:gd name="connsiteY27" fmla="*/ 19060 h 647880"/>
                    <a:gd name="connsiteX28" fmla="*/ 742950 w 762000"/>
                    <a:gd name="connsiteY28" fmla="*/ 38110 h 6478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762000" h="647880">
                      <a:moveTo>
                        <a:pt x="723900" y="0"/>
                      </a:moveTo>
                      <a:lnTo>
                        <a:pt x="38100" y="0"/>
                      </a:lnTo>
                      <a:cubicBezTo>
                        <a:pt x="17084" y="63"/>
                        <a:pt x="63" y="17084"/>
                        <a:pt x="0" y="38100"/>
                      </a:cubicBezTo>
                      <a:lnTo>
                        <a:pt x="0" y="495481"/>
                      </a:lnTo>
                      <a:cubicBezTo>
                        <a:pt x="68" y="516495"/>
                        <a:pt x="17086" y="533513"/>
                        <a:pt x="38100" y="533581"/>
                      </a:cubicBezTo>
                      <a:lnTo>
                        <a:pt x="314325" y="533581"/>
                      </a:lnTo>
                      <a:lnTo>
                        <a:pt x="314325" y="628831"/>
                      </a:lnTo>
                      <a:lnTo>
                        <a:pt x="209550" y="628831"/>
                      </a:lnTo>
                      <a:lnTo>
                        <a:pt x="209550" y="647881"/>
                      </a:lnTo>
                      <a:lnTo>
                        <a:pt x="552450" y="647881"/>
                      </a:lnTo>
                      <a:lnTo>
                        <a:pt x="552450" y="628831"/>
                      </a:lnTo>
                      <a:lnTo>
                        <a:pt x="447675" y="628831"/>
                      </a:lnTo>
                      <a:lnTo>
                        <a:pt x="447675" y="533581"/>
                      </a:lnTo>
                      <a:lnTo>
                        <a:pt x="723900" y="533581"/>
                      </a:lnTo>
                      <a:cubicBezTo>
                        <a:pt x="744914" y="533513"/>
                        <a:pt x="761932" y="516495"/>
                        <a:pt x="762000" y="495481"/>
                      </a:cubicBezTo>
                      <a:lnTo>
                        <a:pt x="762000" y="38110"/>
                      </a:lnTo>
                      <a:cubicBezTo>
                        <a:pt x="761943" y="17090"/>
                        <a:pt x="744920" y="63"/>
                        <a:pt x="723900" y="0"/>
                      </a:cubicBezTo>
                      <a:close/>
                      <a:moveTo>
                        <a:pt x="428625" y="628831"/>
                      </a:moveTo>
                      <a:lnTo>
                        <a:pt x="333375" y="628831"/>
                      </a:lnTo>
                      <a:lnTo>
                        <a:pt x="333375" y="533581"/>
                      </a:lnTo>
                      <a:lnTo>
                        <a:pt x="428625" y="533581"/>
                      </a:lnTo>
                      <a:close/>
                      <a:moveTo>
                        <a:pt x="742950" y="495481"/>
                      </a:moveTo>
                      <a:cubicBezTo>
                        <a:pt x="742950" y="506002"/>
                        <a:pt x="734421" y="514531"/>
                        <a:pt x="723900" y="514531"/>
                      </a:cubicBezTo>
                      <a:lnTo>
                        <a:pt x="38100" y="514531"/>
                      </a:lnTo>
                      <a:cubicBezTo>
                        <a:pt x="27579" y="514531"/>
                        <a:pt x="19050" y="506002"/>
                        <a:pt x="19050" y="495481"/>
                      </a:cubicBezTo>
                      <a:lnTo>
                        <a:pt x="19050" y="38110"/>
                      </a:lnTo>
                      <a:cubicBezTo>
                        <a:pt x="19050" y="27588"/>
                        <a:pt x="27579" y="19060"/>
                        <a:pt x="38100" y="19060"/>
                      </a:cubicBezTo>
                      <a:lnTo>
                        <a:pt x="723900" y="19060"/>
                      </a:lnTo>
                      <a:cubicBezTo>
                        <a:pt x="734421" y="19060"/>
                        <a:pt x="742950" y="27588"/>
                        <a:pt x="742950" y="3811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6" name="Freihandform: Form 65">
                  <a:extLst>
                    <a:ext uri="{FF2B5EF4-FFF2-40B4-BE49-F238E27FC236}">
                      <a16:creationId xmlns:a16="http://schemas.microsoft.com/office/drawing/2014/main" id="{5A3BA060-1675-D834-9CCC-7D6EC5206A77}"/>
                    </a:ext>
                  </a:extLst>
                </p:cNvPr>
                <p:cNvSpPr/>
                <p:nvPr/>
              </p:nvSpPr>
              <p:spPr>
                <a:xfrm>
                  <a:off x="4425633" y="-2023889"/>
                  <a:ext cx="666750" cy="438311"/>
                </a:xfrm>
                <a:custGeom>
                  <a:avLst/>
                  <a:gdLst>
                    <a:gd name="connsiteX0" fmla="*/ 19050 w 666750"/>
                    <a:gd name="connsiteY0" fmla="*/ 0 h 438311"/>
                    <a:gd name="connsiteX1" fmla="*/ 0 w 666750"/>
                    <a:gd name="connsiteY1" fmla="*/ 0 h 438311"/>
                    <a:gd name="connsiteX2" fmla="*/ 0 w 666750"/>
                    <a:gd name="connsiteY2" fmla="*/ 438312 h 438311"/>
                    <a:gd name="connsiteX3" fmla="*/ 666750 w 666750"/>
                    <a:gd name="connsiteY3" fmla="*/ 438312 h 438311"/>
                    <a:gd name="connsiteX4" fmla="*/ 666750 w 666750"/>
                    <a:gd name="connsiteY4" fmla="*/ 0 h 438311"/>
                    <a:gd name="connsiteX5" fmla="*/ 19050 w 666750"/>
                    <a:gd name="connsiteY5" fmla="*/ 0 h 438311"/>
                    <a:gd name="connsiteX6" fmla="*/ 647700 w 666750"/>
                    <a:gd name="connsiteY6" fmla="*/ 419262 h 438311"/>
                    <a:gd name="connsiteX7" fmla="*/ 19050 w 666750"/>
                    <a:gd name="connsiteY7" fmla="*/ 419262 h 438311"/>
                    <a:gd name="connsiteX8" fmla="*/ 19050 w 666750"/>
                    <a:gd name="connsiteY8" fmla="*/ 19050 h 438311"/>
                    <a:gd name="connsiteX9" fmla="*/ 647700 w 666750"/>
                    <a:gd name="connsiteY9" fmla="*/ 19050 h 4383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66750" h="438311">
                      <a:moveTo>
                        <a:pt x="19050" y="0"/>
                      </a:moveTo>
                      <a:lnTo>
                        <a:pt x="0" y="0"/>
                      </a:lnTo>
                      <a:lnTo>
                        <a:pt x="0" y="438312"/>
                      </a:lnTo>
                      <a:lnTo>
                        <a:pt x="666750" y="438312"/>
                      </a:lnTo>
                      <a:lnTo>
                        <a:pt x="666750" y="0"/>
                      </a:lnTo>
                      <a:lnTo>
                        <a:pt x="19050" y="0"/>
                      </a:lnTo>
                      <a:close/>
                      <a:moveTo>
                        <a:pt x="647700" y="419262"/>
                      </a:moveTo>
                      <a:lnTo>
                        <a:pt x="19050" y="419262"/>
                      </a:lnTo>
                      <a:lnTo>
                        <a:pt x="19050" y="19050"/>
                      </a:lnTo>
                      <a:lnTo>
                        <a:pt x="647700" y="1905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56" name="Group 421">
                <a:extLst>
                  <a:ext uri="{FF2B5EF4-FFF2-40B4-BE49-F238E27FC236}">
                    <a16:creationId xmlns:a16="http://schemas.microsoft.com/office/drawing/2014/main" id="{3E62D6DD-BE70-E9A5-E545-35F8384B3010}"/>
                  </a:ext>
                </a:extLst>
              </p:cNvPr>
              <p:cNvGrpSpPr/>
              <p:nvPr/>
            </p:nvGrpSpPr>
            <p:grpSpPr>
              <a:xfrm>
                <a:off x="3845712" y="-2218660"/>
                <a:ext cx="631108" cy="629111"/>
                <a:chOff x="6311915" y="3527752"/>
                <a:chExt cx="501650" cy="500063"/>
              </a:xfrm>
              <a:solidFill>
                <a:schemeClr val="tx1"/>
              </a:solidFill>
            </p:grpSpPr>
            <p:sp>
              <p:nvSpPr>
                <p:cNvPr id="63" name="Freeform 333">
                  <a:extLst>
                    <a:ext uri="{FF2B5EF4-FFF2-40B4-BE49-F238E27FC236}">
                      <a16:creationId xmlns:a16="http://schemas.microsoft.com/office/drawing/2014/main" id="{9B706428-EA00-FDC1-FDEB-0776A2C2D53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311915" y="3527752"/>
                  <a:ext cx="501650" cy="500063"/>
                </a:xfrm>
                <a:custGeom>
                  <a:avLst/>
                  <a:gdLst>
                    <a:gd name="T0" fmla="*/ 1478 w 3478"/>
                    <a:gd name="T1" fmla="*/ 540 h 3463"/>
                    <a:gd name="T2" fmla="*/ 1288 w 3478"/>
                    <a:gd name="T3" fmla="*/ 747 h 3463"/>
                    <a:gd name="T4" fmla="*/ 818 w 3478"/>
                    <a:gd name="T5" fmla="*/ 451 h 3463"/>
                    <a:gd name="T6" fmla="*/ 439 w 3478"/>
                    <a:gd name="T7" fmla="*/ 770 h 3463"/>
                    <a:gd name="T8" fmla="*/ 754 w 3478"/>
                    <a:gd name="T9" fmla="*/ 1173 h 3463"/>
                    <a:gd name="T10" fmla="*/ 646 w 3478"/>
                    <a:gd name="T11" fmla="*/ 1433 h 3463"/>
                    <a:gd name="T12" fmla="*/ 138 w 3478"/>
                    <a:gd name="T13" fmla="*/ 1495 h 3463"/>
                    <a:gd name="T14" fmla="*/ 179 w 3478"/>
                    <a:gd name="T15" fmla="*/ 1987 h 3463"/>
                    <a:gd name="T16" fmla="*/ 721 w 3478"/>
                    <a:gd name="T17" fmla="*/ 2110 h 3463"/>
                    <a:gd name="T18" fmla="*/ 709 w 3478"/>
                    <a:gd name="T19" fmla="*/ 2390 h 3463"/>
                    <a:gd name="T20" fmla="*/ 747 w 3478"/>
                    <a:gd name="T21" fmla="*/ 3011 h 3463"/>
                    <a:gd name="T22" fmla="*/ 1101 w 3478"/>
                    <a:gd name="T23" fmla="*/ 2740 h 3463"/>
                    <a:gd name="T24" fmla="*/ 1359 w 3478"/>
                    <a:gd name="T25" fmla="*/ 2744 h 3463"/>
                    <a:gd name="T26" fmla="*/ 1481 w 3478"/>
                    <a:gd name="T27" fmla="*/ 3285 h 3463"/>
                    <a:gd name="T28" fmla="*/ 1976 w 3478"/>
                    <a:gd name="T29" fmla="*/ 3325 h 3463"/>
                    <a:gd name="T30" fmla="*/ 2039 w 3478"/>
                    <a:gd name="T31" fmla="*/ 2819 h 3463"/>
                    <a:gd name="T32" fmla="*/ 2300 w 3478"/>
                    <a:gd name="T33" fmla="*/ 2712 h 3463"/>
                    <a:gd name="T34" fmla="*/ 2703 w 3478"/>
                    <a:gd name="T35" fmla="*/ 3025 h 3463"/>
                    <a:gd name="T36" fmla="*/ 3024 w 3478"/>
                    <a:gd name="T37" fmla="*/ 2649 h 3463"/>
                    <a:gd name="T38" fmla="*/ 2727 w 3478"/>
                    <a:gd name="T39" fmla="*/ 2180 h 3463"/>
                    <a:gd name="T40" fmla="*/ 2935 w 3478"/>
                    <a:gd name="T41" fmla="*/ 1990 h 3463"/>
                    <a:gd name="T42" fmla="*/ 3349 w 3478"/>
                    <a:gd name="T43" fmla="*/ 1525 h 3463"/>
                    <a:gd name="T44" fmla="*/ 2899 w 3478"/>
                    <a:gd name="T45" fmla="*/ 1463 h 3463"/>
                    <a:gd name="T46" fmla="*/ 2721 w 3478"/>
                    <a:gd name="T47" fmla="*/ 1245 h 3463"/>
                    <a:gd name="T48" fmla="*/ 3034 w 3478"/>
                    <a:gd name="T49" fmla="*/ 801 h 3463"/>
                    <a:gd name="T50" fmla="*/ 2688 w 3478"/>
                    <a:gd name="T51" fmla="*/ 437 h 3463"/>
                    <a:gd name="T52" fmla="*/ 2264 w 3478"/>
                    <a:gd name="T53" fmla="*/ 755 h 3463"/>
                    <a:gd name="T54" fmla="*/ 2020 w 3478"/>
                    <a:gd name="T55" fmla="*/ 611 h 3463"/>
                    <a:gd name="T56" fmla="*/ 1962 w 3478"/>
                    <a:gd name="T57" fmla="*/ 130 h 3463"/>
                    <a:gd name="T58" fmla="*/ 2062 w 3478"/>
                    <a:gd name="T59" fmla="*/ 41 h 3463"/>
                    <a:gd name="T60" fmla="*/ 2134 w 3478"/>
                    <a:gd name="T61" fmla="*/ 549 h 3463"/>
                    <a:gd name="T62" fmla="*/ 2298 w 3478"/>
                    <a:gd name="T63" fmla="*/ 617 h 3463"/>
                    <a:gd name="T64" fmla="*/ 2711 w 3478"/>
                    <a:gd name="T65" fmla="*/ 310 h 3463"/>
                    <a:gd name="T66" fmla="*/ 3159 w 3478"/>
                    <a:gd name="T67" fmla="*/ 723 h 3463"/>
                    <a:gd name="T68" fmla="*/ 2885 w 3478"/>
                    <a:gd name="T69" fmla="*/ 1133 h 3463"/>
                    <a:gd name="T70" fmla="*/ 2885 w 3478"/>
                    <a:gd name="T71" fmla="*/ 1310 h 3463"/>
                    <a:gd name="T72" fmla="*/ 3389 w 3478"/>
                    <a:gd name="T73" fmla="*/ 1371 h 3463"/>
                    <a:gd name="T74" fmla="*/ 3475 w 3478"/>
                    <a:gd name="T75" fmla="*/ 1970 h 3463"/>
                    <a:gd name="T76" fmla="*/ 3299 w 3478"/>
                    <a:gd name="T77" fmla="*/ 2116 h 3463"/>
                    <a:gd name="T78" fmla="*/ 2850 w 3478"/>
                    <a:gd name="T79" fmla="*/ 2217 h 3463"/>
                    <a:gd name="T80" fmla="*/ 3148 w 3478"/>
                    <a:gd name="T81" fmla="*/ 2603 h 3463"/>
                    <a:gd name="T82" fmla="*/ 3115 w 3478"/>
                    <a:gd name="T83" fmla="*/ 2809 h 3463"/>
                    <a:gd name="T84" fmla="*/ 2620 w 3478"/>
                    <a:gd name="T85" fmla="*/ 3136 h 3463"/>
                    <a:gd name="T86" fmla="*/ 2227 w 3478"/>
                    <a:gd name="T87" fmla="*/ 2838 h 3463"/>
                    <a:gd name="T88" fmla="*/ 2126 w 3478"/>
                    <a:gd name="T89" fmla="*/ 3285 h 3463"/>
                    <a:gd name="T90" fmla="*/ 1979 w 3478"/>
                    <a:gd name="T91" fmla="*/ 3460 h 3463"/>
                    <a:gd name="T92" fmla="*/ 1377 w 3478"/>
                    <a:gd name="T93" fmla="*/ 3375 h 3463"/>
                    <a:gd name="T94" fmla="*/ 1316 w 3478"/>
                    <a:gd name="T95" fmla="*/ 2873 h 3463"/>
                    <a:gd name="T96" fmla="*/ 1139 w 3478"/>
                    <a:gd name="T97" fmla="*/ 2873 h 3463"/>
                    <a:gd name="T98" fmla="*/ 707 w 3478"/>
                    <a:gd name="T99" fmla="*/ 3136 h 3463"/>
                    <a:gd name="T100" fmla="*/ 310 w 3478"/>
                    <a:gd name="T101" fmla="*/ 2684 h 3463"/>
                    <a:gd name="T102" fmla="*/ 620 w 3478"/>
                    <a:gd name="T103" fmla="*/ 2288 h 3463"/>
                    <a:gd name="T104" fmla="*/ 552 w 3478"/>
                    <a:gd name="T105" fmla="*/ 2125 h 3463"/>
                    <a:gd name="T106" fmla="*/ 42 w 3478"/>
                    <a:gd name="T107" fmla="*/ 2053 h 3463"/>
                    <a:gd name="T108" fmla="*/ 24 w 3478"/>
                    <a:gd name="T109" fmla="*/ 1434 h 3463"/>
                    <a:gd name="T110" fmla="*/ 529 w 3478"/>
                    <a:gd name="T111" fmla="*/ 1344 h 3463"/>
                    <a:gd name="T112" fmla="*/ 627 w 3478"/>
                    <a:gd name="T113" fmla="*/ 1198 h 3463"/>
                    <a:gd name="T114" fmla="*/ 312 w 3478"/>
                    <a:gd name="T115" fmla="*/ 806 h 3463"/>
                    <a:gd name="T116" fmla="*/ 680 w 3478"/>
                    <a:gd name="T117" fmla="*/ 341 h 3463"/>
                    <a:gd name="T118" fmla="*/ 909 w 3478"/>
                    <a:gd name="T119" fmla="*/ 360 h 3463"/>
                    <a:gd name="T120" fmla="*/ 1298 w 3478"/>
                    <a:gd name="T121" fmla="*/ 604 h 3463"/>
                    <a:gd name="T122" fmla="*/ 1364 w 3478"/>
                    <a:gd name="T123" fmla="*/ 115 h 34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3478" h="3463">
                      <a:moveTo>
                        <a:pt x="1532" y="127"/>
                      </a:moveTo>
                      <a:lnTo>
                        <a:pt x="1515" y="130"/>
                      </a:lnTo>
                      <a:lnTo>
                        <a:pt x="1502" y="137"/>
                      </a:lnTo>
                      <a:lnTo>
                        <a:pt x="1491" y="148"/>
                      </a:lnTo>
                      <a:lnTo>
                        <a:pt x="1483" y="161"/>
                      </a:lnTo>
                      <a:lnTo>
                        <a:pt x="1481" y="178"/>
                      </a:lnTo>
                      <a:lnTo>
                        <a:pt x="1481" y="501"/>
                      </a:lnTo>
                      <a:lnTo>
                        <a:pt x="1478" y="540"/>
                      </a:lnTo>
                      <a:lnTo>
                        <a:pt x="1470" y="577"/>
                      </a:lnTo>
                      <a:lnTo>
                        <a:pt x="1457" y="611"/>
                      </a:lnTo>
                      <a:lnTo>
                        <a:pt x="1439" y="642"/>
                      </a:lnTo>
                      <a:lnTo>
                        <a:pt x="1416" y="671"/>
                      </a:lnTo>
                      <a:lnTo>
                        <a:pt x="1390" y="696"/>
                      </a:lnTo>
                      <a:lnTo>
                        <a:pt x="1359" y="718"/>
                      </a:lnTo>
                      <a:lnTo>
                        <a:pt x="1324" y="735"/>
                      </a:lnTo>
                      <a:lnTo>
                        <a:pt x="1288" y="747"/>
                      </a:lnTo>
                      <a:lnTo>
                        <a:pt x="1251" y="754"/>
                      </a:lnTo>
                      <a:lnTo>
                        <a:pt x="1214" y="755"/>
                      </a:lnTo>
                      <a:lnTo>
                        <a:pt x="1178" y="750"/>
                      </a:lnTo>
                      <a:lnTo>
                        <a:pt x="1143" y="741"/>
                      </a:lnTo>
                      <a:lnTo>
                        <a:pt x="1109" y="725"/>
                      </a:lnTo>
                      <a:lnTo>
                        <a:pt x="1077" y="705"/>
                      </a:lnTo>
                      <a:lnTo>
                        <a:pt x="1047" y="680"/>
                      </a:lnTo>
                      <a:lnTo>
                        <a:pt x="818" y="451"/>
                      </a:lnTo>
                      <a:lnTo>
                        <a:pt x="805" y="442"/>
                      </a:lnTo>
                      <a:lnTo>
                        <a:pt x="791" y="437"/>
                      </a:lnTo>
                      <a:lnTo>
                        <a:pt x="774" y="437"/>
                      </a:lnTo>
                      <a:lnTo>
                        <a:pt x="760" y="442"/>
                      </a:lnTo>
                      <a:lnTo>
                        <a:pt x="747" y="451"/>
                      </a:lnTo>
                      <a:lnTo>
                        <a:pt x="453" y="743"/>
                      </a:lnTo>
                      <a:lnTo>
                        <a:pt x="445" y="756"/>
                      </a:lnTo>
                      <a:lnTo>
                        <a:pt x="439" y="770"/>
                      </a:lnTo>
                      <a:lnTo>
                        <a:pt x="439" y="787"/>
                      </a:lnTo>
                      <a:lnTo>
                        <a:pt x="445" y="801"/>
                      </a:lnTo>
                      <a:lnTo>
                        <a:pt x="453" y="814"/>
                      </a:lnTo>
                      <a:lnTo>
                        <a:pt x="684" y="1043"/>
                      </a:lnTo>
                      <a:lnTo>
                        <a:pt x="709" y="1072"/>
                      </a:lnTo>
                      <a:lnTo>
                        <a:pt x="729" y="1104"/>
                      </a:lnTo>
                      <a:lnTo>
                        <a:pt x="744" y="1137"/>
                      </a:lnTo>
                      <a:lnTo>
                        <a:pt x="754" y="1173"/>
                      </a:lnTo>
                      <a:lnTo>
                        <a:pt x="759" y="1209"/>
                      </a:lnTo>
                      <a:lnTo>
                        <a:pt x="758" y="1245"/>
                      </a:lnTo>
                      <a:lnTo>
                        <a:pt x="751" y="1282"/>
                      </a:lnTo>
                      <a:lnTo>
                        <a:pt x="739" y="1318"/>
                      </a:lnTo>
                      <a:lnTo>
                        <a:pt x="721" y="1353"/>
                      </a:lnTo>
                      <a:lnTo>
                        <a:pt x="699" y="1384"/>
                      </a:lnTo>
                      <a:lnTo>
                        <a:pt x="674" y="1410"/>
                      </a:lnTo>
                      <a:lnTo>
                        <a:pt x="646" y="1433"/>
                      </a:lnTo>
                      <a:lnTo>
                        <a:pt x="614" y="1450"/>
                      </a:lnTo>
                      <a:lnTo>
                        <a:pt x="580" y="1463"/>
                      </a:lnTo>
                      <a:lnTo>
                        <a:pt x="542" y="1471"/>
                      </a:lnTo>
                      <a:lnTo>
                        <a:pt x="504" y="1474"/>
                      </a:lnTo>
                      <a:lnTo>
                        <a:pt x="179" y="1474"/>
                      </a:lnTo>
                      <a:lnTo>
                        <a:pt x="162" y="1477"/>
                      </a:lnTo>
                      <a:lnTo>
                        <a:pt x="149" y="1484"/>
                      </a:lnTo>
                      <a:lnTo>
                        <a:pt x="138" y="1495"/>
                      </a:lnTo>
                      <a:lnTo>
                        <a:pt x="131" y="1508"/>
                      </a:lnTo>
                      <a:lnTo>
                        <a:pt x="128" y="1525"/>
                      </a:lnTo>
                      <a:lnTo>
                        <a:pt x="128" y="1938"/>
                      </a:lnTo>
                      <a:lnTo>
                        <a:pt x="131" y="1953"/>
                      </a:lnTo>
                      <a:lnTo>
                        <a:pt x="138" y="1968"/>
                      </a:lnTo>
                      <a:lnTo>
                        <a:pt x="149" y="1978"/>
                      </a:lnTo>
                      <a:lnTo>
                        <a:pt x="162" y="1985"/>
                      </a:lnTo>
                      <a:lnTo>
                        <a:pt x="179" y="1987"/>
                      </a:lnTo>
                      <a:lnTo>
                        <a:pt x="504" y="1987"/>
                      </a:lnTo>
                      <a:lnTo>
                        <a:pt x="542" y="1990"/>
                      </a:lnTo>
                      <a:lnTo>
                        <a:pt x="580" y="1998"/>
                      </a:lnTo>
                      <a:lnTo>
                        <a:pt x="614" y="2011"/>
                      </a:lnTo>
                      <a:lnTo>
                        <a:pt x="646" y="2030"/>
                      </a:lnTo>
                      <a:lnTo>
                        <a:pt x="674" y="2052"/>
                      </a:lnTo>
                      <a:lnTo>
                        <a:pt x="699" y="2079"/>
                      </a:lnTo>
                      <a:lnTo>
                        <a:pt x="721" y="2110"/>
                      </a:lnTo>
                      <a:lnTo>
                        <a:pt x="739" y="2144"/>
                      </a:lnTo>
                      <a:lnTo>
                        <a:pt x="751" y="2180"/>
                      </a:lnTo>
                      <a:lnTo>
                        <a:pt x="758" y="2217"/>
                      </a:lnTo>
                      <a:lnTo>
                        <a:pt x="759" y="2254"/>
                      </a:lnTo>
                      <a:lnTo>
                        <a:pt x="754" y="2290"/>
                      </a:lnTo>
                      <a:lnTo>
                        <a:pt x="744" y="2325"/>
                      </a:lnTo>
                      <a:lnTo>
                        <a:pt x="729" y="2358"/>
                      </a:lnTo>
                      <a:lnTo>
                        <a:pt x="709" y="2390"/>
                      </a:lnTo>
                      <a:lnTo>
                        <a:pt x="684" y="2419"/>
                      </a:lnTo>
                      <a:lnTo>
                        <a:pt x="453" y="2648"/>
                      </a:lnTo>
                      <a:lnTo>
                        <a:pt x="445" y="2661"/>
                      </a:lnTo>
                      <a:lnTo>
                        <a:pt x="439" y="2676"/>
                      </a:lnTo>
                      <a:lnTo>
                        <a:pt x="439" y="2691"/>
                      </a:lnTo>
                      <a:lnTo>
                        <a:pt x="445" y="2706"/>
                      </a:lnTo>
                      <a:lnTo>
                        <a:pt x="453" y="2719"/>
                      </a:lnTo>
                      <a:lnTo>
                        <a:pt x="747" y="3011"/>
                      </a:lnTo>
                      <a:lnTo>
                        <a:pt x="760" y="3020"/>
                      </a:lnTo>
                      <a:lnTo>
                        <a:pt x="774" y="3025"/>
                      </a:lnTo>
                      <a:lnTo>
                        <a:pt x="791" y="3025"/>
                      </a:lnTo>
                      <a:lnTo>
                        <a:pt x="805" y="3020"/>
                      </a:lnTo>
                      <a:lnTo>
                        <a:pt x="818" y="3011"/>
                      </a:lnTo>
                      <a:lnTo>
                        <a:pt x="1047" y="2782"/>
                      </a:lnTo>
                      <a:lnTo>
                        <a:pt x="1074" y="2759"/>
                      </a:lnTo>
                      <a:lnTo>
                        <a:pt x="1101" y="2740"/>
                      </a:lnTo>
                      <a:lnTo>
                        <a:pt x="1131" y="2726"/>
                      </a:lnTo>
                      <a:lnTo>
                        <a:pt x="1162" y="2715"/>
                      </a:lnTo>
                      <a:lnTo>
                        <a:pt x="1193" y="2709"/>
                      </a:lnTo>
                      <a:lnTo>
                        <a:pt x="1225" y="2707"/>
                      </a:lnTo>
                      <a:lnTo>
                        <a:pt x="1258" y="2709"/>
                      </a:lnTo>
                      <a:lnTo>
                        <a:pt x="1291" y="2715"/>
                      </a:lnTo>
                      <a:lnTo>
                        <a:pt x="1324" y="2727"/>
                      </a:lnTo>
                      <a:lnTo>
                        <a:pt x="1359" y="2744"/>
                      </a:lnTo>
                      <a:lnTo>
                        <a:pt x="1390" y="2766"/>
                      </a:lnTo>
                      <a:lnTo>
                        <a:pt x="1416" y="2791"/>
                      </a:lnTo>
                      <a:lnTo>
                        <a:pt x="1439" y="2819"/>
                      </a:lnTo>
                      <a:lnTo>
                        <a:pt x="1457" y="2851"/>
                      </a:lnTo>
                      <a:lnTo>
                        <a:pt x="1470" y="2886"/>
                      </a:lnTo>
                      <a:lnTo>
                        <a:pt x="1478" y="2922"/>
                      </a:lnTo>
                      <a:lnTo>
                        <a:pt x="1481" y="2960"/>
                      </a:lnTo>
                      <a:lnTo>
                        <a:pt x="1481" y="3285"/>
                      </a:lnTo>
                      <a:lnTo>
                        <a:pt x="1483" y="3300"/>
                      </a:lnTo>
                      <a:lnTo>
                        <a:pt x="1491" y="3314"/>
                      </a:lnTo>
                      <a:lnTo>
                        <a:pt x="1502" y="3325"/>
                      </a:lnTo>
                      <a:lnTo>
                        <a:pt x="1515" y="3332"/>
                      </a:lnTo>
                      <a:lnTo>
                        <a:pt x="1532" y="3334"/>
                      </a:lnTo>
                      <a:lnTo>
                        <a:pt x="1947" y="3334"/>
                      </a:lnTo>
                      <a:lnTo>
                        <a:pt x="1962" y="3332"/>
                      </a:lnTo>
                      <a:lnTo>
                        <a:pt x="1976" y="3325"/>
                      </a:lnTo>
                      <a:lnTo>
                        <a:pt x="1987" y="3314"/>
                      </a:lnTo>
                      <a:lnTo>
                        <a:pt x="1994" y="3300"/>
                      </a:lnTo>
                      <a:lnTo>
                        <a:pt x="1996" y="3285"/>
                      </a:lnTo>
                      <a:lnTo>
                        <a:pt x="1996" y="2960"/>
                      </a:lnTo>
                      <a:lnTo>
                        <a:pt x="1999" y="2922"/>
                      </a:lnTo>
                      <a:lnTo>
                        <a:pt x="2007" y="2886"/>
                      </a:lnTo>
                      <a:lnTo>
                        <a:pt x="2020" y="2851"/>
                      </a:lnTo>
                      <a:lnTo>
                        <a:pt x="2039" y="2819"/>
                      </a:lnTo>
                      <a:lnTo>
                        <a:pt x="2061" y="2791"/>
                      </a:lnTo>
                      <a:lnTo>
                        <a:pt x="2088" y="2766"/>
                      </a:lnTo>
                      <a:lnTo>
                        <a:pt x="2119" y="2744"/>
                      </a:lnTo>
                      <a:lnTo>
                        <a:pt x="2153" y="2727"/>
                      </a:lnTo>
                      <a:lnTo>
                        <a:pt x="2189" y="2715"/>
                      </a:lnTo>
                      <a:lnTo>
                        <a:pt x="2227" y="2709"/>
                      </a:lnTo>
                      <a:lnTo>
                        <a:pt x="2264" y="2708"/>
                      </a:lnTo>
                      <a:lnTo>
                        <a:pt x="2300" y="2712"/>
                      </a:lnTo>
                      <a:lnTo>
                        <a:pt x="2335" y="2722"/>
                      </a:lnTo>
                      <a:lnTo>
                        <a:pt x="2368" y="2736"/>
                      </a:lnTo>
                      <a:lnTo>
                        <a:pt x="2400" y="2757"/>
                      </a:lnTo>
                      <a:lnTo>
                        <a:pt x="2430" y="2782"/>
                      </a:lnTo>
                      <a:lnTo>
                        <a:pt x="2660" y="3011"/>
                      </a:lnTo>
                      <a:lnTo>
                        <a:pt x="2672" y="3020"/>
                      </a:lnTo>
                      <a:lnTo>
                        <a:pt x="2688" y="3025"/>
                      </a:lnTo>
                      <a:lnTo>
                        <a:pt x="2703" y="3025"/>
                      </a:lnTo>
                      <a:lnTo>
                        <a:pt x="2717" y="3020"/>
                      </a:lnTo>
                      <a:lnTo>
                        <a:pt x="2731" y="3011"/>
                      </a:lnTo>
                      <a:lnTo>
                        <a:pt x="3024" y="2719"/>
                      </a:lnTo>
                      <a:lnTo>
                        <a:pt x="3034" y="2706"/>
                      </a:lnTo>
                      <a:lnTo>
                        <a:pt x="3038" y="2691"/>
                      </a:lnTo>
                      <a:lnTo>
                        <a:pt x="3038" y="2676"/>
                      </a:lnTo>
                      <a:lnTo>
                        <a:pt x="3034" y="2661"/>
                      </a:lnTo>
                      <a:lnTo>
                        <a:pt x="3024" y="2649"/>
                      </a:lnTo>
                      <a:lnTo>
                        <a:pt x="2794" y="2419"/>
                      </a:lnTo>
                      <a:lnTo>
                        <a:pt x="2769" y="2390"/>
                      </a:lnTo>
                      <a:lnTo>
                        <a:pt x="2748" y="2358"/>
                      </a:lnTo>
                      <a:lnTo>
                        <a:pt x="2734" y="2325"/>
                      </a:lnTo>
                      <a:lnTo>
                        <a:pt x="2724" y="2290"/>
                      </a:lnTo>
                      <a:lnTo>
                        <a:pt x="2720" y="2254"/>
                      </a:lnTo>
                      <a:lnTo>
                        <a:pt x="2721" y="2217"/>
                      </a:lnTo>
                      <a:lnTo>
                        <a:pt x="2727" y="2180"/>
                      </a:lnTo>
                      <a:lnTo>
                        <a:pt x="2739" y="2144"/>
                      </a:lnTo>
                      <a:lnTo>
                        <a:pt x="2756" y="2110"/>
                      </a:lnTo>
                      <a:lnTo>
                        <a:pt x="2778" y="2079"/>
                      </a:lnTo>
                      <a:lnTo>
                        <a:pt x="2803" y="2052"/>
                      </a:lnTo>
                      <a:lnTo>
                        <a:pt x="2832" y="2030"/>
                      </a:lnTo>
                      <a:lnTo>
                        <a:pt x="2863" y="2011"/>
                      </a:lnTo>
                      <a:lnTo>
                        <a:pt x="2899" y="1998"/>
                      </a:lnTo>
                      <a:lnTo>
                        <a:pt x="2935" y="1990"/>
                      </a:lnTo>
                      <a:lnTo>
                        <a:pt x="2973" y="1987"/>
                      </a:lnTo>
                      <a:lnTo>
                        <a:pt x="3299" y="1987"/>
                      </a:lnTo>
                      <a:lnTo>
                        <a:pt x="3315" y="1985"/>
                      </a:lnTo>
                      <a:lnTo>
                        <a:pt x="3329" y="1978"/>
                      </a:lnTo>
                      <a:lnTo>
                        <a:pt x="3340" y="1968"/>
                      </a:lnTo>
                      <a:lnTo>
                        <a:pt x="3347" y="1953"/>
                      </a:lnTo>
                      <a:lnTo>
                        <a:pt x="3349" y="1938"/>
                      </a:lnTo>
                      <a:lnTo>
                        <a:pt x="3349" y="1525"/>
                      </a:lnTo>
                      <a:lnTo>
                        <a:pt x="3347" y="1508"/>
                      </a:lnTo>
                      <a:lnTo>
                        <a:pt x="3340" y="1495"/>
                      </a:lnTo>
                      <a:lnTo>
                        <a:pt x="3329" y="1484"/>
                      </a:lnTo>
                      <a:lnTo>
                        <a:pt x="3315" y="1477"/>
                      </a:lnTo>
                      <a:lnTo>
                        <a:pt x="3299" y="1474"/>
                      </a:lnTo>
                      <a:lnTo>
                        <a:pt x="2973" y="1474"/>
                      </a:lnTo>
                      <a:lnTo>
                        <a:pt x="2935" y="1472"/>
                      </a:lnTo>
                      <a:lnTo>
                        <a:pt x="2899" y="1463"/>
                      </a:lnTo>
                      <a:lnTo>
                        <a:pt x="2863" y="1450"/>
                      </a:lnTo>
                      <a:lnTo>
                        <a:pt x="2832" y="1433"/>
                      </a:lnTo>
                      <a:lnTo>
                        <a:pt x="2803" y="1410"/>
                      </a:lnTo>
                      <a:lnTo>
                        <a:pt x="2778" y="1384"/>
                      </a:lnTo>
                      <a:lnTo>
                        <a:pt x="2756" y="1353"/>
                      </a:lnTo>
                      <a:lnTo>
                        <a:pt x="2739" y="1319"/>
                      </a:lnTo>
                      <a:lnTo>
                        <a:pt x="2727" y="1282"/>
                      </a:lnTo>
                      <a:lnTo>
                        <a:pt x="2721" y="1245"/>
                      </a:lnTo>
                      <a:lnTo>
                        <a:pt x="2720" y="1209"/>
                      </a:lnTo>
                      <a:lnTo>
                        <a:pt x="2724" y="1173"/>
                      </a:lnTo>
                      <a:lnTo>
                        <a:pt x="2734" y="1138"/>
                      </a:lnTo>
                      <a:lnTo>
                        <a:pt x="2748" y="1104"/>
                      </a:lnTo>
                      <a:lnTo>
                        <a:pt x="2769" y="1072"/>
                      </a:lnTo>
                      <a:lnTo>
                        <a:pt x="2794" y="1043"/>
                      </a:lnTo>
                      <a:lnTo>
                        <a:pt x="3024" y="814"/>
                      </a:lnTo>
                      <a:lnTo>
                        <a:pt x="3034" y="801"/>
                      </a:lnTo>
                      <a:lnTo>
                        <a:pt x="3038" y="787"/>
                      </a:lnTo>
                      <a:lnTo>
                        <a:pt x="3038" y="771"/>
                      </a:lnTo>
                      <a:lnTo>
                        <a:pt x="3034" y="756"/>
                      </a:lnTo>
                      <a:lnTo>
                        <a:pt x="3024" y="743"/>
                      </a:lnTo>
                      <a:lnTo>
                        <a:pt x="2731" y="451"/>
                      </a:lnTo>
                      <a:lnTo>
                        <a:pt x="2717" y="442"/>
                      </a:lnTo>
                      <a:lnTo>
                        <a:pt x="2703" y="437"/>
                      </a:lnTo>
                      <a:lnTo>
                        <a:pt x="2688" y="437"/>
                      </a:lnTo>
                      <a:lnTo>
                        <a:pt x="2672" y="442"/>
                      </a:lnTo>
                      <a:lnTo>
                        <a:pt x="2660" y="451"/>
                      </a:lnTo>
                      <a:lnTo>
                        <a:pt x="2430" y="681"/>
                      </a:lnTo>
                      <a:lnTo>
                        <a:pt x="2400" y="706"/>
                      </a:lnTo>
                      <a:lnTo>
                        <a:pt x="2368" y="725"/>
                      </a:lnTo>
                      <a:lnTo>
                        <a:pt x="2335" y="741"/>
                      </a:lnTo>
                      <a:lnTo>
                        <a:pt x="2300" y="751"/>
                      </a:lnTo>
                      <a:lnTo>
                        <a:pt x="2264" y="755"/>
                      </a:lnTo>
                      <a:lnTo>
                        <a:pt x="2227" y="754"/>
                      </a:lnTo>
                      <a:lnTo>
                        <a:pt x="2189" y="747"/>
                      </a:lnTo>
                      <a:lnTo>
                        <a:pt x="2153" y="735"/>
                      </a:lnTo>
                      <a:lnTo>
                        <a:pt x="2119" y="718"/>
                      </a:lnTo>
                      <a:lnTo>
                        <a:pt x="2088" y="696"/>
                      </a:lnTo>
                      <a:lnTo>
                        <a:pt x="2061" y="671"/>
                      </a:lnTo>
                      <a:lnTo>
                        <a:pt x="2039" y="642"/>
                      </a:lnTo>
                      <a:lnTo>
                        <a:pt x="2020" y="611"/>
                      </a:lnTo>
                      <a:lnTo>
                        <a:pt x="2007" y="577"/>
                      </a:lnTo>
                      <a:lnTo>
                        <a:pt x="1999" y="540"/>
                      </a:lnTo>
                      <a:lnTo>
                        <a:pt x="1996" y="501"/>
                      </a:lnTo>
                      <a:lnTo>
                        <a:pt x="1996" y="178"/>
                      </a:lnTo>
                      <a:lnTo>
                        <a:pt x="1994" y="161"/>
                      </a:lnTo>
                      <a:lnTo>
                        <a:pt x="1987" y="148"/>
                      </a:lnTo>
                      <a:lnTo>
                        <a:pt x="1976" y="137"/>
                      </a:lnTo>
                      <a:lnTo>
                        <a:pt x="1962" y="130"/>
                      </a:lnTo>
                      <a:lnTo>
                        <a:pt x="1947" y="127"/>
                      </a:lnTo>
                      <a:lnTo>
                        <a:pt x="1532" y="127"/>
                      </a:lnTo>
                      <a:close/>
                      <a:moveTo>
                        <a:pt x="1532" y="0"/>
                      </a:moveTo>
                      <a:lnTo>
                        <a:pt x="1947" y="0"/>
                      </a:lnTo>
                      <a:lnTo>
                        <a:pt x="1979" y="2"/>
                      </a:lnTo>
                      <a:lnTo>
                        <a:pt x="2008" y="10"/>
                      </a:lnTo>
                      <a:lnTo>
                        <a:pt x="2037" y="24"/>
                      </a:lnTo>
                      <a:lnTo>
                        <a:pt x="2062" y="41"/>
                      </a:lnTo>
                      <a:lnTo>
                        <a:pt x="2083" y="63"/>
                      </a:lnTo>
                      <a:lnTo>
                        <a:pt x="2100" y="87"/>
                      </a:lnTo>
                      <a:lnTo>
                        <a:pt x="2114" y="115"/>
                      </a:lnTo>
                      <a:lnTo>
                        <a:pt x="2122" y="145"/>
                      </a:lnTo>
                      <a:lnTo>
                        <a:pt x="2126" y="178"/>
                      </a:lnTo>
                      <a:lnTo>
                        <a:pt x="2126" y="501"/>
                      </a:lnTo>
                      <a:lnTo>
                        <a:pt x="2128" y="526"/>
                      </a:lnTo>
                      <a:lnTo>
                        <a:pt x="2134" y="549"/>
                      </a:lnTo>
                      <a:lnTo>
                        <a:pt x="2145" y="571"/>
                      </a:lnTo>
                      <a:lnTo>
                        <a:pt x="2161" y="589"/>
                      </a:lnTo>
                      <a:lnTo>
                        <a:pt x="2179" y="604"/>
                      </a:lnTo>
                      <a:lnTo>
                        <a:pt x="2202" y="616"/>
                      </a:lnTo>
                      <a:lnTo>
                        <a:pt x="2227" y="624"/>
                      </a:lnTo>
                      <a:lnTo>
                        <a:pt x="2251" y="626"/>
                      </a:lnTo>
                      <a:lnTo>
                        <a:pt x="2275" y="624"/>
                      </a:lnTo>
                      <a:lnTo>
                        <a:pt x="2298" y="617"/>
                      </a:lnTo>
                      <a:lnTo>
                        <a:pt x="2319" y="605"/>
                      </a:lnTo>
                      <a:lnTo>
                        <a:pt x="2339" y="590"/>
                      </a:lnTo>
                      <a:lnTo>
                        <a:pt x="2568" y="360"/>
                      </a:lnTo>
                      <a:lnTo>
                        <a:pt x="2593" y="341"/>
                      </a:lnTo>
                      <a:lnTo>
                        <a:pt x="2620" y="325"/>
                      </a:lnTo>
                      <a:lnTo>
                        <a:pt x="2649" y="315"/>
                      </a:lnTo>
                      <a:lnTo>
                        <a:pt x="2680" y="310"/>
                      </a:lnTo>
                      <a:lnTo>
                        <a:pt x="2711" y="310"/>
                      </a:lnTo>
                      <a:lnTo>
                        <a:pt x="2742" y="315"/>
                      </a:lnTo>
                      <a:lnTo>
                        <a:pt x="2770" y="325"/>
                      </a:lnTo>
                      <a:lnTo>
                        <a:pt x="2798" y="341"/>
                      </a:lnTo>
                      <a:lnTo>
                        <a:pt x="2822" y="360"/>
                      </a:lnTo>
                      <a:lnTo>
                        <a:pt x="3115" y="652"/>
                      </a:lnTo>
                      <a:lnTo>
                        <a:pt x="3134" y="674"/>
                      </a:lnTo>
                      <a:lnTo>
                        <a:pt x="3148" y="698"/>
                      </a:lnTo>
                      <a:lnTo>
                        <a:pt x="3159" y="723"/>
                      </a:lnTo>
                      <a:lnTo>
                        <a:pt x="3165" y="751"/>
                      </a:lnTo>
                      <a:lnTo>
                        <a:pt x="3168" y="779"/>
                      </a:lnTo>
                      <a:lnTo>
                        <a:pt x="3165" y="806"/>
                      </a:lnTo>
                      <a:lnTo>
                        <a:pt x="3159" y="834"/>
                      </a:lnTo>
                      <a:lnTo>
                        <a:pt x="3148" y="860"/>
                      </a:lnTo>
                      <a:lnTo>
                        <a:pt x="3134" y="883"/>
                      </a:lnTo>
                      <a:lnTo>
                        <a:pt x="3115" y="905"/>
                      </a:lnTo>
                      <a:lnTo>
                        <a:pt x="2885" y="1133"/>
                      </a:lnTo>
                      <a:lnTo>
                        <a:pt x="2869" y="1153"/>
                      </a:lnTo>
                      <a:lnTo>
                        <a:pt x="2857" y="1175"/>
                      </a:lnTo>
                      <a:lnTo>
                        <a:pt x="2850" y="1198"/>
                      </a:lnTo>
                      <a:lnTo>
                        <a:pt x="2848" y="1221"/>
                      </a:lnTo>
                      <a:lnTo>
                        <a:pt x="2850" y="1245"/>
                      </a:lnTo>
                      <a:lnTo>
                        <a:pt x="2858" y="1270"/>
                      </a:lnTo>
                      <a:lnTo>
                        <a:pt x="2870" y="1292"/>
                      </a:lnTo>
                      <a:lnTo>
                        <a:pt x="2885" y="1310"/>
                      </a:lnTo>
                      <a:lnTo>
                        <a:pt x="2904" y="1326"/>
                      </a:lnTo>
                      <a:lnTo>
                        <a:pt x="2925" y="1337"/>
                      </a:lnTo>
                      <a:lnTo>
                        <a:pt x="2948" y="1344"/>
                      </a:lnTo>
                      <a:lnTo>
                        <a:pt x="2973" y="1346"/>
                      </a:lnTo>
                      <a:lnTo>
                        <a:pt x="3299" y="1346"/>
                      </a:lnTo>
                      <a:lnTo>
                        <a:pt x="3331" y="1349"/>
                      </a:lnTo>
                      <a:lnTo>
                        <a:pt x="3361" y="1357"/>
                      </a:lnTo>
                      <a:lnTo>
                        <a:pt x="3389" y="1371"/>
                      </a:lnTo>
                      <a:lnTo>
                        <a:pt x="3415" y="1388"/>
                      </a:lnTo>
                      <a:lnTo>
                        <a:pt x="3435" y="1410"/>
                      </a:lnTo>
                      <a:lnTo>
                        <a:pt x="3453" y="1434"/>
                      </a:lnTo>
                      <a:lnTo>
                        <a:pt x="3466" y="1462"/>
                      </a:lnTo>
                      <a:lnTo>
                        <a:pt x="3475" y="1492"/>
                      </a:lnTo>
                      <a:lnTo>
                        <a:pt x="3478" y="1525"/>
                      </a:lnTo>
                      <a:lnTo>
                        <a:pt x="3478" y="1938"/>
                      </a:lnTo>
                      <a:lnTo>
                        <a:pt x="3475" y="1970"/>
                      </a:lnTo>
                      <a:lnTo>
                        <a:pt x="3466" y="1999"/>
                      </a:lnTo>
                      <a:lnTo>
                        <a:pt x="3453" y="2028"/>
                      </a:lnTo>
                      <a:lnTo>
                        <a:pt x="3435" y="2053"/>
                      </a:lnTo>
                      <a:lnTo>
                        <a:pt x="3415" y="2074"/>
                      </a:lnTo>
                      <a:lnTo>
                        <a:pt x="3389" y="2091"/>
                      </a:lnTo>
                      <a:lnTo>
                        <a:pt x="3361" y="2104"/>
                      </a:lnTo>
                      <a:lnTo>
                        <a:pt x="3331" y="2113"/>
                      </a:lnTo>
                      <a:lnTo>
                        <a:pt x="3299" y="2116"/>
                      </a:lnTo>
                      <a:lnTo>
                        <a:pt x="2973" y="2116"/>
                      </a:lnTo>
                      <a:lnTo>
                        <a:pt x="2948" y="2118"/>
                      </a:lnTo>
                      <a:lnTo>
                        <a:pt x="2925" y="2125"/>
                      </a:lnTo>
                      <a:lnTo>
                        <a:pt x="2903" y="2136"/>
                      </a:lnTo>
                      <a:lnTo>
                        <a:pt x="2885" y="2151"/>
                      </a:lnTo>
                      <a:lnTo>
                        <a:pt x="2870" y="2170"/>
                      </a:lnTo>
                      <a:lnTo>
                        <a:pt x="2858" y="2193"/>
                      </a:lnTo>
                      <a:lnTo>
                        <a:pt x="2850" y="2217"/>
                      </a:lnTo>
                      <a:lnTo>
                        <a:pt x="2848" y="2241"/>
                      </a:lnTo>
                      <a:lnTo>
                        <a:pt x="2850" y="2265"/>
                      </a:lnTo>
                      <a:lnTo>
                        <a:pt x="2857" y="2288"/>
                      </a:lnTo>
                      <a:lnTo>
                        <a:pt x="2869" y="2309"/>
                      </a:lnTo>
                      <a:lnTo>
                        <a:pt x="2885" y="2328"/>
                      </a:lnTo>
                      <a:lnTo>
                        <a:pt x="3115" y="2557"/>
                      </a:lnTo>
                      <a:lnTo>
                        <a:pt x="3134" y="2579"/>
                      </a:lnTo>
                      <a:lnTo>
                        <a:pt x="3148" y="2603"/>
                      </a:lnTo>
                      <a:lnTo>
                        <a:pt x="3159" y="2628"/>
                      </a:lnTo>
                      <a:lnTo>
                        <a:pt x="3165" y="2655"/>
                      </a:lnTo>
                      <a:lnTo>
                        <a:pt x="3168" y="2684"/>
                      </a:lnTo>
                      <a:lnTo>
                        <a:pt x="3165" y="2712"/>
                      </a:lnTo>
                      <a:lnTo>
                        <a:pt x="3159" y="2738"/>
                      </a:lnTo>
                      <a:lnTo>
                        <a:pt x="3148" y="2765"/>
                      </a:lnTo>
                      <a:lnTo>
                        <a:pt x="3134" y="2789"/>
                      </a:lnTo>
                      <a:lnTo>
                        <a:pt x="3115" y="2809"/>
                      </a:lnTo>
                      <a:lnTo>
                        <a:pt x="2822" y="3101"/>
                      </a:lnTo>
                      <a:lnTo>
                        <a:pt x="2798" y="3122"/>
                      </a:lnTo>
                      <a:lnTo>
                        <a:pt x="2770" y="3136"/>
                      </a:lnTo>
                      <a:lnTo>
                        <a:pt x="2742" y="3146"/>
                      </a:lnTo>
                      <a:lnTo>
                        <a:pt x="2711" y="3152"/>
                      </a:lnTo>
                      <a:lnTo>
                        <a:pt x="2680" y="3152"/>
                      </a:lnTo>
                      <a:lnTo>
                        <a:pt x="2649" y="3146"/>
                      </a:lnTo>
                      <a:lnTo>
                        <a:pt x="2620" y="3136"/>
                      </a:lnTo>
                      <a:lnTo>
                        <a:pt x="2593" y="3122"/>
                      </a:lnTo>
                      <a:lnTo>
                        <a:pt x="2568" y="3101"/>
                      </a:lnTo>
                      <a:lnTo>
                        <a:pt x="2339" y="2873"/>
                      </a:lnTo>
                      <a:lnTo>
                        <a:pt x="2319" y="2856"/>
                      </a:lnTo>
                      <a:lnTo>
                        <a:pt x="2298" y="2844"/>
                      </a:lnTo>
                      <a:lnTo>
                        <a:pt x="2275" y="2838"/>
                      </a:lnTo>
                      <a:lnTo>
                        <a:pt x="2251" y="2836"/>
                      </a:lnTo>
                      <a:lnTo>
                        <a:pt x="2227" y="2838"/>
                      </a:lnTo>
                      <a:lnTo>
                        <a:pt x="2202" y="2845"/>
                      </a:lnTo>
                      <a:lnTo>
                        <a:pt x="2179" y="2857"/>
                      </a:lnTo>
                      <a:lnTo>
                        <a:pt x="2161" y="2873"/>
                      </a:lnTo>
                      <a:lnTo>
                        <a:pt x="2145" y="2891"/>
                      </a:lnTo>
                      <a:lnTo>
                        <a:pt x="2134" y="2912"/>
                      </a:lnTo>
                      <a:lnTo>
                        <a:pt x="2128" y="2935"/>
                      </a:lnTo>
                      <a:lnTo>
                        <a:pt x="2126" y="2960"/>
                      </a:lnTo>
                      <a:lnTo>
                        <a:pt x="2126" y="3285"/>
                      </a:lnTo>
                      <a:lnTo>
                        <a:pt x="2122" y="3317"/>
                      </a:lnTo>
                      <a:lnTo>
                        <a:pt x="2114" y="3346"/>
                      </a:lnTo>
                      <a:lnTo>
                        <a:pt x="2100" y="3375"/>
                      </a:lnTo>
                      <a:lnTo>
                        <a:pt x="2083" y="3400"/>
                      </a:lnTo>
                      <a:lnTo>
                        <a:pt x="2062" y="3421"/>
                      </a:lnTo>
                      <a:lnTo>
                        <a:pt x="2037" y="3438"/>
                      </a:lnTo>
                      <a:lnTo>
                        <a:pt x="2008" y="3451"/>
                      </a:lnTo>
                      <a:lnTo>
                        <a:pt x="1979" y="3460"/>
                      </a:lnTo>
                      <a:lnTo>
                        <a:pt x="1947" y="3463"/>
                      </a:lnTo>
                      <a:lnTo>
                        <a:pt x="1532" y="3463"/>
                      </a:lnTo>
                      <a:lnTo>
                        <a:pt x="1499" y="3460"/>
                      </a:lnTo>
                      <a:lnTo>
                        <a:pt x="1469" y="3451"/>
                      </a:lnTo>
                      <a:lnTo>
                        <a:pt x="1441" y="3438"/>
                      </a:lnTo>
                      <a:lnTo>
                        <a:pt x="1416" y="3421"/>
                      </a:lnTo>
                      <a:lnTo>
                        <a:pt x="1394" y="3400"/>
                      </a:lnTo>
                      <a:lnTo>
                        <a:pt x="1377" y="3375"/>
                      </a:lnTo>
                      <a:lnTo>
                        <a:pt x="1364" y="3346"/>
                      </a:lnTo>
                      <a:lnTo>
                        <a:pt x="1355" y="3317"/>
                      </a:lnTo>
                      <a:lnTo>
                        <a:pt x="1353" y="3285"/>
                      </a:lnTo>
                      <a:lnTo>
                        <a:pt x="1353" y="2960"/>
                      </a:lnTo>
                      <a:lnTo>
                        <a:pt x="1350" y="2935"/>
                      </a:lnTo>
                      <a:lnTo>
                        <a:pt x="1343" y="2912"/>
                      </a:lnTo>
                      <a:lnTo>
                        <a:pt x="1332" y="2891"/>
                      </a:lnTo>
                      <a:lnTo>
                        <a:pt x="1316" y="2873"/>
                      </a:lnTo>
                      <a:lnTo>
                        <a:pt x="1298" y="2857"/>
                      </a:lnTo>
                      <a:lnTo>
                        <a:pt x="1276" y="2845"/>
                      </a:lnTo>
                      <a:lnTo>
                        <a:pt x="1251" y="2838"/>
                      </a:lnTo>
                      <a:lnTo>
                        <a:pt x="1226" y="2836"/>
                      </a:lnTo>
                      <a:lnTo>
                        <a:pt x="1203" y="2838"/>
                      </a:lnTo>
                      <a:lnTo>
                        <a:pt x="1180" y="2844"/>
                      </a:lnTo>
                      <a:lnTo>
                        <a:pt x="1158" y="2856"/>
                      </a:lnTo>
                      <a:lnTo>
                        <a:pt x="1139" y="2873"/>
                      </a:lnTo>
                      <a:lnTo>
                        <a:pt x="909" y="3101"/>
                      </a:lnTo>
                      <a:lnTo>
                        <a:pt x="885" y="3122"/>
                      </a:lnTo>
                      <a:lnTo>
                        <a:pt x="858" y="3136"/>
                      </a:lnTo>
                      <a:lnTo>
                        <a:pt x="828" y="3146"/>
                      </a:lnTo>
                      <a:lnTo>
                        <a:pt x="798" y="3152"/>
                      </a:lnTo>
                      <a:lnTo>
                        <a:pt x="766" y="3152"/>
                      </a:lnTo>
                      <a:lnTo>
                        <a:pt x="737" y="3146"/>
                      </a:lnTo>
                      <a:lnTo>
                        <a:pt x="707" y="3136"/>
                      </a:lnTo>
                      <a:lnTo>
                        <a:pt x="680" y="3122"/>
                      </a:lnTo>
                      <a:lnTo>
                        <a:pt x="655" y="3101"/>
                      </a:lnTo>
                      <a:lnTo>
                        <a:pt x="362" y="2809"/>
                      </a:lnTo>
                      <a:lnTo>
                        <a:pt x="344" y="2789"/>
                      </a:lnTo>
                      <a:lnTo>
                        <a:pt x="329" y="2765"/>
                      </a:lnTo>
                      <a:lnTo>
                        <a:pt x="318" y="2738"/>
                      </a:lnTo>
                      <a:lnTo>
                        <a:pt x="312" y="2712"/>
                      </a:lnTo>
                      <a:lnTo>
                        <a:pt x="310" y="2684"/>
                      </a:lnTo>
                      <a:lnTo>
                        <a:pt x="312" y="2655"/>
                      </a:lnTo>
                      <a:lnTo>
                        <a:pt x="318" y="2628"/>
                      </a:lnTo>
                      <a:lnTo>
                        <a:pt x="329" y="2603"/>
                      </a:lnTo>
                      <a:lnTo>
                        <a:pt x="344" y="2579"/>
                      </a:lnTo>
                      <a:lnTo>
                        <a:pt x="362" y="2557"/>
                      </a:lnTo>
                      <a:lnTo>
                        <a:pt x="593" y="2328"/>
                      </a:lnTo>
                      <a:lnTo>
                        <a:pt x="608" y="2309"/>
                      </a:lnTo>
                      <a:lnTo>
                        <a:pt x="620" y="2288"/>
                      </a:lnTo>
                      <a:lnTo>
                        <a:pt x="627" y="2265"/>
                      </a:lnTo>
                      <a:lnTo>
                        <a:pt x="629" y="2241"/>
                      </a:lnTo>
                      <a:lnTo>
                        <a:pt x="627" y="2217"/>
                      </a:lnTo>
                      <a:lnTo>
                        <a:pt x="619" y="2193"/>
                      </a:lnTo>
                      <a:lnTo>
                        <a:pt x="607" y="2170"/>
                      </a:lnTo>
                      <a:lnTo>
                        <a:pt x="592" y="2151"/>
                      </a:lnTo>
                      <a:lnTo>
                        <a:pt x="574" y="2136"/>
                      </a:lnTo>
                      <a:lnTo>
                        <a:pt x="552" y="2125"/>
                      </a:lnTo>
                      <a:lnTo>
                        <a:pt x="529" y="2118"/>
                      </a:lnTo>
                      <a:lnTo>
                        <a:pt x="504" y="2116"/>
                      </a:lnTo>
                      <a:lnTo>
                        <a:pt x="179" y="2116"/>
                      </a:lnTo>
                      <a:lnTo>
                        <a:pt x="146" y="2113"/>
                      </a:lnTo>
                      <a:lnTo>
                        <a:pt x="116" y="2104"/>
                      </a:lnTo>
                      <a:lnTo>
                        <a:pt x="88" y="2091"/>
                      </a:lnTo>
                      <a:lnTo>
                        <a:pt x="64" y="2074"/>
                      </a:lnTo>
                      <a:lnTo>
                        <a:pt x="42" y="2053"/>
                      </a:lnTo>
                      <a:lnTo>
                        <a:pt x="24" y="2028"/>
                      </a:lnTo>
                      <a:lnTo>
                        <a:pt x="11" y="1999"/>
                      </a:lnTo>
                      <a:lnTo>
                        <a:pt x="2" y="1970"/>
                      </a:lnTo>
                      <a:lnTo>
                        <a:pt x="0" y="1938"/>
                      </a:lnTo>
                      <a:lnTo>
                        <a:pt x="0" y="1525"/>
                      </a:lnTo>
                      <a:lnTo>
                        <a:pt x="2" y="1492"/>
                      </a:lnTo>
                      <a:lnTo>
                        <a:pt x="11" y="1462"/>
                      </a:lnTo>
                      <a:lnTo>
                        <a:pt x="24" y="1434"/>
                      </a:lnTo>
                      <a:lnTo>
                        <a:pt x="42" y="1410"/>
                      </a:lnTo>
                      <a:lnTo>
                        <a:pt x="64" y="1388"/>
                      </a:lnTo>
                      <a:lnTo>
                        <a:pt x="88" y="1371"/>
                      </a:lnTo>
                      <a:lnTo>
                        <a:pt x="116" y="1357"/>
                      </a:lnTo>
                      <a:lnTo>
                        <a:pt x="146" y="1349"/>
                      </a:lnTo>
                      <a:lnTo>
                        <a:pt x="179" y="1346"/>
                      </a:lnTo>
                      <a:lnTo>
                        <a:pt x="504" y="1346"/>
                      </a:lnTo>
                      <a:lnTo>
                        <a:pt x="529" y="1344"/>
                      </a:lnTo>
                      <a:lnTo>
                        <a:pt x="553" y="1337"/>
                      </a:lnTo>
                      <a:lnTo>
                        <a:pt x="574" y="1326"/>
                      </a:lnTo>
                      <a:lnTo>
                        <a:pt x="593" y="1310"/>
                      </a:lnTo>
                      <a:lnTo>
                        <a:pt x="608" y="1292"/>
                      </a:lnTo>
                      <a:lnTo>
                        <a:pt x="619" y="1270"/>
                      </a:lnTo>
                      <a:lnTo>
                        <a:pt x="627" y="1245"/>
                      </a:lnTo>
                      <a:lnTo>
                        <a:pt x="629" y="1221"/>
                      </a:lnTo>
                      <a:lnTo>
                        <a:pt x="627" y="1198"/>
                      </a:lnTo>
                      <a:lnTo>
                        <a:pt x="620" y="1175"/>
                      </a:lnTo>
                      <a:lnTo>
                        <a:pt x="608" y="1153"/>
                      </a:lnTo>
                      <a:lnTo>
                        <a:pt x="593" y="1133"/>
                      </a:lnTo>
                      <a:lnTo>
                        <a:pt x="362" y="905"/>
                      </a:lnTo>
                      <a:lnTo>
                        <a:pt x="344" y="883"/>
                      </a:lnTo>
                      <a:lnTo>
                        <a:pt x="329" y="860"/>
                      </a:lnTo>
                      <a:lnTo>
                        <a:pt x="318" y="834"/>
                      </a:lnTo>
                      <a:lnTo>
                        <a:pt x="312" y="806"/>
                      </a:lnTo>
                      <a:lnTo>
                        <a:pt x="310" y="779"/>
                      </a:lnTo>
                      <a:lnTo>
                        <a:pt x="312" y="751"/>
                      </a:lnTo>
                      <a:lnTo>
                        <a:pt x="318" y="723"/>
                      </a:lnTo>
                      <a:lnTo>
                        <a:pt x="329" y="698"/>
                      </a:lnTo>
                      <a:lnTo>
                        <a:pt x="344" y="674"/>
                      </a:lnTo>
                      <a:lnTo>
                        <a:pt x="362" y="652"/>
                      </a:lnTo>
                      <a:lnTo>
                        <a:pt x="655" y="360"/>
                      </a:lnTo>
                      <a:lnTo>
                        <a:pt x="680" y="341"/>
                      </a:lnTo>
                      <a:lnTo>
                        <a:pt x="707" y="325"/>
                      </a:lnTo>
                      <a:lnTo>
                        <a:pt x="737" y="315"/>
                      </a:lnTo>
                      <a:lnTo>
                        <a:pt x="766" y="310"/>
                      </a:lnTo>
                      <a:lnTo>
                        <a:pt x="798" y="310"/>
                      </a:lnTo>
                      <a:lnTo>
                        <a:pt x="828" y="315"/>
                      </a:lnTo>
                      <a:lnTo>
                        <a:pt x="858" y="325"/>
                      </a:lnTo>
                      <a:lnTo>
                        <a:pt x="885" y="341"/>
                      </a:lnTo>
                      <a:lnTo>
                        <a:pt x="909" y="360"/>
                      </a:lnTo>
                      <a:lnTo>
                        <a:pt x="1139" y="590"/>
                      </a:lnTo>
                      <a:lnTo>
                        <a:pt x="1158" y="605"/>
                      </a:lnTo>
                      <a:lnTo>
                        <a:pt x="1180" y="617"/>
                      </a:lnTo>
                      <a:lnTo>
                        <a:pt x="1203" y="624"/>
                      </a:lnTo>
                      <a:lnTo>
                        <a:pt x="1226" y="626"/>
                      </a:lnTo>
                      <a:lnTo>
                        <a:pt x="1251" y="624"/>
                      </a:lnTo>
                      <a:lnTo>
                        <a:pt x="1276" y="616"/>
                      </a:lnTo>
                      <a:lnTo>
                        <a:pt x="1298" y="604"/>
                      </a:lnTo>
                      <a:lnTo>
                        <a:pt x="1316" y="589"/>
                      </a:lnTo>
                      <a:lnTo>
                        <a:pt x="1332" y="571"/>
                      </a:lnTo>
                      <a:lnTo>
                        <a:pt x="1343" y="549"/>
                      </a:lnTo>
                      <a:lnTo>
                        <a:pt x="1350" y="526"/>
                      </a:lnTo>
                      <a:lnTo>
                        <a:pt x="1353" y="501"/>
                      </a:lnTo>
                      <a:lnTo>
                        <a:pt x="1353" y="178"/>
                      </a:lnTo>
                      <a:lnTo>
                        <a:pt x="1355" y="145"/>
                      </a:lnTo>
                      <a:lnTo>
                        <a:pt x="1364" y="115"/>
                      </a:lnTo>
                      <a:lnTo>
                        <a:pt x="1377" y="87"/>
                      </a:lnTo>
                      <a:lnTo>
                        <a:pt x="1394" y="63"/>
                      </a:lnTo>
                      <a:lnTo>
                        <a:pt x="1416" y="41"/>
                      </a:lnTo>
                      <a:lnTo>
                        <a:pt x="1441" y="24"/>
                      </a:lnTo>
                      <a:lnTo>
                        <a:pt x="1469" y="10"/>
                      </a:lnTo>
                      <a:lnTo>
                        <a:pt x="1499" y="2"/>
                      </a:lnTo>
                      <a:lnTo>
                        <a:pt x="1532" y="0"/>
                      </a:lnTo>
                      <a:close/>
                    </a:path>
                  </a:pathLst>
                </a:custGeom>
                <a:solidFill>
                  <a:srgbClr val="686C8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64" name="Freeform 334">
                  <a:extLst>
                    <a:ext uri="{FF2B5EF4-FFF2-40B4-BE49-F238E27FC236}">
                      <a16:creationId xmlns:a16="http://schemas.microsoft.com/office/drawing/2014/main" id="{DDAFD54B-D961-1605-D3DA-3882D8775D8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478605" y="3694440"/>
                  <a:ext cx="168274" cy="166688"/>
                </a:xfrm>
                <a:custGeom>
                  <a:avLst/>
                  <a:gdLst>
                    <a:gd name="T0" fmla="*/ 527 w 1160"/>
                    <a:gd name="T1" fmla="*/ 131 h 1155"/>
                    <a:gd name="T2" fmla="*/ 428 w 1160"/>
                    <a:gd name="T3" fmla="*/ 154 h 1155"/>
                    <a:gd name="T4" fmla="*/ 339 w 1160"/>
                    <a:gd name="T5" fmla="*/ 198 h 1155"/>
                    <a:gd name="T6" fmla="*/ 261 w 1160"/>
                    <a:gd name="T7" fmla="*/ 259 h 1155"/>
                    <a:gd name="T8" fmla="*/ 199 w 1160"/>
                    <a:gd name="T9" fmla="*/ 337 h 1155"/>
                    <a:gd name="T10" fmla="*/ 155 w 1160"/>
                    <a:gd name="T11" fmla="*/ 425 h 1155"/>
                    <a:gd name="T12" fmla="*/ 132 w 1160"/>
                    <a:gd name="T13" fmla="*/ 525 h 1155"/>
                    <a:gd name="T14" fmla="*/ 132 w 1160"/>
                    <a:gd name="T15" fmla="*/ 630 h 1155"/>
                    <a:gd name="T16" fmla="*/ 155 w 1160"/>
                    <a:gd name="T17" fmla="*/ 728 h 1155"/>
                    <a:gd name="T18" fmla="*/ 199 w 1160"/>
                    <a:gd name="T19" fmla="*/ 818 h 1155"/>
                    <a:gd name="T20" fmla="*/ 261 w 1160"/>
                    <a:gd name="T21" fmla="*/ 894 h 1155"/>
                    <a:gd name="T22" fmla="*/ 339 w 1160"/>
                    <a:gd name="T23" fmla="*/ 956 h 1155"/>
                    <a:gd name="T24" fmla="*/ 428 w 1160"/>
                    <a:gd name="T25" fmla="*/ 999 h 1155"/>
                    <a:gd name="T26" fmla="*/ 527 w 1160"/>
                    <a:gd name="T27" fmla="*/ 1022 h 1155"/>
                    <a:gd name="T28" fmla="*/ 633 w 1160"/>
                    <a:gd name="T29" fmla="*/ 1022 h 1155"/>
                    <a:gd name="T30" fmla="*/ 732 w 1160"/>
                    <a:gd name="T31" fmla="*/ 999 h 1155"/>
                    <a:gd name="T32" fmla="*/ 822 w 1160"/>
                    <a:gd name="T33" fmla="*/ 956 h 1155"/>
                    <a:gd name="T34" fmla="*/ 899 w 1160"/>
                    <a:gd name="T35" fmla="*/ 894 h 1155"/>
                    <a:gd name="T36" fmla="*/ 960 w 1160"/>
                    <a:gd name="T37" fmla="*/ 818 h 1155"/>
                    <a:gd name="T38" fmla="*/ 1004 w 1160"/>
                    <a:gd name="T39" fmla="*/ 728 h 1155"/>
                    <a:gd name="T40" fmla="*/ 1027 w 1160"/>
                    <a:gd name="T41" fmla="*/ 630 h 1155"/>
                    <a:gd name="T42" fmla="*/ 1027 w 1160"/>
                    <a:gd name="T43" fmla="*/ 525 h 1155"/>
                    <a:gd name="T44" fmla="*/ 1004 w 1160"/>
                    <a:gd name="T45" fmla="*/ 425 h 1155"/>
                    <a:gd name="T46" fmla="*/ 960 w 1160"/>
                    <a:gd name="T47" fmla="*/ 337 h 1155"/>
                    <a:gd name="T48" fmla="*/ 899 w 1160"/>
                    <a:gd name="T49" fmla="*/ 259 h 1155"/>
                    <a:gd name="T50" fmla="*/ 822 w 1160"/>
                    <a:gd name="T51" fmla="*/ 198 h 1155"/>
                    <a:gd name="T52" fmla="*/ 732 w 1160"/>
                    <a:gd name="T53" fmla="*/ 154 h 1155"/>
                    <a:gd name="T54" fmla="*/ 633 w 1160"/>
                    <a:gd name="T55" fmla="*/ 131 h 1155"/>
                    <a:gd name="T56" fmla="*/ 580 w 1160"/>
                    <a:gd name="T57" fmla="*/ 0 h 1155"/>
                    <a:gd name="T58" fmla="*/ 704 w 1160"/>
                    <a:gd name="T59" fmla="*/ 13 h 1155"/>
                    <a:gd name="T60" fmla="*/ 820 w 1160"/>
                    <a:gd name="T61" fmla="*/ 51 h 1155"/>
                    <a:gd name="T62" fmla="*/ 922 w 1160"/>
                    <a:gd name="T63" fmla="*/ 112 h 1155"/>
                    <a:gd name="T64" fmla="*/ 1011 w 1160"/>
                    <a:gd name="T65" fmla="*/ 190 h 1155"/>
                    <a:gd name="T66" fmla="*/ 1081 w 1160"/>
                    <a:gd name="T67" fmla="*/ 285 h 1155"/>
                    <a:gd name="T68" fmla="*/ 1130 w 1160"/>
                    <a:gd name="T69" fmla="*/ 395 h 1155"/>
                    <a:gd name="T70" fmla="*/ 1157 w 1160"/>
                    <a:gd name="T71" fmla="*/ 514 h 1155"/>
                    <a:gd name="T72" fmla="*/ 1157 w 1160"/>
                    <a:gd name="T73" fmla="*/ 640 h 1155"/>
                    <a:gd name="T74" fmla="*/ 1130 w 1160"/>
                    <a:gd name="T75" fmla="*/ 759 h 1155"/>
                    <a:gd name="T76" fmla="*/ 1081 w 1160"/>
                    <a:gd name="T77" fmla="*/ 868 h 1155"/>
                    <a:gd name="T78" fmla="*/ 1011 w 1160"/>
                    <a:gd name="T79" fmla="*/ 963 h 1155"/>
                    <a:gd name="T80" fmla="*/ 922 w 1160"/>
                    <a:gd name="T81" fmla="*/ 1043 h 1155"/>
                    <a:gd name="T82" fmla="*/ 820 w 1160"/>
                    <a:gd name="T83" fmla="*/ 1103 h 1155"/>
                    <a:gd name="T84" fmla="*/ 704 w 1160"/>
                    <a:gd name="T85" fmla="*/ 1142 h 1155"/>
                    <a:gd name="T86" fmla="*/ 580 w 1160"/>
                    <a:gd name="T87" fmla="*/ 1155 h 1155"/>
                    <a:gd name="T88" fmla="*/ 456 w 1160"/>
                    <a:gd name="T89" fmla="*/ 1142 h 1155"/>
                    <a:gd name="T90" fmla="*/ 341 w 1160"/>
                    <a:gd name="T91" fmla="*/ 1103 h 1155"/>
                    <a:gd name="T92" fmla="*/ 238 w 1160"/>
                    <a:gd name="T93" fmla="*/ 1043 h 1155"/>
                    <a:gd name="T94" fmla="*/ 150 w 1160"/>
                    <a:gd name="T95" fmla="*/ 963 h 1155"/>
                    <a:gd name="T96" fmla="*/ 79 w 1160"/>
                    <a:gd name="T97" fmla="*/ 868 h 1155"/>
                    <a:gd name="T98" fmla="*/ 29 w 1160"/>
                    <a:gd name="T99" fmla="*/ 759 h 1155"/>
                    <a:gd name="T100" fmla="*/ 4 w 1160"/>
                    <a:gd name="T101" fmla="*/ 640 h 1155"/>
                    <a:gd name="T102" fmla="*/ 4 w 1160"/>
                    <a:gd name="T103" fmla="*/ 514 h 1155"/>
                    <a:gd name="T104" fmla="*/ 29 w 1160"/>
                    <a:gd name="T105" fmla="*/ 395 h 1155"/>
                    <a:gd name="T106" fmla="*/ 79 w 1160"/>
                    <a:gd name="T107" fmla="*/ 285 h 1155"/>
                    <a:gd name="T108" fmla="*/ 150 w 1160"/>
                    <a:gd name="T109" fmla="*/ 190 h 1155"/>
                    <a:gd name="T110" fmla="*/ 238 w 1160"/>
                    <a:gd name="T111" fmla="*/ 112 h 1155"/>
                    <a:gd name="T112" fmla="*/ 341 w 1160"/>
                    <a:gd name="T113" fmla="*/ 51 h 1155"/>
                    <a:gd name="T114" fmla="*/ 456 w 1160"/>
                    <a:gd name="T115" fmla="*/ 13 h 1155"/>
                    <a:gd name="T116" fmla="*/ 580 w 1160"/>
                    <a:gd name="T117" fmla="*/ 0 h 11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160" h="1155">
                      <a:moveTo>
                        <a:pt x="580" y="128"/>
                      </a:moveTo>
                      <a:lnTo>
                        <a:pt x="527" y="131"/>
                      </a:lnTo>
                      <a:lnTo>
                        <a:pt x="477" y="140"/>
                      </a:lnTo>
                      <a:lnTo>
                        <a:pt x="428" y="154"/>
                      </a:lnTo>
                      <a:lnTo>
                        <a:pt x="381" y="174"/>
                      </a:lnTo>
                      <a:lnTo>
                        <a:pt x="339" y="198"/>
                      </a:lnTo>
                      <a:lnTo>
                        <a:pt x="298" y="226"/>
                      </a:lnTo>
                      <a:lnTo>
                        <a:pt x="261" y="259"/>
                      </a:lnTo>
                      <a:lnTo>
                        <a:pt x="228" y="296"/>
                      </a:lnTo>
                      <a:lnTo>
                        <a:pt x="199" y="337"/>
                      </a:lnTo>
                      <a:lnTo>
                        <a:pt x="175" y="379"/>
                      </a:lnTo>
                      <a:lnTo>
                        <a:pt x="155" y="425"/>
                      </a:lnTo>
                      <a:lnTo>
                        <a:pt x="141" y="475"/>
                      </a:lnTo>
                      <a:lnTo>
                        <a:pt x="132" y="525"/>
                      </a:lnTo>
                      <a:lnTo>
                        <a:pt x="129" y="577"/>
                      </a:lnTo>
                      <a:lnTo>
                        <a:pt x="132" y="630"/>
                      </a:lnTo>
                      <a:lnTo>
                        <a:pt x="141" y="680"/>
                      </a:lnTo>
                      <a:lnTo>
                        <a:pt x="155" y="728"/>
                      </a:lnTo>
                      <a:lnTo>
                        <a:pt x="175" y="774"/>
                      </a:lnTo>
                      <a:lnTo>
                        <a:pt x="199" y="818"/>
                      </a:lnTo>
                      <a:lnTo>
                        <a:pt x="228" y="857"/>
                      </a:lnTo>
                      <a:lnTo>
                        <a:pt x="261" y="894"/>
                      </a:lnTo>
                      <a:lnTo>
                        <a:pt x="298" y="927"/>
                      </a:lnTo>
                      <a:lnTo>
                        <a:pt x="339" y="956"/>
                      </a:lnTo>
                      <a:lnTo>
                        <a:pt x="381" y="980"/>
                      </a:lnTo>
                      <a:lnTo>
                        <a:pt x="428" y="999"/>
                      </a:lnTo>
                      <a:lnTo>
                        <a:pt x="477" y="1014"/>
                      </a:lnTo>
                      <a:lnTo>
                        <a:pt x="527" y="1022"/>
                      </a:lnTo>
                      <a:lnTo>
                        <a:pt x="580" y="1026"/>
                      </a:lnTo>
                      <a:lnTo>
                        <a:pt x="633" y="1022"/>
                      </a:lnTo>
                      <a:lnTo>
                        <a:pt x="683" y="1014"/>
                      </a:lnTo>
                      <a:lnTo>
                        <a:pt x="732" y="999"/>
                      </a:lnTo>
                      <a:lnTo>
                        <a:pt x="778" y="980"/>
                      </a:lnTo>
                      <a:lnTo>
                        <a:pt x="822" y="956"/>
                      </a:lnTo>
                      <a:lnTo>
                        <a:pt x="861" y="927"/>
                      </a:lnTo>
                      <a:lnTo>
                        <a:pt x="899" y="894"/>
                      </a:lnTo>
                      <a:lnTo>
                        <a:pt x="932" y="857"/>
                      </a:lnTo>
                      <a:lnTo>
                        <a:pt x="960" y="818"/>
                      </a:lnTo>
                      <a:lnTo>
                        <a:pt x="984" y="774"/>
                      </a:lnTo>
                      <a:lnTo>
                        <a:pt x="1004" y="728"/>
                      </a:lnTo>
                      <a:lnTo>
                        <a:pt x="1018" y="680"/>
                      </a:lnTo>
                      <a:lnTo>
                        <a:pt x="1027" y="630"/>
                      </a:lnTo>
                      <a:lnTo>
                        <a:pt x="1030" y="577"/>
                      </a:lnTo>
                      <a:lnTo>
                        <a:pt x="1027" y="525"/>
                      </a:lnTo>
                      <a:lnTo>
                        <a:pt x="1018" y="475"/>
                      </a:lnTo>
                      <a:lnTo>
                        <a:pt x="1004" y="425"/>
                      </a:lnTo>
                      <a:lnTo>
                        <a:pt x="984" y="379"/>
                      </a:lnTo>
                      <a:lnTo>
                        <a:pt x="960" y="337"/>
                      </a:lnTo>
                      <a:lnTo>
                        <a:pt x="932" y="296"/>
                      </a:lnTo>
                      <a:lnTo>
                        <a:pt x="899" y="259"/>
                      </a:lnTo>
                      <a:lnTo>
                        <a:pt x="861" y="226"/>
                      </a:lnTo>
                      <a:lnTo>
                        <a:pt x="822" y="198"/>
                      </a:lnTo>
                      <a:lnTo>
                        <a:pt x="778" y="174"/>
                      </a:lnTo>
                      <a:lnTo>
                        <a:pt x="732" y="154"/>
                      </a:lnTo>
                      <a:lnTo>
                        <a:pt x="683" y="140"/>
                      </a:lnTo>
                      <a:lnTo>
                        <a:pt x="633" y="131"/>
                      </a:lnTo>
                      <a:lnTo>
                        <a:pt x="580" y="128"/>
                      </a:lnTo>
                      <a:close/>
                      <a:moveTo>
                        <a:pt x="580" y="0"/>
                      </a:moveTo>
                      <a:lnTo>
                        <a:pt x="643" y="3"/>
                      </a:lnTo>
                      <a:lnTo>
                        <a:pt x="704" y="13"/>
                      </a:lnTo>
                      <a:lnTo>
                        <a:pt x="762" y="28"/>
                      </a:lnTo>
                      <a:lnTo>
                        <a:pt x="820" y="51"/>
                      </a:lnTo>
                      <a:lnTo>
                        <a:pt x="872" y="79"/>
                      </a:lnTo>
                      <a:lnTo>
                        <a:pt x="922" y="112"/>
                      </a:lnTo>
                      <a:lnTo>
                        <a:pt x="968" y="149"/>
                      </a:lnTo>
                      <a:lnTo>
                        <a:pt x="1011" y="190"/>
                      </a:lnTo>
                      <a:lnTo>
                        <a:pt x="1048" y="236"/>
                      </a:lnTo>
                      <a:lnTo>
                        <a:pt x="1081" y="285"/>
                      </a:lnTo>
                      <a:lnTo>
                        <a:pt x="1108" y="339"/>
                      </a:lnTo>
                      <a:lnTo>
                        <a:pt x="1130" y="395"/>
                      </a:lnTo>
                      <a:lnTo>
                        <a:pt x="1147" y="454"/>
                      </a:lnTo>
                      <a:lnTo>
                        <a:pt x="1157" y="514"/>
                      </a:lnTo>
                      <a:lnTo>
                        <a:pt x="1160" y="577"/>
                      </a:lnTo>
                      <a:lnTo>
                        <a:pt x="1157" y="640"/>
                      </a:lnTo>
                      <a:lnTo>
                        <a:pt x="1147" y="701"/>
                      </a:lnTo>
                      <a:lnTo>
                        <a:pt x="1130" y="759"/>
                      </a:lnTo>
                      <a:lnTo>
                        <a:pt x="1108" y="816"/>
                      </a:lnTo>
                      <a:lnTo>
                        <a:pt x="1081" y="868"/>
                      </a:lnTo>
                      <a:lnTo>
                        <a:pt x="1048" y="917"/>
                      </a:lnTo>
                      <a:lnTo>
                        <a:pt x="1011" y="963"/>
                      </a:lnTo>
                      <a:lnTo>
                        <a:pt x="968" y="1006"/>
                      </a:lnTo>
                      <a:lnTo>
                        <a:pt x="922" y="1043"/>
                      </a:lnTo>
                      <a:lnTo>
                        <a:pt x="872" y="1076"/>
                      </a:lnTo>
                      <a:lnTo>
                        <a:pt x="820" y="1103"/>
                      </a:lnTo>
                      <a:lnTo>
                        <a:pt x="762" y="1125"/>
                      </a:lnTo>
                      <a:lnTo>
                        <a:pt x="704" y="1142"/>
                      </a:lnTo>
                      <a:lnTo>
                        <a:pt x="643" y="1151"/>
                      </a:lnTo>
                      <a:lnTo>
                        <a:pt x="580" y="1155"/>
                      </a:lnTo>
                      <a:lnTo>
                        <a:pt x="516" y="1151"/>
                      </a:lnTo>
                      <a:lnTo>
                        <a:pt x="456" y="1142"/>
                      </a:lnTo>
                      <a:lnTo>
                        <a:pt x="397" y="1125"/>
                      </a:lnTo>
                      <a:lnTo>
                        <a:pt x="341" y="1103"/>
                      </a:lnTo>
                      <a:lnTo>
                        <a:pt x="287" y="1076"/>
                      </a:lnTo>
                      <a:lnTo>
                        <a:pt x="238" y="1043"/>
                      </a:lnTo>
                      <a:lnTo>
                        <a:pt x="191" y="1006"/>
                      </a:lnTo>
                      <a:lnTo>
                        <a:pt x="150" y="963"/>
                      </a:lnTo>
                      <a:lnTo>
                        <a:pt x="112" y="917"/>
                      </a:lnTo>
                      <a:lnTo>
                        <a:pt x="79" y="868"/>
                      </a:lnTo>
                      <a:lnTo>
                        <a:pt x="52" y="816"/>
                      </a:lnTo>
                      <a:lnTo>
                        <a:pt x="29" y="759"/>
                      </a:lnTo>
                      <a:lnTo>
                        <a:pt x="14" y="701"/>
                      </a:lnTo>
                      <a:lnTo>
                        <a:pt x="4" y="640"/>
                      </a:lnTo>
                      <a:lnTo>
                        <a:pt x="0" y="577"/>
                      </a:lnTo>
                      <a:lnTo>
                        <a:pt x="4" y="514"/>
                      </a:lnTo>
                      <a:lnTo>
                        <a:pt x="14" y="454"/>
                      </a:lnTo>
                      <a:lnTo>
                        <a:pt x="29" y="395"/>
                      </a:lnTo>
                      <a:lnTo>
                        <a:pt x="52" y="339"/>
                      </a:lnTo>
                      <a:lnTo>
                        <a:pt x="79" y="285"/>
                      </a:lnTo>
                      <a:lnTo>
                        <a:pt x="112" y="236"/>
                      </a:lnTo>
                      <a:lnTo>
                        <a:pt x="150" y="190"/>
                      </a:lnTo>
                      <a:lnTo>
                        <a:pt x="191" y="149"/>
                      </a:lnTo>
                      <a:lnTo>
                        <a:pt x="238" y="112"/>
                      </a:lnTo>
                      <a:lnTo>
                        <a:pt x="287" y="79"/>
                      </a:lnTo>
                      <a:lnTo>
                        <a:pt x="341" y="51"/>
                      </a:lnTo>
                      <a:lnTo>
                        <a:pt x="397" y="28"/>
                      </a:lnTo>
                      <a:lnTo>
                        <a:pt x="456" y="13"/>
                      </a:lnTo>
                      <a:lnTo>
                        <a:pt x="516" y="3"/>
                      </a:lnTo>
                      <a:lnTo>
                        <a:pt x="580" y="0"/>
                      </a:lnTo>
                      <a:close/>
                    </a:path>
                  </a:pathLst>
                </a:custGeom>
                <a:solidFill>
                  <a:srgbClr val="686C8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</p:grpSp>
          <p:grpSp>
            <p:nvGrpSpPr>
              <p:cNvPr id="57" name="Group 421">
                <a:extLst>
                  <a:ext uri="{FF2B5EF4-FFF2-40B4-BE49-F238E27FC236}">
                    <a16:creationId xmlns:a16="http://schemas.microsoft.com/office/drawing/2014/main" id="{C307708A-8F4E-C632-787C-C8BB1380C3EE}"/>
                  </a:ext>
                </a:extLst>
              </p:cNvPr>
              <p:cNvGrpSpPr/>
              <p:nvPr/>
            </p:nvGrpSpPr>
            <p:grpSpPr>
              <a:xfrm>
                <a:off x="4372510" y="-2480988"/>
                <a:ext cx="557055" cy="555293"/>
                <a:chOff x="6313816" y="3533071"/>
                <a:chExt cx="501650" cy="500063"/>
              </a:xfrm>
              <a:solidFill>
                <a:schemeClr val="tx1"/>
              </a:solidFill>
            </p:grpSpPr>
            <p:sp>
              <p:nvSpPr>
                <p:cNvPr id="61" name="Freeform 333">
                  <a:extLst>
                    <a:ext uri="{FF2B5EF4-FFF2-40B4-BE49-F238E27FC236}">
                      <a16:creationId xmlns:a16="http://schemas.microsoft.com/office/drawing/2014/main" id="{480635FA-A9B2-53EC-C122-8B4A5E703A1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313816" y="3533071"/>
                  <a:ext cx="501650" cy="500063"/>
                </a:xfrm>
                <a:custGeom>
                  <a:avLst/>
                  <a:gdLst>
                    <a:gd name="T0" fmla="*/ 1478 w 3478"/>
                    <a:gd name="T1" fmla="*/ 540 h 3463"/>
                    <a:gd name="T2" fmla="*/ 1288 w 3478"/>
                    <a:gd name="T3" fmla="*/ 747 h 3463"/>
                    <a:gd name="T4" fmla="*/ 818 w 3478"/>
                    <a:gd name="T5" fmla="*/ 451 h 3463"/>
                    <a:gd name="T6" fmla="*/ 439 w 3478"/>
                    <a:gd name="T7" fmla="*/ 770 h 3463"/>
                    <a:gd name="T8" fmla="*/ 754 w 3478"/>
                    <a:gd name="T9" fmla="*/ 1173 h 3463"/>
                    <a:gd name="T10" fmla="*/ 646 w 3478"/>
                    <a:gd name="T11" fmla="*/ 1433 h 3463"/>
                    <a:gd name="T12" fmla="*/ 138 w 3478"/>
                    <a:gd name="T13" fmla="*/ 1495 h 3463"/>
                    <a:gd name="T14" fmla="*/ 179 w 3478"/>
                    <a:gd name="T15" fmla="*/ 1987 h 3463"/>
                    <a:gd name="T16" fmla="*/ 721 w 3478"/>
                    <a:gd name="T17" fmla="*/ 2110 h 3463"/>
                    <a:gd name="T18" fmla="*/ 709 w 3478"/>
                    <a:gd name="T19" fmla="*/ 2390 h 3463"/>
                    <a:gd name="T20" fmla="*/ 747 w 3478"/>
                    <a:gd name="T21" fmla="*/ 3011 h 3463"/>
                    <a:gd name="T22" fmla="*/ 1101 w 3478"/>
                    <a:gd name="T23" fmla="*/ 2740 h 3463"/>
                    <a:gd name="T24" fmla="*/ 1359 w 3478"/>
                    <a:gd name="T25" fmla="*/ 2744 h 3463"/>
                    <a:gd name="T26" fmla="*/ 1481 w 3478"/>
                    <a:gd name="T27" fmla="*/ 3285 h 3463"/>
                    <a:gd name="T28" fmla="*/ 1976 w 3478"/>
                    <a:gd name="T29" fmla="*/ 3325 h 3463"/>
                    <a:gd name="T30" fmla="*/ 2039 w 3478"/>
                    <a:gd name="T31" fmla="*/ 2819 h 3463"/>
                    <a:gd name="T32" fmla="*/ 2300 w 3478"/>
                    <a:gd name="T33" fmla="*/ 2712 h 3463"/>
                    <a:gd name="T34" fmla="*/ 2703 w 3478"/>
                    <a:gd name="T35" fmla="*/ 3025 h 3463"/>
                    <a:gd name="T36" fmla="*/ 3024 w 3478"/>
                    <a:gd name="T37" fmla="*/ 2649 h 3463"/>
                    <a:gd name="T38" fmla="*/ 2727 w 3478"/>
                    <a:gd name="T39" fmla="*/ 2180 h 3463"/>
                    <a:gd name="T40" fmla="*/ 2935 w 3478"/>
                    <a:gd name="T41" fmla="*/ 1990 h 3463"/>
                    <a:gd name="T42" fmla="*/ 3349 w 3478"/>
                    <a:gd name="T43" fmla="*/ 1525 h 3463"/>
                    <a:gd name="T44" fmla="*/ 2899 w 3478"/>
                    <a:gd name="T45" fmla="*/ 1463 h 3463"/>
                    <a:gd name="T46" fmla="*/ 2721 w 3478"/>
                    <a:gd name="T47" fmla="*/ 1245 h 3463"/>
                    <a:gd name="T48" fmla="*/ 3034 w 3478"/>
                    <a:gd name="T49" fmla="*/ 801 h 3463"/>
                    <a:gd name="T50" fmla="*/ 2688 w 3478"/>
                    <a:gd name="T51" fmla="*/ 437 h 3463"/>
                    <a:gd name="T52" fmla="*/ 2264 w 3478"/>
                    <a:gd name="T53" fmla="*/ 755 h 3463"/>
                    <a:gd name="T54" fmla="*/ 2020 w 3478"/>
                    <a:gd name="T55" fmla="*/ 611 h 3463"/>
                    <a:gd name="T56" fmla="*/ 1962 w 3478"/>
                    <a:gd name="T57" fmla="*/ 130 h 3463"/>
                    <a:gd name="T58" fmla="*/ 2062 w 3478"/>
                    <a:gd name="T59" fmla="*/ 41 h 3463"/>
                    <a:gd name="T60" fmla="*/ 2134 w 3478"/>
                    <a:gd name="T61" fmla="*/ 549 h 3463"/>
                    <a:gd name="T62" fmla="*/ 2298 w 3478"/>
                    <a:gd name="T63" fmla="*/ 617 h 3463"/>
                    <a:gd name="T64" fmla="*/ 2711 w 3478"/>
                    <a:gd name="T65" fmla="*/ 310 h 3463"/>
                    <a:gd name="T66" fmla="*/ 3159 w 3478"/>
                    <a:gd name="T67" fmla="*/ 723 h 3463"/>
                    <a:gd name="T68" fmla="*/ 2885 w 3478"/>
                    <a:gd name="T69" fmla="*/ 1133 h 3463"/>
                    <a:gd name="T70" fmla="*/ 2885 w 3478"/>
                    <a:gd name="T71" fmla="*/ 1310 h 3463"/>
                    <a:gd name="T72" fmla="*/ 3389 w 3478"/>
                    <a:gd name="T73" fmla="*/ 1371 h 3463"/>
                    <a:gd name="T74" fmla="*/ 3475 w 3478"/>
                    <a:gd name="T75" fmla="*/ 1970 h 3463"/>
                    <a:gd name="T76" fmla="*/ 3299 w 3478"/>
                    <a:gd name="T77" fmla="*/ 2116 h 3463"/>
                    <a:gd name="T78" fmla="*/ 2850 w 3478"/>
                    <a:gd name="T79" fmla="*/ 2217 h 3463"/>
                    <a:gd name="T80" fmla="*/ 3148 w 3478"/>
                    <a:gd name="T81" fmla="*/ 2603 h 3463"/>
                    <a:gd name="T82" fmla="*/ 3115 w 3478"/>
                    <a:gd name="T83" fmla="*/ 2809 h 3463"/>
                    <a:gd name="T84" fmla="*/ 2620 w 3478"/>
                    <a:gd name="T85" fmla="*/ 3136 h 3463"/>
                    <a:gd name="T86" fmla="*/ 2227 w 3478"/>
                    <a:gd name="T87" fmla="*/ 2838 h 3463"/>
                    <a:gd name="T88" fmla="*/ 2126 w 3478"/>
                    <a:gd name="T89" fmla="*/ 3285 h 3463"/>
                    <a:gd name="T90" fmla="*/ 1979 w 3478"/>
                    <a:gd name="T91" fmla="*/ 3460 h 3463"/>
                    <a:gd name="T92" fmla="*/ 1377 w 3478"/>
                    <a:gd name="T93" fmla="*/ 3375 h 3463"/>
                    <a:gd name="T94" fmla="*/ 1316 w 3478"/>
                    <a:gd name="T95" fmla="*/ 2873 h 3463"/>
                    <a:gd name="T96" fmla="*/ 1139 w 3478"/>
                    <a:gd name="T97" fmla="*/ 2873 h 3463"/>
                    <a:gd name="T98" fmla="*/ 707 w 3478"/>
                    <a:gd name="T99" fmla="*/ 3136 h 3463"/>
                    <a:gd name="T100" fmla="*/ 310 w 3478"/>
                    <a:gd name="T101" fmla="*/ 2684 h 3463"/>
                    <a:gd name="T102" fmla="*/ 620 w 3478"/>
                    <a:gd name="T103" fmla="*/ 2288 h 3463"/>
                    <a:gd name="T104" fmla="*/ 552 w 3478"/>
                    <a:gd name="T105" fmla="*/ 2125 h 3463"/>
                    <a:gd name="T106" fmla="*/ 42 w 3478"/>
                    <a:gd name="T107" fmla="*/ 2053 h 3463"/>
                    <a:gd name="T108" fmla="*/ 24 w 3478"/>
                    <a:gd name="T109" fmla="*/ 1434 h 3463"/>
                    <a:gd name="T110" fmla="*/ 529 w 3478"/>
                    <a:gd name="T111" fmla="*/ 1344 h 3463"/>
                    <a:gd name="T112" fmla="*/ 627 w 3478"/>
                    <a:gd name="T113" fmla="*/ 1198 h 3463"/>
                    <a:gd name="T114" fmla="*/ 312 w 3478"/>
                    <a:gd name="T115" fmla="*/ 806 h 3463"/>
                    <a:gd name="T116" fmla="*/ 680 w 3478"/>
                    <a:gd name="T117" fmla="*/ 341 h 3463"/>
                    <a:gd name="T118" fmla="*/ 909 w 3478"/>
                    <a:gd name="T119" fmla="*/ 360 h 3463"/>
                    <a:gd name="T120" fmla="*/ 1298 w 3478"/>
                    <a:gd name="T121" fmla="*/ 604 h 3463"/>
                    <a:gd name="T122" fmla="*/ 1364 w 3478"/>
                    <a:gd name="T123" fmla="*/ 115 h 34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3478" h="3463">
                      <a:moveTo>
                        <a:pt x="1532" y="127"/>
                      </a:moveTo>
                      <a:lnTo>
                        <a:pt x="1515" y="130"/>
                      </a:lnTo>
                      <a:lnTo>
                        <a:pt x="1502" y="137"/>
                      </a:lnTo>
                      <a:lnTo>
                        <a:pt x="1491" y="148"/>
                      </a:lnTo>
                      <a:lnTo>
                        <a:pt x="1483" y="161"/>
                      </a:lnTo>
                      <a:lnTo>
                        <a:pt x="1481" y="178"/>
                      </a:lnTo>
                      <a:lnTo>
                        <a:pt x="1481" y="501"/>
                      </a:lnTo>
                      <a:lnTo>
                        <a:pt x="1478" y="540"/>
                      </a:lnTo>
                      <a:lnTo>
                        <a:pt x="1470" y="577"/>
                      </a:lnTo>
                      <a:lnTo>
                        <a:pt x="1457" y="611"/>
                      </a:lnTo>
                      <a:lnTo>
                        <a:pt x="1439" y="642"/>
                      </a:lnTo>
                      <a:lnTo>
                        <a:pt x="1416" y="671"/>
                      </a:lnTo>
                      <a:lnTo>
                        <a:pt x="1390" y="696"/>
                      </a:lnTo>
                      <a:lnTo>
                        <a:pt x="1359" y="718"/>
                      </a:lnTo>
                      <a:lnTo>
                        <a:pt x="1324" y="735"/>
                      </a:lnTo>
                      <a:lnTo>
                        <a:pt x="1288" y="747"/>
                      </a:lnTo>
                      <a:lnTo>
                        <a:pt x="1251" y="754"/>
                      </a:lnTo>
                      <a:lnTo>
                        <a:pt x="1214" y="755"/>
                      </a:lnTo>
                      <a:lnTo>
                        <a:pt x="1178" y="750"/>
                      </a:lnTo>
                      <a:lnTo>
                        <a:pt x="1143" y="741"/>
                      </a:lnTo>
                      <a:lnTo>
                        <a:pt x="1109" y="725"/>
                      </a:lnTo>
                      <a:lnTo>
                        <a:pt x="1077" y="705"/>
                      </a:lnTo>
                      <a:lnTo>
                        <a:pt x="1047" y="680"/>
                      </a:lnTo>
                      <a:lnTo>
                        <a:pt x="818" y="451"/>
                      </a:lnTo>
                      <a:lnTo>
                        <a:pt x="805" y="442"/>
                      </a:lnTo>
                      <a:lnTo>
                        <a:pt x="791" y="437"/>
                      </a:lnTo>
                      <a:lnTo>
                        <a:pt x="774" y="437"/>
                      </a:lnTo>
                      <a:lnTo>
                        <a:pt x="760" y="442"/>
                      </a:lnTo>
                      <a:lnTo>
                        <a:pt x="747" y="451"/>
                      </a:lnTo>
                      <a:lnTo>
                        <a:pt x="453" y="743"/>
                      </a:lnTo>
                      <a:lnTo>
                        <a:pt x="445" y="756"/>
                      </a:lnTo>
                      <a:lnTo>
                        <a:pt x="439" y="770"/>
                      </a:lnTo>
                      <a:lnTo>
                        <a:pt x="439" y="787"/>
                      </a:lnTo>
                      <a:lnTo>
                        <a:pt x="445" y="801"/>
                      </a:lnTo>
                      <a:lnTo>
                        <a:pt x="453" y="814"/>
                      </a:lnTo>
                      <a:lnTo>
                        <a:pt x="684" y="1043"/>
                      </a:lnTo>
                      <a:lnTo>
                        <a:pt x="709" y="1072"/>
                      </a:lnTo>
                      <a:lnTo>
                        <a:pt x="729" y="1104"/>
                      </a:lnTo>
                      <a:lnTo>
                        <a:pt x="744" y="1137"/>
                      </a:lnTo>
                      <a:lnTo>
                        <a:pt x="754" y="1173"/>
                      </a:lnTo>
                      <a:lnTo>
                        <a:pt x="759" y="1209"/>
                      </a:lnTo>
                      <a:lnTo>
                        <a:pt x="758" y="1245"/>
                      </a:lnTo>
                      <a:lnTo>
                        <a:pt x="751" y="1282"/>
                      </a:lnTo>
                      <a:lnTo>
                        <a:pt x="739" y="1318"/>
                      </a:lnTo>
                      <a:lnTo>
                        <a:pt x="721" y="1353"/>
                      </a:lnTo>
                      <a:lnTo>
                        <a:pt x="699" y="1384"/>
                      </a:lnTo>
                      <a:lnTo>
                        <a:pt x="674" y="1410"/>
                      </a:lnTo>
                      <a:lnTo>
                        <a:pt x="646" y="1433"/>
                      </a:lnTo>
                      <a:lnTo>
                        <a:pt x="614" y="1450"/>
                      </a:lnTo>
                      <a:lnTo>
                        <a:pt x="580" y="1463"/>
                      </a:lnTo>
                      <a:lnTo>
                        <a:pt x="542" y="1471"/>
                      </a:lnTo>
                      <a:lnTo>
                        <a:pt x="504" y="1474"/>
                      </a:lnTo>
                      <a:lnTo>
                        <a:pt x="179" y="1474"/>
                      </a:lnTo>
                      <a:lnTo>
                        <a:pt x="162" y="1477"/>
                      </a:lnTo>
                      <a:lnTo>
                        <a:pt x="149" y="1484"/>
                      </a:lnTo>
                      <a:lnTo>
                        <a:pt x="138" y="1495"/>
                      </a:lnTo>
                      <a:lnTo>
                        <a:pt x="131" y="1508"/>
                      </a:lnTo>
                      <a:lnTo>
                        <a:pt x="128" y="1525"/>
                      </a:lnTo>
                      <a:lnTo>
                        <a:pt x="128" y="1938"/>
                      </a:lnTo>
                      <a:lnTo>
                        <a:pt x="131" y="1953"/>
                      </a:lnTo>
                      <a:lnTo>
                        <a:pt x="138" y="1968"/>
                      </a:lnTo>
                      <a:lnTo>
                        <a:pt x="149" y="1978"/>
                      </a:lnTo>
                      <a:lnTo>
                        <a:pt x="162" y="1985"/>
                      </a:lnTo>
                      <a:lnTo>
                        <a:pt x="179" y="1987"/>
                      </a:lnTo>
                      <a:lnTo>
                        <a:pt x="504" y="1987"/>
                      </a:lnTo>
                      <a:lnTo>
                        <a:pt x="542" y="1990"/>
                      </a:lnTo>
                      <a:lnTo>
                        <a:pt x="580" y="1998"/>
                      </a:lnTo>
                      <a:lnTo>
                        <a:pt x="614" y="2011"/>
                      </a:lnTo>
                      <a:lnTo>
                        <a:pt x="646" y="2030"/>
                      </a:lnTo>
                      <a:lnTo>
                        <a:pt x="674" y="2052"/>
                      </a:lnTo>
                      <a:lnTo>
                        <a:pt x="699" y="2079"/>
                      </a:lnTo>
                      <a:lnTo>
                        <a:pt x="721" y="2110"/>
                      </a:lnTo>
                      <a:lnTo>
                        <a:pt x="739" y="2144"/>
                      </a:lnTo>
                      <a:lnTo>
                        <a:pt x="751" y="2180"/>
                      </a:lnTo>
                      <a:lnTo>
                        <a:pt x="758" y="2217"/>
                      </a:lnTo>
                      <a:lnTo>
                        <a:pt x="759" y="2254"/>
                      </a:lnTo>
                      <a:lnTo>
                        <a:pt x="754" y="2290"/>
                      </a:lnTo>
                      <a:lnTo>
                        <a:pt x="744" y="2325"/>
                      </a:lnTo>
                      <a:lnTo>
                        <a:pt x="729" y="2358"/>
                      </a:lnTo>
                      <a:lnTo>
                        <a:pt x="709" y="2390"/>
                      </a:lnTo>
                      <a:lnTo>
                        <a:pt x="684" y="2419"/>
                      </a:lnTo>
                      <a:lnTo>
                        <a:pt x="453" y="2648"/>
                      </a:lnTo>
                      <a:lnTo>
                        <a:pt x="445" y="2661"/>
                      </a:lnTo>
                      <a:lnTo>
                        <a:pt x="439" y="2676"/>
                      </a:lnTo>
                      <a:lnTo>
                        <a:pt x="439" y="2691"/>
                      </a:lnTo>
                      <a:lnTo>
                        <a:pt x="445" y="2706"/>
                      </a:lnTo>
                      <a:lnTo>
                        <a:pt x="453" y="2719"/>
                      </a:lnTo>
                      <a:lnTo>
                        <a:pt x="747" y="3011"/>
                      </a:lnTo>
                      <a:lnTo>
                        <a:pt x="760" y="3020"/>
                      </a:lnTo>
                      <a:lnTo>
                        <a:pt x="774" y="3025"/>
                      </a:lnTo>
                      <a:lnTo>
                        <a:pt x="791" y="3025"/>
                      </a:lnTo>
                      <a:lnTo>
                        <a:pt x="805" y="3020"/>
                      </a:lnTo>
                      <a:lnTo>
                        <a:pt x="818" y="3011"/>
                      </a:lnTo>
                      <a:lnTo>
                        <a:pt x="1047" y="2782"/>
                      </a:lnTo>
                      <a:lnTo>
                        <a:pt x="1074" y="2759"/>
                      </a:lnTo>
                      <a:lnTo>
                        <a:pt x="1101" y="2740"/>
                      </a:lnTo>
                      <a:lnTo>
                        <a:pt x="1131" y="2726"/>
                      </a:lnTo>
                      <a:lnTo>
                        <a:pt x="1162" y="2715"/>
                      </a:lnTo>
                      <a:lnTo>
                        <a:pt x="1193" y="2709"/>
                      </a:lnTo>
                      <a:lnTo>
                        <a:pt x="1225" y="2707"/>
                      </a:lnTo>
                      <a:lnTo>
                        <a:pt x="1258" y="2709"/>
                      </a:lnTo>
                      <a:lnTo>
                        <a:pt x="1291" y="2715"/>
                      </a:lnTo>
                      <a:lnTo>
                        <a:pt x="1324" y="2727"/>
                      </a:lnTo>
                      <a:lnTo>
                        <a:pt x="1359" y="2744"/>
                      </a:lnTo>
                      <a:lnTo>
                        <a:pt x="1390" y="2766"/>
                      </a:lnTo>
                      <a:lnTo>
                        <a:pt x="1416" y="2791"/>
                      </a:lnTo>
                      <a:lnTo>
                        <a:pt x="1439" y="2819"/>
                      </a:lnTo>
                      <a:lnTo>
                        <a:pt x="1457" y="2851"/>
                      </a:lnTo>
                      <a:lnTo>
                        <a:pt x="1470" y="2886"/>
                      </a:lnTo>
                      <a:lnTo>
                        <a:pt x="1478" y="2922"/>
                      </a:lnTo>
                      <a:lnTo>
                        <a:pt x="1481" y="2960"/>
                      </a:lnTo>
                      <a:lnTo>
                        <a:pt x="1481" y="3285"/>
                      </a:lnTo>
                      <a:lnTo>
                        <a:pt x="1483" y="3300"/>
                      </a:lnTo>
                      <a:lnTo>
                        <a:pt x="1491" y="3314"/>
                      </a:lnTo>
                      <a:lnTo>
                        <a:pt x="1502" y="3325"/>
                      </a:lnTo>
                      <a:lnTo>
                        <a:pt x="1515" y="3332"/>
                      </a:lnTo>
                      <a:lnTo>
                        <a:pt x="1532" y="3334"/>
                      </a:lnTo>
                      <a:lnTo>
                        <a:pt x="1947" y="3334"/>
                      </a:lnTo>
                      <a:lnTo>
                        <a:pt x="1962" y="3332"/>
                      </a:lnTo>
                      <a:lnTo>
                        <a:pt x="1976" y="3325"/>
                      </a:lnTo>
                      <a:lnTo>
                        <a:pt x="1987" y="3314"/>
                      </a:lnTo>
                      <a:lnTo>
                        <a:pt x="1994" y="3300"/>
                      </a:lnTo>
                      <a:lnTo>
                        <a:pt x="1996" y="3285"/>
                      </a:lnTo>
                      <a:lnTo>
                        <a:pt x="1996" y="2960"/>
                      </a:lnTo>
                      <a:lnTo>
                        <a:pt x="1999" y="2922"/>
                      </a:lnTo>
                      <a:lnTo>
                        <a:pt x="2007" y="2886"/>
                      </a:lnTo>
                      <a:lnTo>
                        <a:pt x="2020" y="2851"/>
                      </a:lnTo>
                      <a:lnTo>
                        <a:pt x="2039" y="2819"/>
                      </a:lnTo>
                      <a:lnTo>
                        <a:pt x="2061" y="2791"/>
                      </a:lnTo>
                      <a:lnTo>
                        <a:pt x="2088" y="2766"/>
                      </a:lnTo>
                      <a:lnTo>
                        <a:pt x="2119" y="2744"/>
                      </a:lnTo>
                      <a:lnTo>
                        <a:pt x="2153" y="2727"/>
                      </a:lnTo>
                      <a:lnTo>
                        <a:pt x="2189" y="2715"/>
                      </a:lnTo>
                      <a:lnTo>
                        <a:pt x="2227" y="2709"/>
                      </a:lnTo>
                      <a:lnTo>
                        <a:pt x="2264" y="2708"/>
                      </a:lnTo>
                      <a:lnTo>
                        <a:pt x="2300" y="2712"/>
                      </a:lnTo>
                      <a:lnTo>
                        <a:pt x="2335" y="2722"/>
                      </a:lnTo>
                      <a:lnTo>
                        <a:pt x="2368" y="2736"/>
                      </a:lnTo>
                      <a:lnTo>
                        <a:pt x="2400" y="2757"/>
                      </a:lnTo>
                      <a:lnTo>
                        <a:pt x="2430" y="2782"/>
                      </a:lnTo>
                      <a:lnTo>
                        <a:pt x="2660" y="3011"/>
                      </a:lnTo>
                      <a:lnTo>
                        <a:pt x="2672" y="3020"/>
                      </a:lnTo>
                      <a:lnTo>
                        <a:pt x="2688" y="3025"/>
                      </a:lnTo>
                      <a:lnTo>
                        <a:pt x="2703" y="3025"/>
                      </a:lnTo>
                      <a:lnTo>
                        <a:pt x="2717" y="3020"/>
                      </a:lnTo>
                      <a:lnTo>
                        <a:pt x="2731" y="3011"/>
                      </a:lnTo>
                      <a:lnTo>
                        <a:pt x="3024" y="2719"/>
                      </a:lnTo>
                      <a:lnTo>
                        <a:pt x="3034" y="2706"/>
                      </a:lnTo>
                      <a:lnTo>
                        <a:pt x="3038" y="2691"/>
                      </a:lnTo>
                      <a:lnTo>
                        <a:pt x="3038" y="2676"/>
                      </a:lnTo>
                      <a:lnTo>
                        <a:pt x="3034" y="2661"/>
                      </a:lnTo>
                      <a:lnTo>
                        <a:pt x="3024" y="2649"/>
                      </a:lnTo>
                      <a:lnTo>
                        <a:pt x="2794" y="2419"/>
                      </a:lnTo>
                      <a:lnTo>
                        <a:pt x="2769" y="2390"/>
                      </a:lnTo>
                      <a:lnTo>
                        <a:pt x="2748" y="2358"/>
                      </a:lnTo>
                      <a:lnTo>
                        <a:pt x="2734" y="2325"/>
                      </a:lnTo>
                      <a:lnTo>
                        <a:pt x="2724" y="2290"/>
                      </a:lnTo>
                      <a:lnTo>
                        <a:pt x="2720" y="2254"/>
                      </a:lnTo>
                      <a:lnTo>
                        <a:pt x="2721" y="2217"/>
                      </a:lnTo>
                      <a:lnTo>
                        <a:pt x="2727" y="2180"/>
                      </a:lnTo>
                      <a:lnTo>
                        <a:pt x="2739" y="2144"/>
                      </a:lnTo>
                      <a:lnTo>
                        <a:pt x="2756" y="2110"/>
                      </a:lnTo>
                      <a:lnTo>
                        <a:pt x="2778" y="2079"/>
                      </a:lnTo>
                      <a:lnTo>
                        <a:pt x="2803" y="2052"/>
                      </a:lnTo>
                      <a:lnTo>
                        <a:pt x="2832" y="2030"/>
                      </a:lnTo>
                      <a:lnTo>
                        <a:pt x="2863" y="2011"/>
                      </a:lnTo>
                      <a:lnTo>
                        <a:pt x="2899" y="1998"/>
                      </a:lnTo>
                      <a:lnTo>
                        <a:pt x="2935" y="1990"/>
                      </a:lnTo>
                      <a:lnTo>
                        <a:pt x="2973" y="1987"/>
                      </a:lnTo>
                      <a:lnTo>
                        <a:pt x="3299" y="1987"/>
                      </a:lnTo>
                      <a:lnTo>
                        <a:pt x="3315" y="1985"/>
                      </a:lnTo>
                      <a:lnTo>
                        <a:pt x="3329" y="1978"/>
                      </a:lnTo>
                      <a:lnTo>
                        <a:pt x="3340" y="1968"/>
                      </a:lnTo>
                      <a:lnTo>
                        <a:pt x="3347" y="1953"/>
                      </a:lnTo>
                      <a:lnTo>
                        <a:pt x="3349" y="1938"/>
                      </a:lnTo>
                      <a:lnTo>
                        <a:pt x="3349" y="1525"/>
                      </a:lnTo>
                      <a:lnTo>
                        <a:pt x="3347" y="1508"/>
                      </a:lnTo>
                      <a:lnTo>
                        <a:pt x="3340" y="1495"/>
                      </a:lnTo>
                      <a:lnTo>
                        <a:pt x="3329" y="1484"/>
                      </a:lnTo>
                      <a:lnTo>
                        <a:pt x="3315" y="1477"/>
                      </a:lnTo>
                      <a:lnTo>
                        <a:pt x="3299" y="1474"/>
                      </a:lnTo>
                      <a:lnTo>
                        <a:pt x="2973" y="1474"/>
                      </a:lnTo>
                      <a:lnTo>
                        <a:pt x="2935" y="1472"/>
                      </a:lnTo>
                      <a:lnTo>
                        <a:pt x="2899" y="1463"/>
                      </a:lnTo>
                      <a:lnTo>
                        <a:pt x="2863" y="1450"/>
                      </a:lnTo>
                      <a:lnTo>
                        <a:pt x="2832" y="1433"/>
                      </a:lnTo>
                      <a:lnTo>
                        <a:pt x="2803" y="1410"/>
                      </a:lnTo>
                      <a:lnTo>
                        <a:pt x="2778" y="1384"/>
                      </a:lnTo>
                      <a:lnTo>
                        <a:pt x="2756" y="1353"/>
                      </a:lnTo>
                      <a:lnTo>
                        <a:pt x="2739" y="1319"/>
                      </a:lnTo>
                      <a:lnTo>
                        <a:pt x="2727" y="1282"/>
                      </a:lnTo>
                      <a:lnTo>
                        <a:pt x="2721" y="1245"/>
                      </a:lnTo>
                      <a:lnTo>
                        <a:pt x="2720" y="1209"/>
                      </a:lnTo>
                      <a:lnTo>
                        <a:pt x="2724" y="1173"/>
                      </a:lnTo>
                      <a:lnTo>
                        <a:pt x="2734" y="1138"/>
                      </a:lnTo>
                      <a:lnTo>
                        <a:pt x="2748" y="1104"/>
                      </a:lnTo>
                      <a:lnTo>
                        <a:pt x="2769" y="1072"/>
                      </a:lnTo>
                      <a:lnTo>
                        <a:pt x="2794" y="1043"/>
                      </a:lnTo>
                      <a:lnTo>
                        <a:pt x="3024" y="814"/>
                      </a:lnTo>
                      <a:lnTo>
                        <a:pt x="3034" y="801"/>
                      </a:lnTo>
                      <a:lnTo>
                        <a:pt x="3038" y="787"/>
                      </a:lnTo>
                      <a:lnTo>
                        <a:pt x="3038" y="771"/>
                      </a:lnTo>
                      <a:lnTo>
                        <a:pt x="3034" y="756"/>
                      </a:lnTo>
                      <a:lnTo>
                        <a:pt x="3024" y="743"/>
                      </a:lnTo>
                      <a:lnTo>
                        <a:pt x="2731" y="451"/>
                      </a:lnTo>
                      <a:lnTo>
                        <a:pt x="2717" y="442"/>
                      </a:lnTo>
                      <a:lnTo>
                        <a:pt x="2703" y="437"/>
                      </a:lnTo>
                      <a:lnTo>
                        <a:pt x="2688" y="437"/>
                      </a:lnTo>
                      <a:lnTo>
                        <a:pt x="2672" y="442"/>
                      </a:lnTo>
                      <a:lnTo>
                        <a:pt x="2660" y="451"/>
                      </a:lnTo>
                      <a:lnTo>
                        <a:pt x="2430" y="681"/>
                      </a:lnTo>
                      <a:lnTo>
                        <a:pt x="2400" y="706"/>
                      </a:lnTo>
                      <a:lnTo>
                        <a:pt x="2368" y="725"/>
                      </a:lnTo>
                      <a:lnTo>
                        <a:pt x="2335" y="741"/>
                      </a:lnTo>
                      <a:lnTo>
                        <a:pt x="2300" y="751"/>
                      </a:lnTo>
                      <a:lnTo>
                        <a:pt x="2264" y="755"/>
                      </a:lnTo>
                      <a:lnTo>
                        <a:pt x="2227" y="754"/>
                      </a:lnTo>
                      <a:lnTo>
                        <a:pt x="2189" y="747"/>
                      </a:lnTo>
                      <a:lnTo>
                        <a:pt x="2153" y="735"/>
                      </a:lnTo>
                      <a:lnTo>
                        <a:pt x="2119" y="718"/>
                      </a:lnTo>
                      <a:lnTo>
                        <a:pt x="2088" y="696"/>
                      </a:lnTo>
                      <a:lnTo>
                        <a:pt x="2061" y="671"/>
                      </a:lnTo>
                      <a:lnTo>
                        <a:pt x="2039" y="642"/>
                      </a:lnTo>
                      <a:lnTo>
                        <a:pt x="2020" y="611"/>
                      </a:lnTo>
                      <a:lnTo>
                        <a:pt x="2007" y="577"/>
                      </a:lnTo>
                      <a:lnTo>
                        <a:pt x="1999" y="540"/>
                      </a:lnTo>
                      <a:lnTo>
                        <a:pt x="1996" y="501"/>
                      </a:lnTo>
                      <a:lnTo>
                        <a:pt x="1996" y="178"/>
                      </a:lnTo>
                      <a:lnTo>
                        <a:pt x="1994" y="161"/>
                      </a:lnTo>
                      <a:lnTo>
                        <a:pt x="1987" y="148"/>
                      </a:lnTo>
                      <a:lnTo>
                        <a:pt x="1976" y="137"/>
                      </a:lnTo>
                      <a:lnTo>
                        <a:pt x="1962" y="130"/>
                      </a:lnTo>
                      <a:lnTo>
                        <a:pt x="1947" y="127"/>
                      </a:lnTo>
                      <a:lnTo>
                        <a:pt x="1532" y="127"/>
                      </a:lnTo>
                      <a:close/>
                      <a:moveTo>
                        <a:pt x="1532" y="0"/>
                      </a:moveTo>
                      <a:lnTo>
                        <a:pt x="1947" y="0"/>
                      </a:lnTo>
                      <a:lnTo>
                        <a:pt x="1979" y="2"/>
                      </a:lnTo>
                      <a:lnTo>
                        <a:pt x="2008" y="10"/>
                      </a:lnTo>
                      <a:lnTo>
                        <a:pt x="2037" y="24"/>
                      </a:lnTo>
                      <a:lnTo>
                        <a:pt x="2062" y="41"/>
                      </a:lnTo>
                      <a:lnTo>
                        <a:pt x="2083" y="63"/>
                      </a:lnTo>
                      <a:lnTo>
                        <a:pt x="2100" y="87"/>
                      </a:lnTo>
                      <a:lnTo>
                        <a:pt x="2114" y="115"/>
                      </a:lnTo>
                      <a:lnTo>
                        <a:pt x="2122" y="145"/>
                      </a:lnTo>
                      <a:lnTo>
                        <a:pt x="2126" y="178"/>
                      </a:lnTo>
                      <a:lnTo>
                        <a:pt x="2126" y="501"/>
                      </a:lnTo>
                      <a:lnTo>
                        <a:pt x="2128" y="526"/>
                      </a:lnTo>
                      <a:lnTo>
                        <a:pt x="2134" y="549"/>
                      </a:lnTo>
                      <a:lnTo>
                        <a:pt x="2145" y="571"/>
                      </a:lnTo>
                      <a:lnTo>
                        <a:pt x="2161" y="589"/>
                      </a:lnTo>
                      <a:lnTo>
                        <a:pt x="2179" y="604"/>
                      </a:lnTo>
                      <a:lnTo>
                        <a:pt x="2202" y="616"/>
                      </a:lnTo>
                      <a:lnTo>
                        <a:pt x="2227" y="624"/>
                      </a:lnTo>
                      <a:lnTo>
                        <a:pt x="2251" y="626"/>
                      </a:lnTo>
                      <a:lnTo>
                        <a:pt x="2275" y="624"/>
                      </a:lnTo>
                      <a:lnTo>
                        <a:pt x="2298" y="617"/>
                      </a:lnTo>
                      <a:lnTo>
                        <a:pt x="2319" y="605"/>
                      </a:lnTo>
                      <a:lnTo>
                        <a:pt x="2339" y="590"/>
                      </a:lnTo>
                      <a:lnTo>
                        <a:pt x="2568" y="360"/>
                      </a:lnTo>
                      <a:lnTo>
                        <a:pt x="2593" y="341"/>
                      </a:lnTo>
                      <a:lnTo>
                        <a:pt x="2620" y="325"/>
                      </a:lnTo>
                      <a:lnTo>
                        <a:pt x="2649" y="315"/>
                      </a:lnTo>
                      <a:lnTo>
                        <a:pt x="2680" y="310"/>
                      </a:lnTo>
                      <a:lnTo>
                        <a:pt x="2711" y="310"/>
                      </a:lnTo>
                      <a:lnTo>
                        <a:pt x="2742" y="315"/>
                      </a:lnTo>
                      <a:lnTo>
                        <a:pt x="2770" y="325"/>
                      </a:lnTo>
                      <a:lnTo>
                        <a:pt x="2798" y="341"/>
                      </a:lnTo>
                      <a:lnTo>
                        <a:pt x="2822" y="360"/>
                      </a:lnTo>
                      <a:lnTo>
                        <a:pt x="3115" y="652"/>
                      </a:lnTo>
                      <a:lnTo>
                        <a:pt x="3134" y="674"/>
                      </a:lnTo>
                      <a:lnTo>
                        <a:pt x="3148" y="698"/>
                      </a:lnTo>
                      <a:lnTo>
                        <a:pt x="3159" y="723"/>
                      </a:lnTo>
                      <a:lnTo>
                        <a:pt x="3165" y="751"/>
                      </a:lnTo>
                      <a:lnTo>
                        <a:pt x="3168" y="779"/>
                      </a:lnTo>
                      <a:lnTo>
                        <a:pt x="3165" y="806"/>
                      </a:lnTo>
                      <a:lnTo>
                        <a:pt x="3159" y="834"/>
                      </a:lnTo>
                      <a:lnTo>
                        <a:pt x="3148" y="860"/>
                      </a:lnTo>
                      <a:lnTo>
                        <a:pt x="3134" y="883"/>
                      </a:lnTo>
                      <a:lnTo>
                        <a:pt x="3115" y="905"/>
                      </a:lnTo>
                      <a:lnTo>
                        <a:pt x="2885" y="1133"/>
                      </a:lnTo>
                      <a:lnTo>
                        <a:pt x="2869" y="1153"/>
                      </a:lnTo>
                      <a:lnTo>
                        <a:pt x="2857" y="1175"/>
                      </a:lnTo>
                      <a:lnTo>
                        <a:pt x="2850" y="1198"/>
                      </a:lnTo>
                      <a:lnTo>
                        <a:pt x="2848" y="1221"/>
                      </a:lnTo>
                      <a:lnTo>
                        <a:pt x="2850" y="1245"/>
                      </a:lnTo>
                      <a:lnTo>
                        <a:pt x="2858" y="1270"/>
                      </a:lnTo>
                      <a:lnTo>
                        <a:pt x="2870" y="1292"/>
                      </a:lnTo>
                      <a:lnTo>
                        <a:pt x="2885" y="1310"/>
                      </a:lnTo>
                      <a:lnTo>
                        <a:pt x="2904" y="1326"/>
                      </a:lnTo>
                      <a:lnTo>
                        <a:pt x="2925" y="1337"/>
                      </a:lnTo>
                      <a:lnTo>
                        <a:pt x="2948" y="1344"/>
                      </a:lnTo>
                      <a:lnTo>
                        <a:pt x="2973" y="1346"/>
                      </a:lnTo>
                      <a:lnTo>
                        <a:pt x="3299" y="1346"/>
                      </a:lnTo>
                      <a:lnTo>
                        <a:pt x="3331" y="1349"/>
                      </a:lnTo>
                      <a:lnTo>
                        <a:pt x="3361" y="1357"/>
                      </a:lnTo>
                      <a:lnTo>
                        <a:pt x="3389" y="1371"/>
                      </a:lnTo>
                      <a:lnTo>
                        <a:pt x="3415" y="1388"/>
                      </a:lnTo>
                      <a:lnTo>
                        <a:pt x="3435" y="1410"/>
                      </a:lnTo>
                      <a:lnTo>
                        <a:pt x="3453" y="1434"/>
                      </a:lnTo>
                      <a:lnTo>
                        <a:pt x="3466" y="1462"/>
                      </a:lnTo>
                      <a:lnTo>
                        <a:pt x="3475" y="1492"/>
                      </a:lnTo>
                      <a:lnTo>
                        <a:pt x="3478" y="1525"/>
                      </a:lnTo>
                      <a:lnTo>
                        <a:pt x="3478" y="1938"/>
                      </a:lnTo>
                      <a:lnTo>
                        <a:pt x="3475" y="1970"/>
                      </a:lnTo>
                      <a:lnTo>
                        <a:pt x="3466" y="1999"/>
                      </a:lnTo>
                      <a:lnTo>
                        <a:pt x="3453" y="2028"/>
                      </a:lnTo>
                      <a:lnTo>
                        <a:pt x="3435" y="2053"/>
                      </a:lnTo>
                      <a:lnTo>
                        <a:pt x="3415" y="2074"/>
                      </a:lnTo>
                      <a:lnTo>
                        <a:pt x="3389" y="2091"/>
                      </a:lnTo>
                      <a:lnTo>
                        <a:pt x="3361" y="2104"/>
                      </a:lnTo>
                      <a:lnTo>
                        <a:pt x="3331" y="2113"/>
                      </a:lnTo>
                      <a:lnTo>
                        <a:pt x="3299" y="2116"/>
                      </a:lnTo>
                      <a:lnTo>
                        <a:pt x="2973" y="2116"/>
                      </a:lnTo>
                      <a:lnTo>
                        <a:pt x="2948" y="2118"/>
                      </a:lnTo>
                      <a:lnTo>
                        <a:pt x="2925" y="2125"/>
                      </a:lnTo>
                      <a:lnTo>
                        <a:pt x="2903" y="2136"/>
                      </a:lnTo>
                      <a:lnTo>
                        <a:pt x="2885" y="2151"/>
                      </a:lnTo>
                      <a:lnTo>
                        <a:pt x="2870" y="2170"/>
                      </a:lnTo>
                      <a:lnTo>
                        <a:pt x="2858" y="2193"/>
                      </a:lnTo>
                      <a:lnTo>
                        <a:pt x="2850" y="2217"/>
                      </a:lnTo>
                      <a:lnTo>
                        <a:pt x="2848" y="2241"/>
                      </a:lnTo>
                      <a:lnTo>
                        <a:pt x="2850" y="2265"/>
                      </a:lnTo>
                      <a:lnTo>
                        <a:pt x="2857" y="2288"/>
                      </a:lnTo>
                      <a:lnTo>
                        <a:pt x="2869" y="2309"/>
                      </a:lnTo>
                      <a:lnTo>
                        <a:pt x="2885" y="2328"/>
                      </a:lnTo>
                      <a:lnTo>
                        <a:pt x="3115" y="2557"/>
                      </a:lnTo>
                      <a:lnTo>
                        <a:pt x="3134" y="2579"/>
                      </a:lnTo>
                      <a:lnTo>
                        <a:pt x="3148" y="2603"/>
                      </a:lnTo>
                      <a:lnTo>
                        <a:pt x="3159" y="2628"/>
                      </a:lnTo>
                      <a:lnTo>
                        <a:pt x="3165" y="2655"/>
                      </a:lnTo>
                      <a:lnTo>
                        <a:pt x="3168" y="2684"/>
                      </a:lnTo>
                      <a:lnTo>
                        <a:pt x="3165" y="2712"/>
                      </a:lnTo>
                      <a:lnTo>
                        <a:pt x="3159" y="2738"/>
                      </a:lnTo>
                      <a:lnTo>
                        <a:pt x="3148" y="2765"/>
                      </a:lnTo>
                      <a:lnTo>
                        <a:pt x="3134" y="2789"/>
                      </a:lnTo>
                      <a:lnTo>
                        <a:pt x="3115" y="2809"/>
                      </a:lnTo>
                      <a:lnTo>
                        <a:pt x="2822" y="3101"/>
                      </a:lnTo>
                      <a:lnTo>
                        <a:pt x="2798" y="3122"/>
                      </a:lnTo>
                      <a:lnTo>
                        <a:pt x="2770" y="3136"/>
                      </a:lnTo>
                      <a:lnTo>
                        <a:pt x="2742" y="3146"/>
                      </a:lnTo>
                      <a:lnTo>
                        <a:pt x="2711" y="3152"/>
                      </a:lnTo>
                      <a:lnTo>
                        <a:pt x="2680" y="3152"/>
                      </a:lnTo>
                      <a:lnTo>
                        <a:pt x="2649" y="3146"/>
                      </a:lnTo>
                      <a:lnTo>
                        <a:pt x="2620" y="3136"/>
                      </a:lnTo>
                      <a:lnTo>
                        <a:pt x="2593" y="3122"/>
                      </a:lnTo>
                      <a:lnTo>
                        <a:pt x="2568" y="3101"/>
                      </a:lnTo>
                      <a:lnTo>
                        <a:pt x="2339" y="2873"/>
                      </a:lnTo>
                      <a:lnTo>
                        <a:pt x="2319" y="2856"/>
                      </a:lnTo>
                      <a:lnTo>
                        <a:pt x="2298" y="2844"/>
                      </a:lnTo>
                      <a:lnTo>
                        <a:pt x="2275" y="2838"/>
                      </a:lnTo>
                      <a:lnTo>
                        <a:pt x="2251" y="2836"/>
                      </a:lnTo>
                      <a:lnTo>
                        <a:pt x="2227" y="2838"/>
                      </a:lnTo>
                      <a:lnTo>
                        <a:pt x="2202" y="2845"/>
                      </a:lnTo>
                      <a:lnTo>
                        <a:pt x="2179" y="2857"/>
                      </a:lnTo>
                      <a:lnTo>
                        <a:pt x="2161" y="2873"/>
                      </a:lnTo>
                      <a:lnTo>
                        <a:pt x="2145" y="2891"/>
                      </a:lnTo>
                      <a:lnTo>
                        <a:pt x="2134" y="2912"/>
                      </a:lnTo>
                      <a:lnTo>
                        <a:pt x="2128" y="2935"/>
                      </a:lnTo>
                      <a:lnTo>
                        <a:pt x="2126" y="2960"/>
                      </a:lnTo>
                      <a:lnTo>
                        <a:pt x="2126" y="3285"/>
                      </a:lnTo>
                      <a:lnTo>
                        <a:pt x="2122" y="3317"/>
                      </a:lnTo>
                      <a:lnTo>
                        <a:pt x="2114" y="3346"/>
                      </a:lnTo>
                      <a:lnTo>
                        <a:pt x="2100" y="3375"/>
                      </a:lnTo>
                      <a:lnTo>
                        <a:pt x="2083" y="3400"/>
                      </a:lnTo>
                      <a:lnTo>
                        <a:pt x="2062" y="3421"/>
                      </a:lnTo>
                      <a:lnTo>
                        <a:pt x="2037" y="3438"/>
                      </a:lnTo>
                      <a:lnTo>
                        <a:pt x="2008" y="3451"/>
                      </a:lnTo>
                      <a:lnTo>
                        <a:pt x="1979" y="3460"/>
                      </a:lnTo>
                      <a:lnTo>
                        <a:pt x="1947" y="3463"/>
                      </a:lnTo>
                      <a:lnTo>
                        <a:pt x="1532" y="3463"/>
                      </a:lnTo>
                      <a:lnTo>
                        <a:pt x="1499" y="3460"/>
                      </a:lnTo>
                      <a:lnTo>
                        <a:pt x="1469" y="3451"/>
                      </a:lnTo>
                      <a:lnTo>
                        <a:pt x="1441" y="3438"/>
                      </a:lnTo>
                      <a:lnTo>
                        <a:pt x="1416" y="3421"/>
                      </a:lnTo>
                      <a:lnTo>
                        <a:pt x="1394" y="3400"/>
                      </a:lnTo>
                      <a:lnTo>
                        <a:pt x="1377" y="3375"/>
                      </a:lnTo>
                      <a:lnTo>
                        <a:pt x="1364" y="3346"/>
                      </a:lnTo>
                      <a:lnTo>
                        <a:pt x="1355" y="3317"/>
                      </a:lnTo>
                      <a:lnTo>
                        <a:pt x="1353" y="3285"/>
                      </a:lnTo>
                      <a:lnTo>
                        <a:pt x="1353" y="2960"/>
                      </a:lnTo>
                      <a:lnTo>
                        <a:pt x="1350" y="2935"/>
                      </a:lnTo>
                      <a:lnTo>
                        <a:pt x="1343" y="2912"/>
                      </a:lnTo>
                      <a:lnTo>
                        <a:pt x="1332" y="2891"/>
                      </a:lnTo>
                      <a:lnTo>
                        <a:pt x="1316" y="2873"/>
                      </a:lnTo>
                      <a:lnTo>
                        <a:pt x="1298" y="2857"/>
                      </a:lnTo>
                      <a:lnTo>
                        <a:pt x="1276" y="2845"/>
                      </a:lnTo>
                      <a:lnTo>
                        <a:pt x="1251" y="2838"/>
                      </a:lnTo>
                      <a:lnTo>
                        <a:pt x="1226" y="2836"/>
                      </a:lnTo>
                      <a:lnTo>
                        <a:pt x="1203" y="2838"/>
                      </a:lnTo>
                      <a:lnTo>
                        <a:pt x="1180" y="2844"/>
                      </a:lnTo>
                      <a:lnTo>
                        <a:pt x="1158" y="2856"/>
                      </a:lnTo>
                      <a:lnTo>
                        <a:pt x="1139" y="2873"/>
                      </a:lnTo>
                      <a:lnTo>
                        <a:pt x="909" y="3101"/>
                      </a:lnTo>
                      <a:lnTo>
                        <a:pt x="885" y="3122"/>
                      </a:lnTo>
                      <a:lnTo>
                        <a:pt x="858" y="3136"/>
                      </a:lnTo>
                      <a:lnTo>
                        <a:pt x="828" y="3146"/>
                      </a:lnTo>
                      <a:lnTo>
                        <a:pt x="798" y="3152"/>
                      </a:lnTo>
                      <a:lnTo>
                        <a:pt x="766" y="3152"/>
                      </a:lnTo>
                      <a:lnTo>
                        <a:pt x="737" y="3146"/>
                      </a:lnTo>
                      <a:lnTo>
                        <a:pt x="707" y="3136"/>
                      </a:lnTo>
                      <a:lnTo>
                        <a:pt x="680" y="3122"/>
                      </a:lnTo>
                      <a:lnTo>
                        <a:pt x="655" y="3101"/>
                      </a:lnTo>
                      <a:lnTo>
                        <a:pt x="362" y="2809"/>
                      </a:lnTo>
                      <a:lnTo>
                        <a:pt x="344" y="2789"/>
                      </a:lnTo>
                      <a:lnTo>
                        <a:pt x="329" y="2765"/>
                      </a:lnTo>
                      <a:lnTo>
                        <a:pt x="318" y="2738"/>
                      </a:lnTo>
                      <a:lnTo>
                        <a:pt x="312" y="2712"/>
                      </a:lnTo>
                      <a:lnTo>
                        <a:pt x="310" y="2684"/>
                      </a:lnTo>
                      <a:lnTo>
                        <a:pt x="312" y="2655"/>
                      </a:lnTo>
                      <a:lnTo>
                        <a:pt x="318" y="2628"/>
                      </a:lnTo>
                      <a:lnTo>
                        <a:pt x="329" y="2603"/>
                      </a:lnTo>
                      <a:lnTo>
                        <a:pt x="344" y="2579"/>
                      </a:lnTo>
                      <a:lnTo>
                        <a:pt x="362" y="2557"/>
                      </a:lnTo>
                      <a:lnTo>
                        <a:pt x="593" y="2328"/>
                      </a:lnTo>
                      <a:lnTo>
                        <a:pt x="608" y="2309"/>
                      </a:lnTo>
                      <a:lnTo>
                        <a:pt x="620" y="2288"/>
                      </a:lnTo>
                      <a:lnTo>
                        <a:pt x="627" y="2265"/>
                      </a:lnTo>
                      <a:lnTo>
                        <a:pt x="629" y="2241"/>
                      </a:lnTo>
                      <a:lnTo>
                        <a:pt x="627" y="2217"/>
                      </a:lnTo>
                      <a:lnTo>
                        <a:pt x="619" y="2193"/>
                      </a:lnTo>
                      <a:lnTo>
                        <a:pt x="607" y="2170"/>
                      </a:lnTo>
                      <a:lnTo>
                        <a:pt x="592" y="2151"/>
                      </a:lnTo>
                      <a:lnTo>
                        <a:pt x="574" y="2136"/>
                      </a:lnTo>
                      <a:lnTo>
                        <a:pt x="552" y="2125"/>
                      </a:lnTo>
                      <a:lnTo>
                        <a:pt x="529" y="2118"/>
                      </a:lnTo>
                      <a:lnTo>
                        <a:pt x="504" y="2116"/>
                      </a:lnTo>
                      <a:lnTo>
                        <a:pt x="179" y="2116"/>
                      </a:lnTo>
                      <a:lnTo>
                        <a:pt x="146" y="2113"/>
                      </a:lnTo>
                      <a:lnTo>
                        <a:pt x="116" y="2104"/>
                      </a:lnTo>
                      <a:lnTo>
                        <a:pt x="88" y="2091"/>
                      </a:lnTo>
                      <a:lnTo>
                        <a:pt x="64" y="2074"/>
                      </a:lnTo>
                      <a:lnTo>
                        <a:pt x="42" y="2053"/>
                      </a:lnTo>
                      <a:lnTo>
                        <a:pt x="24" y="2028"/>
                      </a:lnTo>
                      <a:lnTo>
                        <a:pt x="11" y="1999"/>
                      </a:lnTo>
                      <a:lnTo>
                        <a:pt x="2" y="1970"/>
                      </a:lnTo>
                      <a:lnTo>
                        <a:pt x="0" y="1938"/>
                      </a:lnTo>
                      <a:lnTo>
                        <a:pt x="0" y="1525"/>
                      </a:lnTo>
                      <a:lnTo>
                        <a:pt x="2" y="1492"/>
                      </a:lnTo>
                      <a:lnTo>
                        <a:pt x="11" y="1462"/>
                      </a:lnTo>
                      <a:lnTo>
                        <a:pt x="24" y="1434"/>
                      </a:lnTo>
                      <a:lnTo>
                        <a:pt x="42" y="1410"/>
                      </a:lnTo>
                      <a:lnTo>
                        <a:pt x="64" y="1388"/>
                      </a:lnTo>
                      <a:lnTo>
                        <a:pt x="88" y="1371"/>
                      </a:lnTo>
                      <a:lnTo>
                        <a:pt x="116" y="1357"/>
                      </a:lnTo>
                      <a:lnTo>
                        <a:pt x="146" y="1349"/>
                      </a:lnTo>
                      <a:lnTo>
                        <a:pt x="179" y="1346"/>
                      </a:lnTo>
                      <a:lnTo>
                        <a:pt x="504" y="1346"/>
                      </a:lnTo>
                      <a:lnTo>
                        <a:pt x="529" y="1344"/>
                      </a:lnTo>
                      <a:lnTo>
                        <a:pt x="553" y="1337"/>
                      </a:lnTo>
                      <a:lnTo>
                        <a:pt x="574" y="1326"/>
                      </a:lnTo>
                      <a:lnTo>
                        <a:pt x="593" y="1310"/>
                      </a:lnTo>
                      <a:lnTo>
                        <a:pt x="608" y="1292"/>
                      </a:lnTo>
                      <a:lnTo>
                        <a:pt x="619" y="1270"/>
                      </a:lnTo>
                      <a:lnTo>
                        <a:pt x="627" y="1245"/>
                      </a:lnTo>
                      <a:lnTo>
                        <a:pt x="629" y="1221"/>
                      </a:lnTo>
                      <a:lnTo>
                        <a:pt x="627" y="1198"/>
                      </a:lnTo>
                      <a:lnTo>
                        <a:pt x="620" y="1175"/>
                      </a:lnTo>
                      <a:lnTo>
                        <a:pt x="608" y="1153"/>
                      </a:lnTo>
                      <a:lnTo>
                        <a:pt x="593" y="1133"/>
                      </a:lnTo>
                      <a:lnTo>
                        <a:pt x="362" y="905"/>
                      </a:lnTo>
                      <a:lnTo>
                        <a:pt x="344" y="883"/>
                      </a:lnTo>
                      <a:lnTo>
                        <a:pt x="329" y="860"/>
                      </a:lnTo>
                      <a:lnTo>
                        <a:pt x="318" y="834"/>
                      </a:lnTo>
                      <a:lnTo>
                        <a:pt x="312" y="806"/>
                      </a:lnTo>
                      <a:lnTo>
                        <a:pt x="310" y="779"/>
                      </a:lnTo>
                      <a:lnTo>
                        <a:pt x="312" y="751"/>
                      </a:lnTo>
                      <a:lnTo>
                        <a:pt x="318" y="723"/>
                      </a:lnTo>
                      <a:lnTo>
                        <a:pt x="329" y="698"/>
                      </a:lnTo>
                      <a:lnTo>
                        <a:pt x="344" y="674"/>
                      </a:lnTo>
                      <a:lnTo>
                        <a:pt x="362" y="652"/>
                      </a:lnTo>
                      <a:lnTo>
                        <a:pt x="655" y="360"/>
                      </a:lnTo>
                      <a:lnTo>
                        <a:pt x="680" y="341"/>
                      </a:lnTo>
                      <a:lnTo>
                        <a:pt x="707" y="325"/>
                      </a:lnTo>
                      <a:lnTo>
                        <a:pt x="737" y="315"/>
                      </a:lnTo>
                      <a:lnTo>
                        <a:pt x="766" y="310"/>
                      </a:lnTo>
                      <a:lnTo>
                        <a:pt x="798" y="310"/>
                      </a:lnTo>
                      <a:lnTo>
                        <a:pt x="828" y="315"/>
                      </a:lnTo>
                      <a:lnTo>
                        <a:pt x="858" y="325"/>
                      </a:lnTo>
                      <a:lnTo>
                        <a:pt x="885" y="341"/>
                      </a:lnTo>
                      <a:lnTo>
                        <a:pt x="909" y="360"/>
                      </a:lnTo>
                      <a:lnTo>
                        <a:pt x="1139" y="590"/>
                      </a:lnTo>
                      <a:lnTo>
                        <a:pt x="1158" y="605"/>
                      </a:lnTo>
                      <a:lnTo>
                        <a:pt x="1180" y="617"/>
                      </a:lnTo>
                      <a:lnTo>
                        <a:pt x="1203" y="624"/>
                      </a:lnTo>
                      <a:lnTo>
                        <a:pt x="1226" y="626"/>
                      </a:lnTo>
                      <a:lnTo>
                        <a:pt x="1251" y="624"/>
                      </a:lnTo>
                      <a:lnTo>
                        <a:pt x="1276" y="616"/>
                      </a:lnTo>
                      <a:lnTo>
                        <a:pt x="1298" y="604"/>
                      </a:lnTo>
                      <a:lnTo>
                        <a:pt x="1316" y="589"/>
                      </a:lnTo>
                      <a:lnTo>
                        <a:pt x="1332" y="571"/>
                      </a:lnTo>
                      <a:lnTo>
                        <a:pt x="1343" y="549"/>
                      </a:lnTo>
                      <a:lnTo>
                        <a:pt x="1350" y="526"/>
                      </a:lnTo>
                      <a:lnTo>
                        <a:pt x="1353" y="501"/>
                      </a:lnTo>
                      <a:lnTo>
                        <a:pt x="1353" y="178"/>
                      </a:lnTo>
                      <a:lnTo>
                        <a:pt x="1355" y="145"/>
                      </a:lnTo>
                      <a:lnTo>
                        <a:pt x="1364" y="115"/>
                      </a:lnTo>
                      <a:lnTo>
                        <a:pt x="1377" y="87"/>
                      </a:lnTo>
                      <a:lnTo>
                        <a:pt x="1394" y="63"/>
                      </a:lnTo>
                      <a:lnTo>
                        <a:pt x="1416" y="41"/>
                      </a:lnTo>
                      <a:lnTo>
                        <a:pt x="1441" y="24"/>
                      </a:lnTo>
                      <a:lnTo>
                        <a:pt x="1469" y="10"/>
                      </a:lnTo>
                      <a:lnTo>
                        <a:pt x="1499" y="2"/>
                      </a:lnTo>
                      <a:lnTo>
                        <a:pt x="1532" y="0"/>
                      </a:lnTo>
                      <a:close/>
                    </a:path>
                  </a:pathLst>
                </a:custGeom>
                <a:solidFill>
                  <a:srgbClr val="686C8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62" name="Freeform 334">
                  <a:extLst>
                    <a:ext uri="{FF2B5EF4-FFF2-40B4-BE49-F238E27FC236}">
                      <a16:creationId xmlns:a16="http://schemas.microsoft.com/office/drawing/2014/main" id="{2EFACE52-8A73-0E41-6F1B-3928A4CC291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480506" y="3699758"/>
                  <a:ext cx="168275" cy="166687"/>
                </a:xfrm>
                <a:custGeom>
                  <a:avLst/>
                  <a:gdLst>
                    <a:gd name="T0" fmla="*/ 527 w 1160"/>
                    <a:gd name="T1" fmla="*/ 131 h 1155"/>
                    <a:gd name="T2" fmla="*/ 428 w 1160"/>
                    <a:gd name="T3" fmla="*/ 154 h 1155"/>
                    <a:gd name="T4" fmla="*/ 339 w 1160"/>
                    <a:gd name="T5" fmla="*/ 198 h 1155"/>
                    <a:gd name="T6" fmla="*/ 261 w 1160"/>
                    <a:gd name="T7" fmla="*/ 259 h 1155"/>
                    <a:gd name="T8" fmla="*/ 199 w 1160"/>
                    <a:gd name="T9" fmla="*/ 337 h 1155"/>
                    <a:gd name="T10" fmla="*/ 155 w 1160"/>
                    <a:gd name="T11" fmla="*/ 425 h 1155"/>
                    <a:gd name="T12" fmla="*/ 132 w 1160"/>
                    <a:gd name="T13" fmla="*/ 525 h 1155"/>
                    <a:gd name="T14" fmla="*/ 132 w 1160"/>
                    <a:gd name="T15" fmla="*/ 630 h 1155"/>
                    <a:gd name="T16" fmla="*/ 155 w 1160"/>
                    <a:gd name="T17" fmla="*/ 728 h 1155"/>
                    <a:gd name="T18" fmla="*/ 199 w 1160"/>
                    <a:gd name="T19" fmla="*/ 818 h 1155"/>
                    <a:gd name="T20" fmla="*/ 261 w 1160"/>
                    <a:gd name="T21" fmla="*/ 894 h 1155"/>
                    <a:gd name="T22" fmla="*/ 339 w 1160"/>
                    <a:gd name="T23" fmla="*/ 956 h 1155"/>
                    <a:gd name="T24" fmla="*/ 428 w 1160"/>
                    <a:gd name="T25" fmla="*/ 999 h 1155"/>
                    <a:gd name="T26" fmla="*/ 527 w 1160"/>
                    <a:gd name="T27" fmla="*/ 1022 h 1155"/>
                    <a:gd name="T28" fmla="*/ 633 w 1160"/>
                    <a:gd name="T29" fmla="*/ 1022 h 1155"/>
                    <a:gd name="T30" fmla="*/ 732 w 1160"/>
                    <a:gd name="T31" fmla="*/ 999 h 1155"/>
                    <a:gd name="T32" fmla="*/ 822 w 1160"/>
                    <a:gd name="T33" fmla="*/ 956 h 1155"/>
                    <a:gd name="T34" fmla="*/ 899 w 1160"/>
                    <a:gd name="T35" fmla="*/ 894 h 1155"/>
                    <a:gd name="T36" fmla="*/ 960 w 1160"/>
                    <a:gd name="T37" fmla="*/ 818 h 1155"/>
                    <a:gd name="T38" fmla="*/ 1004 w 1160"/>
                    <a:gd name="T39" fmla="*/ 728 h 1155"/>
                    <a:gd name="T40" fmla="*/ 1027 w 1160"/>
                    <a:gd name="T41" fmla="*/ 630 h 1155"/>
                    <a:gd name="T42" fmla="*/ 1027 w 1160"/>
                    <a:gd name="T43" fmla="*/ 525 h 1155"/>
                    <a:gd name="T44" fmla="*/ 1004 w 1160"/>
                    <a:gd name="T45" fmla="*/ 425 h 1155"/>
                    <a:gd name="T46" fmla="*/ 960 w 1160"/>
                    <a:gd name="T47" fmla="*/ 337 h 1155"/>
                    <a:gd name="T48" fmla="*/ 899 w 1160"/>
                    <a:gd name="T49" fmla="*/ 259 h 1155"/>
                    <a:gd name="T50" fmla="*/ 822 w 1160"/>
                    <a:gd name="T51" fmla="*/ 198 h 1155"/>
                    <a:gd name="T52" fmla="*/ 732 w 1160"/>
                    <a:gd name="T53" fmla="*/ 154 h 1155"/>
                    <a:gd name="T54" fmla="*/ 633 w 1160"/>
                    <a:gd name="T55" fmla="*/ 131 h 1155"/>
                    <a:gd name="T56" fmla="*/ 580 w 1160"/>
                    <a:gd name="T57" fmla="*/ 0 h 1155"/>
                    <a:gd name="T58" fmla="*/ 704 w 1160"/>
                    <a:gd name="T59" fmla="*/ 13 h 1155"/>
                    <a:gd name="T60" fmla="*/ 820 w 1160"/>
                    <a:gd name="T61" fmla="*/ 51 h 1155"/>
                    <a:gd name="T62" fmla="*/ 922 w 1160"/>
                    <a:gd name="T63" fmla="*/ 112 h 1155"/>
                    <a:gd name="T64" fmla="*/ 1011 w 1160"/>
                    <a:gd name="T65" fmla="*/ 190 h 1155"/>
                    <a:gd name="T66" fmla="*/ 1081 w 1160"/>
                    <a:gd name="T67" fmla="*/ 285 h 1155"/>
                    <a:gd name="T68" fmla="*/ 1130 w 1160"/>
                    <a:gd name="T69" fmla="*/ 395 h 1155"/>
                    <a:gd name="T70" fmla="*/ 1157 w 1160"/>
                    <a:gd name="T71" fmla="*/ 514 h 1155"/>
                    <a:gd name="T72" fmla="*/ 1157 w 1160"/>
                    <a:gd name="T73" fmla="*/ 640 h 1155"/>
                    <a:gd name="T74" fmla="*/ 1130 w 1160"/>
                    <a:gd name="T75" fmla="*/ 759 h 1155"/>
                    <a:gd name="T76" fmla="*/ 1081 w 1160"/>
                    <a:gd name="T77" fmla="*/ 868 h 1155"/>
                    <a:gd name="T78" fmla="*/ 1011 w 1160"/>
                    <a:gd name="T79" fmla="*/ 963 h 1155"/>
                    <a:gd name="T80" fmla="*/ 922 w 1160"/>
                    <a:gd name="T81" fmla="*/ 1043 h 1155"/>
                    <a:gd name="T82" fmla="*/ 820 w 1160"/>
                    <a:gd name="T83" fmla="*/ 1103 h 1155"/>
                    <a:gd name="T84" fmla="*/ 704 w 1160"/>
                    <a:gd name="T85" fmla="*/ 1142 h 1155"/>
                    <a:gd name="T86" fmla="*/ 580 w 1160"/>
                    <a:gd name="T87" fmla="*/ 1155 h 1155"/>
                    <a:gd name="T88" fmla="*/ 456 w 1160"/>
                    <a:gd name="T89" fmla="*/ 1142 h 1155"/>
                    <a:gd name="T90" fmla="*/ 341 w 1160"/>
                    <a:gd name="T91" fmla="*/ 1103 h 1155"/>
                    <a:gd name="T92" fmla="*/ 238 w 1160"/>
                    <a:gd name="T93" fmla="*/ 1043 h 1155"/>
                    <a:gd name="T94" fmla="*/ 150 w 1160"/>
                    <a:gd name="T95" fmla="*/ 963 h 1155"/>
                    <a:gd name="T96" fmla="*/ 79 w 1160"/>
                    <a:gd name="T97" fmla="*/ 868 h 1155"/>
                    <a:gd name="T98" fmla="*/ 29 w 1160"/>
                    <a:gd name="T99" fmla="*/ 759 h 1155"/>
                    <a:gd name="T100" fmla="*/ 4 w 1160"/>
                    <a:gd name="T101" fmla="*/ 640 h 1155"/>
                    <a:gd name="T102" fmla="*/ 4 w 1160"/>
                    <a:gd name="T103" fmla="*/ 514 h 1155"/>
                    <a:gd name="T104" fmla="*/ 29 w 1160"/>
                    <a:gd name="T105" fmla="*/ 395 h 1155"/>
                    <a:gd name="T106" fmla="*/ 79 w 1160"/>
                    <a:gd name="T107" fmla="*/ 285 h 1155"/>
                    <a:gd name="T108" fmla="*/ 150 w 1160"/>
                    <a:gd name="T109" fmla="*/ 190 h 1155"/>
                    <a:gd name="T110" fmla="*/ 238 w 1160"/>
                    <a:gd name="T111" fmla="*/ 112 h 1155"/>
                    <a:gd name="T112" fmla="*/ 341 w 1160"/>
                    <a:gd name="T113" fmla="*/ 51 h 1155"/>
                    <a:gd name="T114" fmla="*/ 456 w 1160"/>
                    <a:gd name="T115" fmla="*/ 13 h 1155"/>
                    <a:gd name="T116" fmla="*/ 580 w 1160"/>
                    <a:gd name="T117" fmla="*/ 0 h 11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160" h="1155">
                      <a:moveTo>
                        <a:pt x="580" y="128"/>
                      </a:moveTo>
                      <a:lnTo>
                        <a:pt x="527" y="131"/>
                      </a:lnTo>
                      <a:lnTo>
                        <a:pt x="477" y="140"/>
                      </a:lnTo>
                      <a:lnTo>
                        <a:pt x="428" y="154"/>
                      </a:lnTo>
                      <a:lnTo>
                        <a:pt x="381" y="174"/>
                      </a:lnTo>
                      <a:lnTo>
                        <a:pt x="339" y="198"/>
                      </a:lnTo>
                      <a:lnTo>
                        <a:pt x="298" y="226"/>
                      </a:lnTo>
                      <a:lnTo>
                        <a:pt x="261" y="259"/>
                      </a:lnTo>
                      <a:lnTo>
                        <a:pt x="228" y="296"/>
                      </a:lnTo>
                      <a:lnTo>
                        <a:pt x="199" y="337"/>
                      </a:lnTo>
                      <a:lnTo>
                        <a:pt x="175" y="379"/>
                      </a:lnTo>
                      <a:lnTo>
                        <a:pt x="155" y="425"/>
                      </a:lnTo>
                      <a:lnTo>
                        <a:pt x="141" y="475"/>
                      </a:lnTo>
                      <a:lnTo>
                        <a:pt x="132" y="525"/>
                      </a:lnTo>
                      <a:lnTo>
                        <a:pt x="129" y="577"/>
                      </a:lnTo>
                      <a:lnTo>
                        <a:pt x="132" y="630"/>
                      </a:lnTo>
                      <a:lnTo>
                        <a:pt x="141" y="680"/>
                      </a:lnTo>
                      <a:lnTo>
                        <a:pt x="155" y="728"/>
                      </a:lnTo>
                      <a:lnTo>
                        <a:pt x="175" y="774"/>
                      </a:lnTo>
                      <a:lnTo>
                        <a:pt x="199" y="818"/>
                      </a:lnTo>
                      <a:lnTo>
                        <a:pt x="228" y="857"/>
                      </a:lnTo>
                      <a:lnTo>
                        <a:pt x="261" y="894"/>
                      </a:lnTo>
                      <a:lnTo>
                        <a:pt x="298" y="927"/>
                      </a:lnTo>
                      <a:lnTo>
                        <a:pt x="339" y="956"/>
                      </a:lnTo>
                      <a:lnTo>
                        <a:pt x="381" y="980"/>
                      </a:lnTo>
                      <a:lnTo>
                        <a:pt x="428" y="999"/>
                      </a:lnTo>
                      <a:lnTo>
                        <a:pt x="477" y="1014"/>
                      </a:lnTo>
                      <a:lnTo>
                        <a:pt x="527" y="1022"/>
                      </a:lnTo>
                      <a:lnTo>
                        <a:pt x="580" y="1026"/>
                      </a:lnTo>
                      <a:lnTo>
                        <a:pt x="633" y="1022"/>
                      </a:lnTo>
                      <a:lnTo>
                        <a:pt x="683" y="1014"/>
                      </a:lnTo>
                      <a:lnTo>
                        <a:pt x="732" y="999"/>
                      </a:lnTo>
                      <a:lnTo>
                        <a:pt x="778" y="980"/>
                      </a:lnTo>
                      <a:lnTo>
                        <a:pt x="822" y="956"/>
                      </a:lnTo>
                      <a:lnTo>
                        <a:pt x="861" y="927"/>
                      </a:lnTo>
                      <a:lnTo>
                        <a:pt x="899" y="894"/>
                      </a:lnTo>
                      <a:lnTo>
                        <a:pt x="932" y="857"/>
                      </a:lnTo>
                      <a:lnTo>
                        <a:pt x="960" y="818"/>
                      </a:lnTo>
                      <a:lnTo>
                        <a:pt x="984" y="774"/>
                      </a:lnTo>
                      <a:lnTo>
                        <a:pt x="1004" y="728"/>
                      </a:lnTo>
                      <a:lnTo>
                        <a:pt x="1018" y="680"/>
                      </a:lnTo>
                      <a:lnTo>
                        <a:pt x="1027" y="630"/>
                      </a:lnTo>
                      <a:lnTo>
                        <a:pt x="1030" y="577"/>
                      </a:lnTo>
                      <a:lnTo>
                        <a:pt x="1027" y="525"/>
                      </a:lnTo>
                      <a:lnTo>
                        <a:pt x="1018" y="475"/>
                      </a:lnTo>
                      <a:lnTo>
                        <a:pt x="1004" y="425"/>
                      </a:lnTo>
                      <a:lnTo>
                        <a:pt x="984" y="379"/>
                      </a:lnTo>
                      <a:lnTo>
                        <a:pt x="960" y="337"/>
                      </a:lnTo>
                      <a:lnTo>
                        <a:pt x="932" y="296"/>
                      </a:lnTo>
                      <a:lnTo>
                        <a:pt x="899" y="259"/>
                      </a:lnTo>
                      <a:lnTo>
                        <a:pt x="861" y="226"/>
                      </a:lnTo>
                      <a:lnTo>
                        <a:pt x="822" y="198"/>
                      </a:lnTo>
                      <a:lnTo>
                        <a:pt x="778" y="174"/>
                      </a:lnTo>
                      <a:lnTo>
                        <a:pt x="732" y="154"/>
                      </a:lnTo>
                      <a:lnTo>
                        <a:pt x="683" y="140"/>
                      </a:lnTo>
                      <a:lnTo>
                        <a:pt x="633" y="131"/>
                      </a:lnTo>
                      <a:lnTo>
                        <a:pt x="580" y="128"/>
                      </a:lnTo>
                      <a:close/>
                      <a:moveTo>
                        <a:pt x="580" y="0"/>
                      </a:moveTo>
                      <a:lnTo>
                        <a:pt x="643" y="3"/>
                      </a:lnTo>
                      <a:lnTo>
                        <a:pt x="704" y="13"/>
                      </a:lnTo>
                      <a:lnTo>
                        <a:pt x="762" y="28"/>
                      </a:lnTo>
                      <a:lnTo>
                        <a:pt x="820" y="51"/>
                      </a:lnTo>
                      <a:lnTo>
                        <a:pt x="872" y="79"/>
                      </a:lnTo>
                      <a:lnTo>
                        <a:pt x="922" y="112"/>
                      </a:lnTo>
                      <a:lnTo>
                        <a:pt x="968" y="149"/>
                      </a:lnTo>
                      <a:lnTo>
                        <a:pt x="1011" y="190"/>
                      </a:lnTo>
                      <a:lnTo>
                        <a:pt x="1048" y="236"/>
                      </a:lnTo>
                      <a:lnTo>
                        <a:pt x="1081" y="285"/>
                      </a:lnTo>
                      <a:lnTo>
                        <a:pt x="1108" y="339"/>
                      </a:lnTo>
                      <a:lnTo>
                        <a:pt x="1130" y="395"/>
                      </a:lnTo>
                      <a:lnTo>
                        <a:pt x="1147" y="454"/>
                      </a:lnTo>
                      <a:lnTo>
                        <a:pt x="1157" y="514"/>
                      </a:lnTo>
                      <a:lnTo>
                        <a:pt x="1160" y="577"/>
                      </a:lnTo>
                      <a:lnTo>
                        <a:pt x="1157" y="640"/>
                      </a:lnTo>
                      <a:lnTo>
                        <a:pt x="1147" y="701"/>
                      </a:lnTo>
                      <a:lnTo>
                        <a:pt x="1130" y="759"/>
                      </a:lnTo>
                      <a:lnTo>
                        <a:pt x="1108" y="816"/>
                      </a:lnTo>
                      <a:lnTo>
                        <a:pt x="1081" y="868"/>
                      </a:lnTo>
                      <a:lnTo>
                        <a:pt x="1048" y="917"/>
                      </a:lnTo>
                      <a:lnTo>
                        <a:pt x="1011" y="963"/>
                      </a:lnTo>
                      <a:lnTo>
                        <a:pt x="968" y="1006"/>
                      </a:lnTo>
                      <a:lnTo>
                        <a:pt x="922" y="1043"/>
                      </a:lnTo>
                      <a:lnTo>
                        <a:pt x="872" y="1076"/>
                      </a:lnTo>
                      <a:lnTo>
                        <a:pt x="820" y="1103"/>
                      </a:lnTo>
                      <a:lnTo>
                        <a:pt x="762" y="1125"/>
                      </a:lnTo>
                      <a:lnTo>
                        <a:pt x="704" y="1142"/>
                      </a:lnTo>
                      <a:lnTo>
                        <a:pt x="643" y="1151"/>
                      </a:lnTo>
                      <a:lnTo>
                        <a:pt x="580" y="1155"/>
                      </a:lnTo>
                      <a:lnTo>
                        <a:pt x="516" y="1151"/>
                      </a:lnTo>
                      <a:lnTo>
                        <a:pt x="456" y="1142"/>
                      </a:lnTo>
                      <a:lnTo>
                        <a:pt x="397" y="1125"/>
                      </a:lnTo>
                      <a:lnTo>
                        <a:pt x="341" y="1103"/>
                      </a:lnTo>
                      <a:lnTo>
                        <a:pt x="287" y="1076"/>
                      </a:lnTo>
                      <a:lnTo>
                        <a:pt x="238" y="1043"/>
                      </a:lnTo>
                      <a:lnTo>
                        <a:pt x="191" y="1006"/>
                      </a:lnTo>
                      <a:lnTo>
                        <a:pt x="150" y="963"/>
                      </a:lnTo>
                      <a:lnTo>
                        <a:pt x="112" y="917"/>
                      </a:lnTo>
                      <a:lnTo>
                        <a:pt x="79" y="868"/>
                      </a:lnTo>
                      <a:lnTo>
                        <a:pt x="52" y="816"/>
                      </a:lnTo>
                      <a:lnTo>
                        <a:pt x="29" y="759"/>
                      </a:lnTo>
                      <a:lnTo>
                        <a:pt x="14" y="701"/>
                      </a:lnTo>
                      <a:lnTo>
                        <a:pt x="4" y="640"/>
                      </a:lnTo>
                      <a:lnTo>
                        <a:pt x="0" y="577"/>
                      </a:lnTo>
                      <a:lnTo>
                        <a:pt x="4" y="514"/>
                      </a:lnTo>
                      <a:lnTo>
                        <a:pt x="14" y="454"/>
                      </a:lnTo>
                      <a:lnTo>
                        <a:pt x="29" y="395"/>
                      </a:lnTo>
                      <a:lnTo>
                        <a:pt x="52" y="339"/>
                      </a:lnTo>
                      <a:lnTo>
                        <a:pt x="79" y="285"/>
                      </a:lnTo>
                      <a:lnTo>
                        <a:pt x="112" y="236"/>
                      </a:lnTo>
                      <a:lnTo>
                        <a:pt x="150" y="190"/>
                      </a:lnTo>
                      <a:lnTo>
                        <a:pt x="191" y="149"/>
                      </a:lnTo>
                      <a:lnTo>
                        <a:pt x="238" y="112"/>
                      </a:lnTo>
                      <a:lnTo>
                        <a:pt x="287" y="79"/>
                      </a:lnTo>
                      <a:lnTo>
                        <a:pt x="341" y="51"/>
                      </a:lnTo>
                      <a:lnTo>
                        <a:pt x="397" y="28"/>
                      </a:lnTo>
                      <a:lnTo>
                        <a:pt x="456" y="13"/>
                      </a:lnTo>
                      <a:lnTo>
                        <a:pt x="516" y="3"/>
                      </a:lnTo>
                      <a:lnTo>
                        <a:pt x="580" y="0"/>
                      </a:lnTo>
                      <a:close/>
                    </a:path>
                  </a:pathLst>
                </a:custGeom>
                <a:solidFill>
                  <a:srgbClr val="686C8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</p:grpSp>
          <p:grpSp>
            <p:nvGrpSpPr>
              <p:cNvPr id="58" name="Group 421">
                <a:extLst>
                  <a:ext uri="{FF2B5EF4-FFF2-40B4-BE49-F238E27FC236}">
                    <a16:creationId xmlns:a16="http://schemas.microsoft.com/office/drawing/2014/main" id="{AD7BB833-DD3D-A633-F789-AC7F929C1C36}"/>
                  </a:ext>
                </a:extLst>
              </p:cNvPr>
              <p:cNvGrpSpPr/>
              <p:nvPr/>
            </p:nvGrpSpPr>
            <p:grpSpPr>
              <a:xfrm>
                <a:off x="4848845" y="-2184809"/>
                <a:ext cx="498567" cy="496990"/>
                <a:chOff x="6315717" y="3538390"/>
                <a:chExt cx="501650" cy="500063"/>
              </a:xfrm>
              <a:solidFill>
                <a:schemeClr val="tx1"/>
              </a:solidFill>
            </p:grpSpPr>
            <p:sp>
              <p:nvSpPr>
                <p:cNvPr id="59" name="Freeform 333">
                  <a:extLst>
                    <a:ext uri="{FF2B5EF4-FFF2-40B4-BE49-F238E27FC236}">
                      <a16:creationId xmlns:a16="http://schemas.microsoft.com/office/drawing/2014/main" id="{51B73833-A747-46AF-6EA5-45CF9F9CB26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315717" y="3538390"/>
                  <a:ext cx="501650" cy="500063"/>
                </a:xfrm>
                <a:custGeom>
                  <a:avLst/>
                  <a:gdLst>
                    <a:gd name="T0" fmla="*/ 1478 w 3478"/>
                    <a:gd name="T1" fmla="*/ 540 h 3463"/>
                    <a:gd name="T2" fmla="*/ 1288 w 3478"/>
                    <a:gd name="T3" fmla="*/ 747 h 3463"/>
                    <a:gd name="T4" fmla="*/ 818 w 3478"/>
                    <a:gd name="T5" fmla="*/ 451 h 3463"/>
                    <a:gd name="T6" fmla="*/ 439 w 3478"/>
                    <a:gd name="T7" fmla="*/ 770 h 3463"/>
                    <a:gd name="T8" fmla="*/ 754 w 3478"/>
                    <a:gd name="T9" fmla="*/ 1173 h 3463"/>
                    <a:gd name="T10" fmla="*/ 646 w 3478"/>
                    <a:gd name="T11" fmla="*/ 1433 h 3463"/>
                    <a:gd name="T12" fmla="*/ 138 w 3478"/>
                    <a:gd name="T13" fmla="*/ 1495 h 3463"/>
                    <a:gd name="T14" fmla="*/ 179 w 3478"/>
                    <a:gd name="T15" fmla="*/ 1987 h 3463"/>
                    <a:gd name="T16" fmla="*/ 721 w 3478"/>
                    <a:gd name="T17" fmla="*/ 2110 h 3463"/>
                    <a:gd name="T18" fmla="*/ 709 w 3478"/>
                    <a:gd name="T19" fmla="*/ 2390 h 3463"/>
                    <a:gd name="T20" fmla="*/ 747 w 3478"/>
                    <a:gd name="T21" fmla="*/ 3011 h 3463"/>
                    <a:gd name="T22" fmla="*/ 1101 w 3478"/>
                    <a:gd name="T23" fmla="*/ 2740 h 3463"/>
                    <a:gd name="T24" fmla="*/ 1359 w 3478"/>
                    <a:gd name="T25" fmla="*/ 2744 h 3463"/>
                    <a:gd name="T26" fmla="*/ 1481 w 3478"/>
                    <a:gd name="T27" fmla="*/ 3285 h 3463"/>
                    <a:gd name="T28" fmla="*/ 1976 w 3478"/>
                    <a:gd name="T29" fmla="*/ 3325 h 3463"/>
                    <a:gd name="T30" fmla="*/ 2039 w 3478"/>
                    <a:gd name="T31" fmla="*/ 2819 h 3463"/>
                    <a:gd name="T32" fmla="*/ 2300 w 3478"/>
                    <a:gd name="T33" fmla="*/ 2712 h 3463"/>
                    <a:gd name="T34" fmla="*/ 2703 w 3478"/>
                    <a:gd name="T35" fmla="*/ 3025 h 3463"/>
                    <a:gd name="T36" fmla="*/ 3024 w 3478"/>
                    <a:gd name="T37" fmla="*/ 2649 h 3463"/>
                    <a:gd name="T38" fmla="*/ 2727 w 3478"/>
                    <a:gd name="T39" fmla="*/ 2180 h 3463"/>
                    <a:gd name="T40" fmla="*/ 2935 w 3478"/>
                    <a:gd name="T41" fmla="*/ 1990 h 3463"/>
                    <a:gd name="T42" fmla="*/ 3349 w 3478"/>
                    <a:gd name="T43" fmla="*/ 1525 h 3463"/>
                    <a:gd name="T44" fmla="*/ 2899 w 3478"/>
                    <a:gd name="T45" fmla="*/ 1463 h 3463"/>
                    <a:gd name="T46" fmla="*/ 2721 w 3478"/>
                    <a:gd name="T47" fmla="*/ 1245 h 3463"/>
                    <a:gd name="T48" fmla="*/ 3034 w 3478"/>
                    <a:gd name="T49" fmla="*/ 801 h 3463"/>
                    <a:gd name="T50" fmla="*/ 2688 w 3478"/>
                    <a:gd name="T51" fmla="*/ 437 h 3463"/>
                    <a:gd name="T52" fmla="*/ 2264 w 3478"/>
                    <a:gd name="T53" fmla="*/ 755 h 3463"/>
                    <a:gd name="T54" fmla="*/ 2020 w 3478"/>
                    <a:gd name="T55" fmla="*/ 611 h 3463"/>
                    <a:gd name="T56" fmla="*/ 1962 w 3478"/>
                    <a:gd name="T57" fmla="*/ 130 h 3463"/>
                    <a:gd name="T58" fmla="*/ 2062 w 3478"/>
                    <a:gd name="T59" fmla="*/ 41 h 3463"/>
                    <a:gd name="T60" fmla="*/ 2134 w 3478"/>
                    <a:gd name="T61" fmla="*/ 549 h 3463"/>
                    <a:gd name="T62" fmla="*/ 2298 w 3478"/>
                    <a:gd name="T63" fmla="*/ 617 h 3463"/>
                    <a:gd name="T64" fmla="*/ 2711 w 3478"/>
                    <a:gd name="T65" fmla="*/ 310 h 3463"/>
                    <a:gd name="T66" fmla="*/ 3159 w 3478"/>
                    <a:gd name="T67" fmla="*/ 723 h 3463"/>
                    <a:gd name="T68" fmla="*/ 2885 w 3478"/>
                    <a:gd name="T69" fmla="*/ 1133 h 3463"/>
                    <a:gd name="T70" fmla="*/ 2885 w 3478"/>
                    <a:gd name="T71" fmla="*/ 1310 h 3463"/>
                    <a:gd name="T72" fmla="*/ 3389 w 3478"/>
                    <a:gd name="T73" fmla="*/ 1371 h 3463"/>
                    <a:gd name="T74" fmla="*/ 3475 w 3478"/>
                    <a:gd name="T75" fmla="*/ 1970 h 3463"/>
                    <a:gd name="T76" fmla="*/ 3299 w 3478"/>
                    <a:gd name="T77" fmla="*/ 2116 h 3463"/>
                    <a:gd name="T78" fmla="*/ 2850 w 3478"/>
                    <a:gd name="T79" fmla="*/ 2217 h 3463"/>
                    <a:gd name="T80" fmla="*/ 3148 w 3478"/>
                    <a:gd name="T81" fmla="*/ 2603 h 3463"/>
                    <a:gd name="T82" fmla="*/ 3115 w 3478"/>
                    <a:gd name="T83" fmla="*/ 2809 h 3463"/>
                    <a:gd name="T84" fmla="*/ 2620 w 3478"/>
                    <a:gd name="T85" fmla="*/ 3136 h 3463"/>
                    <a:gd name="T86" fmla="*/ 2227 w 3478"/>
                    <a:gd name="T87" fmla="*/ 2838 h 3463"/>
                    <a:gd name="T88" fmla="*/ 2126 w 3478"/>
                    <a:gd name="T89" fmla="*/ 3285 h 3463"/>
                    <a:gd name="T90" fmla="*/ 1979 w 3478"/>
                    <a:gd name="T91" fmla="*/ 3460 h 3463"/>
                    <a:gd name="T92" fmla="*/ 1377 w 3478"/>
                    <a:gd name="T93" fmla="*/ 3375 h 3463"/>
                    <a:gd name="T94" fmla="*/ 1316 w 3478"/>
                    <a:gd name="T95" fmla="*/ 2873 h 3463"/>
                    <a:gd name="T96" fmla="*/ 1139 w 3478"/>
                    <a:gd name="T97" fmla="*/ 2873 h 3463"/>
                    <a:gd name="T98" fmla="*/ 707 w 3478"/>
                    <a:gd name="T99" fmla="*/ 3136 h 3463"/>
                    <a:gd name="T100" fmla="*/ 310 w 3478"/>
                    <a:gd name="T101" fmla="*/ 2684 h 3463"/>
                    <a:gd name="T102" fmla="*/ 620 w 3478"/>
                    <a:gd name="T103" fmla="*/ 2288 h 3463"/>
                    <a:gd name="T104" fmla="*/ 552 w 3478"/>
                    <a:gd name="T105" fmla="*/ 2125 h 3463"/>
                    <a:gd name="T106" fmla="*/ 42 w 3478"/>
                    <a:gd name="T107" fmla="*/ 2053 h 3463"/>
                    <a:gd name="T108" fmla="*/ 24 w 3478"/>
                    <a:gd name="T109" fmla="*/ 1434 h 3463"/>
                    <a:gd name="T110" fmla="*/ 529 w 3478"/>
                    <a:gd name="T111" fmla="*/ 1344 h 3463"/>
                    <a:gd name="T112" fmla="*/ 627 w 3478"/>
                    <a:gd name="T113" fmla="*/ 1198 h 3463"/>
                    <a:gd name="T114" fmla="*/ 312 w 3478"/>
                    <a:gd name="T115" fmla="*/ 806 h 3463"/>
                    <a:gd name="T116" fmla="*/ 680 w 3478"/>
                    <a:gd name="T117" fmla="*/ 341 h 3463"/>
                    <a:gd name="T118" fmla="*/ 909 w 3478"/>
                    <a:gd name="T119" fmla="*/ 360 h 3463"/>
                    <a:gd name="T120" fmla="*/ 1298 w 3478"/>
                    <a:gd name="T121" fmla="*/ 604 h 3463"/>
                    <a:gd name="T122" fmla="*/ 1364 w 3478"/>
                    <a:gd name="T123" fmla="*/ 115 h 34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3478" h="3463">
                      <a:moveTo>
                        <a:pt x="1532" y="127"/>
                      </a:moveTo>
                      <a:lnTo>
                        <a:pt x="1515" y="130"/>
                      </a:lnTo>
                      <a:lnTo>
                        <a:pt x="1502" y="137"/>
                      </a:lnTo>
                      <a:lnTo>
                        <a:pt x="1491" y="148"/>
                      </a:lnTo>
                      <a:lnTo>
                        <a:pt x="1483" y="161"/>
                      </a:lnTo>
                      <a:lnTo>
                        <a:pt x="1481" y="178"/>
                      </a:lnTo>
                      <a:lnTo>
                        <a:pt x="1481" y="501"/>
                      </a:lnTo>
                      <a:lnTo>
                        <a:pt x="1478" y="540"/>
                      </a:lnTo>
                      <a:lnTo>
                        <a:pt x="1470" y="577"/>
                      </a:lnTo>
                      <a:lnTo>
                        <a:pt x="1457" y="611"/>
                      </a:lnTo>
                      <a:lnTo>
                        <a:pt x="1439" y="642"/>
                      </a:lnTo>
                      <a:lnTo>
                        <a:pt x="1416" y="671"/>
                      </a:lnTo>
                      <a:lnTo>
                        <a:pt x="1390" y="696"/>
                      </a:lnTo>
                      <a:lnTo>
                        <a:pt x="1359" y="718"/>
                      </a:lnTo>
                      <a:lnTo>
                        <a:pt x="1324" y="735"/>
                      </a:lnTo>
                      <a:lnTo>
                        <a:pt x="1288" y="747"/>
                      </a:lnTo>
                      <a:lnTo>
                        <a:pt x="1251" y="754"/>
                      </a:lnTo>
                      <a:lnTo>
                        <a:pt x="1214" y="755"/>
                      </a:lnTo>
                      <a:lnTo>
                        <a:pt x="1178" y="750"/>
                      </a:lnTo>
                      <a:lnTo>
                        <a:pt x="1143" y="741"/>
                      </a:lnTo>
                      <a:lnTo>
                        <a:pt x="1109" y="725"/>
                      </a:lnTo>
                      <a:lnTo>
                        <a:pt x="1077" y="705"/>
                      </a:lnTo>
                      <a:lnTo>
                        <a:pt x="1047" y="680"/>
                      </a:lnTo>
                      <a:lnTo>
                        <a:pt x="818" y="451"/>
                      </a:lnTo>
                      <a:lnTo>
                        <a:pt x="805" y="442"/>
                      </a:lnTo>
                      <a:lnTo>
                        <a:pt x="791" y="437"/>
                      </a:lnTo>
                      <a:lnTo>
                        <a:pt x="774" y="437"/>
                      </a:lnTo>
                      <a:lnTo>
                        <a:pt x="760" y="442"/>
                      </a:lnTo>
                      <a:lnTo>
                        <a:pt x="747" y="451"/>
                      </a:lnTo>
                      <a:lnTo>
                        <a:pt x="453" y="743"/>
                      </a:lnTo>
                      <a:lnTo>
                        <a:pt x="445" y="756"/>
                      </a:lnTo>
                      <a:lnTo>
                        <a:pt x="439" y="770"/>
                      </a:lnTo>
                      <a:lnTo>
                        <a:pt x="439" y="787"/>
                      </a:lnTo>
                      <a:lnTo>
                        <a:pt x="445" y="801"/>
                      </a:lnTo>
                      <a:lnTo>
                        <a:pt x="453" y="814"/>
                      </a:lnTo>
                      <a:lnTo>
                        <a:pt x="684" y="1043"/>
                      </a:lnTo>
                      <a:lnTo>
                        <a:pt x="709" y="1072"/>
                      </a:lnTo>
                      <a:lnTo>
                        <a:pt x="729" y="1104"/>
                      </a:lnTo>
                      <a:lnTo>
                        <a:pt x="744" y="1137"/>
                      </a:lnTo>
                      <a:lnTo>
                        <a:pt x="754" y="1173"/>
                      </a:lnTo>
                      <a:lnTo>
                        <a:pt x="759" y="1209"/>
                      </a:lnTo>
                      <a:lnTo>
                        <a:pt x="758" y="1245"/>
                      </a:lnTo>
                      <a:lnTo>
                        <a:pt x="751" y="1282"/>
                      </a:lnTo>
                      <a:lnTo>
                        <a:pt x="739" y="1318"/>
                      </a:lnTo>
                      <a:lnTo>
                        <a:pt x="721" y="1353"/>
                      </a:lnTo>
                      <a:lnTo>
                        <a:pt x="699" y="1384"/>
                      </a:lnTo>
                      <a:lnTo>
                        <a:pt x="674" y="1410"/>
                      </a:lnTo>
                      <a:lnTo>
                        <a:pt x="646" y="1433"/>
                      </a:lnTo>
                      <a:lnTo>
                        <a:pt x="614" y="1450"/>
                      </a:lnTo>
                      <a:lnTo>
                        <a:pt x="580" y="1463"/>
                      </a:lnTo>
                      <a:lnTo>
                        <a:pt x="542" y="1471"/>
                      </a:lnTo>
                      <a:lnTo>
                        <a:pt x="504" y="1474"/>
                      </a:lnTo>
                      <a:lnTo>
                        <a:pt x="179" y="1474"/>
                      </a:lnTo>
                      <a:lnTo>
                        <a:pt x="162" y="1477"/>
                      </a:lnTo>
                      <a:lnTo>
                        <a:pt x="149" y="1484"/>
                      </a:lnTo>
                      <a:lnTo>
                        <a:pt x="138" y="1495"/>
                      </a:lnTo>
                      <a:lnTo>
                        <a:pt x="131" y="1508"/>
                      </a:lnTo>
                      <a:lnTo>
                        <a:pt x="128" y="1525"/>
                      </a:lnTo>
                      <a:lnTo>
                        <a:pt x="128" y="1938"/>
                      </a:lnTo>
                      <a:lnTo>
                        <a:pt x="131" y="1953"/>
                      </a:lnTo>
                      <a:lnTo>
                        <a:pt x="138" y="1968"/>
                      </a:lnTo>
                      <a:lnTo>
                        <a:pt x="149" y="1978"/>
                      </a:lnTo>
                      <a:lnTo>
                        <a:pt x="162" y="1985"/>
                      </a:lnTo>
                      <a:lnTo>
                        <a:pt x="179" y="1987"/>
                      </a:lnTo>
                      <a:lnTo>
                        <a:pt x="504" y="1987"/>
                      </a:lnTo>
                      <a:lnTo>
                        <a:pt x="542" y="1990"/>
                      </a:lnTo>
                      <a:lnTo>
                        <a:pt x="580" y="1998"/>
                      </a:lnTo>
                      <a:lnTo>
                        <a:pt x="614" y="2011"/>
                      </a:lnTo>
                      <a:lnTo>
                        <a:pt x="646" y="2030"/>
                      </a:lnTo>
                      <a:lnTo>
                        <a:pt x="674" y="2052"/>
                      </a:lnTo>
                      <a:lnTo>
                        <a:pt x="699" y="2079"/>
                      </a:lnTo>
                      <a:lnTo>
                        <a:pt x="721" y="2110"/>
                      </a:lnTo>
                      <a:lnTo>
                        <a:pt x="739" y="2144"/>
                      </a:lnTo>
                      <a:lnTo>
                        <a:pt x="751" y="2180"/>
                      </a:lnTo>
                      <a:lnTo>
                        <a:pt x="758" y="2217"/>
                      </a:lnTo>
                      <a:lnTo>
                        <a:pt x="759" y="2254"/>
                      </a:lnTo>
                      <a:lnTo>
                        <a:pt x="754" y="2290"/>
                      </a:lnTo>
                      <a:lnTo>
                        <a:pt x="744" y="2325"/>
                      </a:lnTo>
                      <a:lnTo>
                        <a:pt x="729" y="2358"/>
                      </a:lnTo>
                      <a:lnTo>
                        <a:pt x="709" y="2390"/>
                      </a:lnTo>
                      <a:lnTo>
                        <a:pt x="684" y="2419"/>
                      </a:lnTo>
                      <a:lnTo>
                        <a:pt x="453" y="2648"/>
                      </a:lnTo>
                      <a:lnTo>
                        <a:pt x="445" y="2661"/>
                      </a:lnTo>
                      <a:lnTo>
                        <a:pt x="439" y="2676"/>
                      </a:lnTo>
                      <a:lnTo>
                        <a:pt x="439" y="2691"/>
                      </a:lnTo>
                      <a:lnTo>
                        <a:pt x="445" y="2706"/>
                      </a:lnTo>
                      <a:lnTo>
                        <a:pt x="453" y="2719"/>
                      </a:lnTo>
                      <a:lnTo>
                        <a:pt x="747" y="3011"/>
                      </a:lnTo>
                      <a:lnTo>
                        <a:pt x="760" y="3020"/>
                      </a:lnTo>
                      <a:lnTo>
                        <a:pt x="774" y="3025"/>
                      </a:lnTo>
                      <a:lnTo>
                        <a:pt x="791" y="3025"/>
                      </a:lnTo>
                      <a:lnTo>
                        <a:pt x="805" y="3020"/>
                      </a:lnTo>
                      <a:lnTo>
                        <a:pt x="818" y="3011"/>
                      </a:lnTo>
                      <a:lnTo>
                        <a:pt x="1047" y="2782"/>
                      </a:lnTo>
                      <a:lnTo>
                        <a:pt x="1074" y="2759"/>
                      </a:lnTo>
                      <a:lnTo>
                        <a:pt x="1101" y="2740"/>
                      </a:lnTo>
                      <a:lnTo>
                        <a:pt x="1131" y="2726"/>
                      </a:lnTo>
                      <a:lnTo>
                        <a:pt x="1162" y="2715"/>
                      </a:lnTo>
                      <a:lnTo>
                        <a:pt x="1193" y="2709"/>
                      </a:lnTo>
                      <a:lnTo>
                        <a:pt x="1225" y="2707"/>
                      </a:lnTo>
                      <a:lnTo>
                        <a:pt x="1258" y="2709"/>
                      </a:lnTo>
                      <a:lnTo>
                        <a:pt x="1291" y="2715"/>
                      </a:lnTo>
                      <a:lnTo>
                        <a:pt x="1324" y="2727"/>
                      </a:lnTo>
                      <a:lnTo>
                        <a:pt x="1359" y="2744"/>
                      </a:lnTo>
                      <a:lnTo>
                        <a:pt x="1390" y="2766"/>
                      </a:lnTo>
                      <a:lnTo>
                        <a:pt x="1416" y="2791"/>
                      </a:lnTo>
                      <a:lnTo>
                        <a:pt x="1439" y="2819"/>
                      </a:lnTo>
                      <a:lnTo>
                        <a:pt x="1457" y="2851"/>
                      </a:lnTo>
                      <a:lnTo>
                        <a:pt x="1470" y="2886"/>
                      </a:lnTo>
                      <a:lnTo>
                        <a:pt x="1478" y="2922"/>
                      </a:lnTo>
                      <a:lnTo>
                        <a:pt x="1481" y="2960"/>
                      </a:lnTo>
                      <a:lnTo>
                        <a:pt x="1481" y="3285"/>
                      </a:lnTo>
                      <a:lnTo>
                        <a:pt x="1483" y="3300"/>
                      </a:lnTo>
                      <a:lnTo>
                        <a:pt x="1491" y="3314"/>
                      </a:lnTo>
                      <a:lnTo>
                        <a:pt x="1502" y="3325"/>
                      </a:lnTo>
                      <a:lnTo>
                        <a:pt x="1515" y="3332"/>
                      </a:lnTo>
                      <a:lnTo>
                        <a:pt x="1532" y="3334"/>
                      </a:lnTo>
                      <a:lnTo>
                        <a:pt x="1947" y="3334"/>
                      </a:lnTo>
                      <a:lnTo>
                        <a:pt x="1962" y="3332"/>
                      </a:lnTo>
                      <a:lnTo>
                        <a:pt x="1976" y="3325"/>
                      </a:lnTo>
                      <a:lnTo>
                        <a:pt x="1987" y="3314"/>
                      </a:lnTo>
                      <a:lnTo>
                        <a:pt x="1994" y="3300"/>
                      </a:lnTo>
                      <a:lnTo>
                        <a:pt x="1996" y="3285"/>
                      </a:lnTo>
                      <a:lnTo>
                        <a:pt x="1996" y="2960"/>
                      </a:lnTo>
                      <a:lnTo>
                        <a:pt x="1999" y="2922"/>
                      </a:lnTo>
                      <a:lnTo>
                        <a:pt x="2007" y="2886"/>
                      </a:lnTo>
                      <a:lnTo>
                        <a:pt x="2020" y="2851"/>
                      </a:lnTo>
                      <a:lnTo>
                        <a:pt x="2039" y="2819"/>
                      </a:lnTo>
                      <a:lnTo>
                        <a:pt x="2061" y="2791"/>
                      </a:lnTo>
                      <a:lnTo>
                        <a:pt x="2088" y="2766"/>
                      </a:lnTo>
                      <a:lnTo>
                        <a:pt x="2119" y="2744"/>
                      </a:lnTo>
                      <a:lnTo>
                        <a:pt x="2153" y="2727"/>
                      </a:lnTo>
                      <a:lnTo>
                        <a:pt x="2189" y="2715"/>
                      </a:lnTo>
                      <a:lnTo>
                        <a:pt x="2227" y="2709"/>
                      </a:lnTo>
                      <a:lnTo>
                        <a:pt x="2264" y="2708"/>
                      </a:lnTo>
                      <a:lnTo>
                        <a:pt x="2300" y="2712"/>
                      </a:lnTo>
                      <a:lnTo>
                        <a:pt x="2335" y="2722"/>
                      </a:lnTo>
                      <a:lnTo>
                        <a:pt x="2368" y="2736"/>
                      </a:lnTo>
                      <a:lnTo>
                        <a:pt x="2400" y="2757"/>
                      </a:lnTo>
                      <a:lnTo>
                        <a:pt x="2430" y="2782"/>
                      </a:lnTo>
                      <a:lnTo>
                        <a:pt x="2660" y="3011"/>
                      </a:lnTo>
                      <a:lnTo>
                        <a:pt x="2672" y="3020"/>
                      </a:lnTo>
                      <a:lnTo>
                        <a:pt x="2688" y="3025"/>
                      </a:lnTo>
                      <a:lnTo>
                        <a:pt x="2703" y="3025"/>
                      </a:lnTo>
                      <a:lnTo>
                        <a:pt x="2717" y="3020"/>
                      </a:lnTo>
                      <a:lnTo>
                        <a:pt x="2731" y="3011"/>
                      </a:lnTo>
                      <a:lnTo>
                        <a:pt x="3024" y="2719"/>
                      </a:lnTo>
                      <a:lnTo>
                        <a:pt x="3034" y="2706"/>
                      </a:lnTo>
                      <a:lnTo>
                        <a:pt x="3038" y="2691"/>
                      </a:lnTo>
                      <a:lnTo>
                        <a:pt x="3038" y="2676"/>
                      </a:lnTo>
                      <a:lnTo>
                        <a:pt x="3034" y="2661"/>
                      </a:lnTo>
                      <a:lnTo>
                        <a:pt x="3024" y="2649"/>
                      </a:lnTo>
                      <a:lnTo>
                        <a:pt x="2794" y="2419"/>
                      </a:lnTo>
                      <a:lnTo>
                        <a:pt x="2769" y="2390"/>
                      </a:lnTo>
                      <a:lnTo>
                        <a:pt x="2748" y="2358"/>
                      </a:lnTo>
                      <a:lnTo>
                        <a:pt x="2734" y="2325"/>
                      </a:lnTo>
                      <a:lnTo>
                        <a:pt x="2724" y="2290"/>
                      </a:lnTo>
                      <a:lnTo>
                        <a:pt x="2720" y="2254"/>
                      </a:lnTo>
                      <a:lnTo>
                        <a:pt x="2721" y="2217"/>
                      </a:lnTo>
                      <a:lnTo>
                        <a:pt x="2727" y="2180"/>
                      </a:lnTo>
                      <a:lnTo>
                        <a:pt x="2739" y="2144"/>
                      </a:lnTo>
                      <a:lnTo>
                        <a:pt x="2756" y="2110"/>
                      </a:lnTo>
                      <a:lnTo>
                        <a:pt x="2778" y="2079"/>
                      </a:lnTo>
                      <a:lnTo>
                        <a:pt x="2803" y="2052"/>
                      </a:lnTo>
                      <a:lnTo>
                        <a:pt x="2832" y="2030"/>
                      </a:lnTo>
                      <a:lnTo>
                        <a:pt x="2863" y="2011"/>
                      </a:lnTo>
                      <a:lnTo>
                        <a:pt x="2899" y="1998"/>
                      </a:lnTo>
                      <a:lnTo>
                        <a:pt x="2935" y="1990"/>
                      </a:lnTo>
                      <a:lnTo>
                        <a:pt x="2973" y="1987"/>
                      </a:lnTo>
                      <a:lnTo>
                        <a:pt x="3299" y="1987"/>
                      </a:lnTo>
                      <a:lnTo>
                        <a:pt x="3315" y="1985"/>
                      </a:lnTo>
                      <a:lnTo>
                        <a:pt x="3329" y="1978"/>
                      </a:lnTo>
                      <a:lnTo>
                        <a:pt x="3340" y="1968"/>
                      </a:lnTo>
                      <a:lnTo>
                        <a:pt x="3347" y="1953"/>
                      </a:lnTo>
                      <a:lnTo>
                        <a:pt x="3349" y="1938"/>
                      </a:lnTo>
                      <a:lnTo>
                        <a:pt x="3349" y="1525"/>
                      </a:lnTo>
                      <a:lnTo>
                        <a:pt x="3347" y="1508"/>
                      </a:lnTo>
                      <a:lnTo>
                        <a:pt x="3340" y="1495"/>
                      </a:lnTo>
                      <a:lnTo>
                        <a:pt x="3329" y="1484"/>
                      </a:lnTo>
                      <a:lnTo>
                        <a:pt x="3315" y="1477"/>
                      </a:lnTo>
                      <a:lnTo>
                        <a:pt x="3299" y="1474"/>
                      </a:lnTo>
                      <a:lnTo>
                        <a:pt x="2973" y="1474"/>
                      </a:lnTo>
                      <a:lnTo>
                        <a:pt x="2935" y="1472"/>
                      </a:lnTo>
                      <a:lnTo>
                        <a:pt x="2899" y="1463"/>
                      </a:lnTo>
                      <a:lnTo>
                        <a:pt x="2863" y="1450"/>
                      </a:lnTo>
                      <a:lnTo>
                        <a:pt x="2832" y="1433"/>
                      </a:lnTo>
                      <a:lnTo>
                        <a:pt x="2803" y="1410"/>
                      </a:lnTo>
                      <a:lnTo>
                        <a:pt x="2778" y="1384"/>
                      </a:lnTo>
                      <a:lnTo>
                        <a:pt x="2756" y="1353"/>
                      </a:lnTo>
                      <a:lnTo>
                        <a:pt x="2739" y="1319"/>
                      </a:lnTo>
                      <a:lnTo>
                        <a:pt x="2727" y="1282"/>
                      </a:lnTo>
                      <a:lnTo>
                        <a:pt x="2721" y="1245"/>
                      </a:lnTo>
                      <a:lnTo>
                        <a:pt x="2720" y="1209"/>
                      </a:lnTo>
                      <a:lnTo>
                        <a:pt x="2724" y="1173"/>
                      </a:lnTo>
                      <a:lnTo>
                        <a:pt x="2734" y="1138"/>
                      </a:lnTo>
                      <a:lnTo>
                        <a:pt x="2748" y="1104"/>
                      </a:lnTo>
                      <a:lnTo>
                        <a:pt x="2769" y="1072"/>
                      </a:lnTo>
                      <a:lnTo>
                        <a:pt x="2794" y="1043"/>
                      </a:lnTo>
                      <a:lnTo>
                        <a:pt x="3024" y="814"/>
                      </a:lnTo>
                      <a:lnTo>
                        <a:pt x="3034" y="801"/>
                      </a:lnTo>
                      <a:lnTo>
                        <a:pt x="3038" y="787"/>
                      </a:lnTo>
                      <a:lnTo>
                        <a:pt x="3038" y="771"/>
                      </a:lnTo>
                      <a:lnTo>
                        <a:pt x="3034" y="756"/>
                      </a:lnTo>
                      <a:lnTo>
                        <a:pt x="3024" y="743"/>
                      </a:lnTo>
                      <a:lnTo>
                        <a:pt x="2731" y="451"/>
                      </a:lnTo>
                      <a:lnTo>
                        <a:pt x="2717" y="442"/>
                      </a:lnTo>
                      <a:lnTo>
                        <a:pt x="2703" y="437"/>
                      </a:lnTo>
                      <a:lnTo>
                        <a:pt x="2688" y="437"/>
                      </a:lnTo>
                      <a:lnTo>
                        <a:pt x="2672" y="442"/>
                      </a:lnTo>
                      <a:lnTo>
                        <a:pt x="2660" y="451"/>
                      </a:lnTo>
                      <a:lnTo>
                        <a:pt x="2430" y="681"/>
                      </a:lnTo>
                      <a:lnTo>
                        <a:pt x="2400" y="706"/>
                      </a:lnTo>
                      <a:lnTo>
                        <a:pt x="2368" y="725"/>
                      </a:lnTo>
                      <a:lnTo>
                        <a:pt x="2335" y="741"/>
                      </a:lnTo>
                      <a:lnTo>
                        <a:pt x="2300" y="751"/>
                      </a:lnTo>
                      <a:lnTo>
                        <a:pt x="2264" y="755"/>
                      </a:lnTo>
                      <a:lnTo>
                        <a:pt x="2227" y="754"/>
                      </a:lnTo>
                      <a:lnTo>
                        <a:pt x="2189" y="747"/>
                      </a:lnTo>
                      <a:lnTo>
                        <a:pt x="2153" y="735"/>
                      </a:lnTo>
                      <a:lnTo>
                        <a:pt x="2119" y="718"/>
                      </a:lnTo>
                      <a:lnTo>
                        <a:pt x="2088" y="696"/>
                      </a:lnTo>
                      <a:lnTo>
                        <a:pt x="2061" y="671"/>
                      </a:lnTo>
                      <a:lnTo>
                        <a:pt x="2039" y="642"/>
                      </a:lnTo>
                      <a:lnTo>
                        <a:pt x="2020" y="611"/>
                      </a:lnTo>
                      <a:lnTo>
                        <a:pt x="2007" y="577"/>
                      </a:lnTo>
                      <a:lnTo>
                        <a:pt x="1999" y="540"/>
                      </a:lnTo>
                      <a:lnTo>
                        <a:pt x="1996" y="501"/>
                      </a:lnTo>
                      <a:lnTo>
                        <a:pt x="1996" y="178"/>
                      </a:lnTo>
                      <a:lnTo>
                        <a:pt x="1994" y="161"/>
                      </a:lnTo>
                      <a:lnTo>
                        <a:pt x="1987" y="148"/>
                      </a:lnTo>
                      <a:lnTo>
                        <a:pt x="1976" y="137"/>
                      </a:lnTo>
                      <a:lnTo>
                        <a:pt x="1962" y="130"/>
                      </a:lnTo>
                      <a:lnTo>
                        <a:pt x="1947" y="127"/>
                      </a:lnTo>
                      <a:lnTo>
                        <a:pt x="1532" y="127"/>
                      </a:lnTo>
                      <a:close/>
                      <a:moveTo>
                        <a:pt x="1532" y="0"/>
                      </a:moveTo>
                      <a:lnTo>
                        <a:pt x="1947" y="0"/>
                      </a:lnTo>
                      <a:lnTo>
                        <a:pt x="1979" y="2"/>
                      </a:lnTo>
                      <a:lnTo>
                        <a:pt x="2008" y="10"/>
                      </a:lnTo>
                      <a:lnTo>
                        <a:pt x="2037" y="24"/>
                      </a:lnTo>
                      <a:lnTo>
                        <a:pt x="2062" y="41"/>
                      </a:lnTo>
                      <a:lnTo>
                        <a:pt x="2083" y="63"/>
                      </a:lnTo>
                      <a:lnTo>
                        <a:pt x="2100" y="87"/>
                      </a:lnTo>
                      <a:lnTo>
                        <a:pt x="2114" y="115"/>
                      </a:lnTo>
                      <a:lnTo>
                        <a:pt x="2122" y="145"/>
                      </a:lnTo>
                      <a:lnTo>
                        <a:pt x="2126" y="178"/>
                      </a:lnTo>
                      <a:lnTo>
                        <a:pt x="2126" y="501"/>
                      </a:lnTo>
                      <a:lnTo>
                        <a:pt x="2128" y="526"/>
                      </a:lnTo>
                      <a:lnTo>
                        <a:pt x="2134" y="549"/>
                      </a:lnTo>
                      <a:lnTo>
                        <a:pt x="2145" y="571"/>
                      </a:lnTo>
                      <a:lnTo>
                        <a:pt x="2161" y="589"/>
                      </a:lnTo>
                      <a:lnTo>
                        <a:pt x="2179" y="604"/>
                      </a:lnTo>
                      <a:lnTo>
                        <a:pt x="2202" y="616"/>
                      </a:lnTo>
                      <a:lnTo>
                        <a:pt x="2227" y="624"/>
                      </a:lnTo>
                      <a:lnTo>
                        <a:pt x="2251" y="626"/>
                      </a:lnTo>
                      <a:lnTo>
                        <a:pt x="2275" y="624"/>
                      </a:lnTo>
                      <a:lnTo>
                        <a:pt x="2298" y="617"/>
                      </a:lnTo>
                      <a:lnTo>
                        <a:pt x="2319" y="605"/>
                      </a:lnTo>
                      <a:lnTo>
                        <a:pt x="2339" y="590"/>
                      </a:lnTo>
                      <a:lnTo>
                        <a:pt x="2568" y="360"/>
                      </a:lnTo>
                      <a:lnTo>
                        <a:pt x="2593" y="341"/>
                      </a:lnTo>
                      <a:lnTo>
                        <a:pt x="2620" y="325"/>
                      </a:lnTo>
                      <a:lnTo>
                        <a:pt x="2649" y="315"/>
                      </a:lnTo>
                      <a:lnTo>
                        <a:pt x="2680" y="310"/>
                      </a:lnTo>
                      <a:lnTo>
                        <a:pt x="2711" y="310"/>
                      </a:lnTo>
                      <a:lnTo>
                        <a:pt x="2742" y="315"/>
                      </a:lnTo>
                      <a:lnTo>
                        <a:pt x="2770" y="325"/>
                      </a:lnTo>
                      <a:lnTo>
                        <a:pt x="2798" y="341"/>
                      </a:lnTo>
                      <a:lnTo>
                        <a:pt x="2822" y="360"/>
                      </a:lnTo>
                      <a:lnTo>
                        <a:pt x="3115" y="652"/>
                      </a:lnTo>
                      <a:lnTo>
                        <a:pt x="3134" y="674"/>
                      </a:lnTo>
                      <a:lnTo>
                        <a:pt x="3148" y="698"/>
                      </a:lnTo>
                      <a:lnTo>
                        <a:pt x="3159" y="723"/>
                      </a:lnTo>
                      <a:lnTo>
                        <a:pt x="3165" y="751"/>
                      </a:lnTo>
                      <a:lnTo>
                        <a:pt x="3168" y="779"/>
                      </a:lnTo>
                      <a:lnTo>
                        <a:pt x="3165" y="806"/>
                      </a:lnTo>
                      <a:lnTo>
                        <a:pt x="3159" y="834"/>
                      </a:lnTo>
                      <a:lnTo>
                        <a:pt x="3148" y="860"/>
                      </a:lnTo>
                      <a:lnTo>
                        <a:pt x="3134" y="883"/>
                      </a:lnTo>
                      <a:lnTo>
                        <a:pt x="3115" y="905"/>
                      </a:lnTo>
                      <a:lnTo>
                        <a:pt x="2885" y="1133"/>
                      </a:lnTo>
                      <a:lnTo>
                        <a:pt x="2869" y="1153"/>
                      </a:lnTo>
                      <a:lnTo>
                        <a:pt x="2857" y="1175"/>
                      </a:lnTo>
                      <a:lnTo>
                        <a:pt x="2850" y="1198"/>
                      </a:lnTo>
                      <a:lnTo>
                        <a:pt x="2848" y="1221"/>
                      </a:lnTo>
                      <a:lnTo>
                        <a:pt x="2850" y="1245"/>
                      </a:lnTo>
                      <a:lnTo>
                        <a:pt x="2858" y="1270"/>
                      </a:lnTo>
                      <a:lnTo>
                        <a:pt x="2870" y="1292"/>
                      </a:lnTo>
                      <a:lnTo>
                        <a:pt x="2885" y="1310"/>
                      </a:lnTo>
                      <a:lnTo>
                        <a:pt x="2904" y="1326"/>
                      </a:lnTo>
                      <a:lnTo>
                        <a:pt x="2925" y="1337"/>
                      </a:lnTo>
                      <a:lnTo>
                        <a:pt x="2948" y="1344"/>
                      </a:lnTo>
                      <a:lnTo>
                        <a:pt x="2973" y="1346"/>
                      </a:lnTo>
                      <a:lnTo>
                        <a:pt x="3299" y="1346"/>
                      </a:lnTo>
                      <a:lnTo>
                        <a:pt x="3331" y="1349"/>
                      </a:lnTo>
                      <a:lnTo>
                        <a:pt x="3361" y="1357"/>
                      </a:lnTo>
                      <a:lnTo>
                        <a:pt x="3389" y="1371"/>
                      </a:lnTo>
                      <a:lnTo>
                        <a:pt x="3415" y="1388"/>
                      </a:lnTo>
                      <a:lnTo>
                        <a:pt x="3435" y="1410"/>
                      </a:lnTo>
                      <a:lnTo>
                        <a:pt x="3453" y="1434"/>
                      </a:lnTo>
                      <a:lnTo>
                        <a:pt x="3466" y="1462"/>
                      </a:lnTo>
                      <a:lnTo>
                        <a:pt x="3475" y="1492"/>
                      </a:lnTo>
                      <a:lnTo>
                        <a:pt x="3478" y="1525"/>
                      </a:lnTo>
                      <a:lnTo>
                        <a:pt x="3478" y="1938"/>
                      </a:lnTo>
                      <a:lnTo>
                        <a:pt x="3475" y="1970"/>
                      </a:lnTo>
                      <a:lnTo>
                        <a:pt x="3466" y="1999"/>
                      </a:lnTo>
                      <a:lnTo>
                        <a:pt x="3453" y="2028"/>
                      </a:lnTo>
                      <a:lnTo>
                        <a:pt x="3435" y="2053"/>
                      </a:lnTo>
                      <a:lnTo>
                        <a:pt x="3415" y="2074"/>
                      </a:lnTo>
                      <a:lnTo>
                        <a:pt x="3389" y="2091"/>
                      </a:lnTo>
                      <a:lnTo>
                        <a:pt x="3361" y="2104"/>
                      </a:lnTo>
                      <a:lnTo>
                        <a:pt x="3331" y="2113"/>
                      </a:lnTo>
                      <a:lnTo>
                        <a:pt x="3299" y="2116"/>
                      </a:lnTo>
                      <a:lnTo>
                        <a:pt x="2973" y="2116"/>
                      </a:lnTo>
                      <a:lnTo>
                        <a:pt x="2948" y="2118"/>
                      </a:lnTo>
                      <a:lnTo>
                        <a:pt x="2925" y="2125"/>
                      </a:lnTo>
                      <a:lnTo>
                        <a:pt x="2903" y="2136"/>
                      </a:lnTo>
                      <a:lnTo>
                        <a:pt x="2885" y="2151"/>
                      </a:lnTo>
                      <a:lnTo>
                        <a:pt x="2870" y="2170"/>
                      </a:lnTo>
                      <a:lnTo>
                        <a:pt x="2858" y="2193"/>
                      </a:lnTo>
                      <a:lnTo>
                        <a:pt x="2850" y="2217"/>
                      </a:lnTo>
                      <a:lnTo>
                        <a:pt x="2848" y="2241"/>
                      </a:lnTo>
                      <a:lnTo>
                        <a:pt x="2850" y="2265"/>
                      </a:lnTo>
                      <a:lnTo>
                        <a:pt x="2857" y="2288"/>
                      </a:lnTo>
                      <a:lnTo>
                        <a:pt x="2869" y="2309"/>
                      </a:lnTo>
                      <a:lnTo>
                        <a:pt x="2885" y="2328"/>
                      </a:lnTo>
                      <a:lnTo>
                        <a:pt x="3115" y="2557"/>
                      </a:lnTo>
                      <a:lnTo>
                        <a:pt x="3134" y="2579"/>
                      </a:lnTo>
                      <a:lnTo>
                        <a:pt x="3148" y="2603"/>
                      </a:lnTo>
                      <a:lnTo>
                        <a:pt x="3159" y="2628"/>
                      </a:lnTo>
                      <a:lnTo>
                        <a:pt x="3165" y="2655"/>
                      </a:lnTo>
                      <a:lnTo>
                        <a:pt x="3168" y="2684"/>
                      </a:lnTo>
                      <a:lnTo>
                        <a:pt x="3165" y="2712"/>
                      </a:lnTo>
                      <a:lnTo>
                        <a:pt x="3159" y="2738"/>
                      </a:lnTo>
                      <a:lnTo>
                        <a:pt x="3148" y="2765"/>
                      </a:lnTo>
                      <a:lnTo>
                        <a:pt x="3134" y="2789"/>
                      </a:lnTo>
                      <a:lnTo>
                        <a:pt x="3115" y="2809"/>
                      </a:lnTo>
                      <a:lnTo>
                        <a:pt x="2822" y="3101"/>
                      </a:lnTo>
                      <a:lnTo>
                        <a:pt x="2798" y="3122"/>
                      </a:lnTo>
                      <a:lnTo>
                        <a:pt x="2770" y="3136"/>
                      </a:lnTo>
                      <a:lnTo>
                        <a:pt x="2742" y="3146"/>
                      </a:lnTo>
                      <a:lnTo>
                        <a:pt x="2711" y="3152"/>
                      </a:lnTo>
                      <a:lnTo>
                        <a:pt x="2680" y="3152"/>
                      </a:lnTo>
                      <a:lnTo>
                        <a:pt x="2649" y="3146"/>
                      </a:lnTo>
                      <a:lnTo>
                        <a:pt x="2620" y="3136"/>
                      </a:lnTo>
                      <a:lnTo>
                        <a:pt x="2593" y="3122"/>
                      </a:lnTo>
                      <a:lnTo>
                        <a:pt x="2568" y="3101"/>
                      </a:lnTo>
                      <a:lnTo>
                        <a:pt x="2339" y="2873"/>
                      </a:lnTo>
                      <a:lnTo>
                        <a:pt x="2319" y="2856"/>
                      </a:lnTo>
                      <a:lnTo>
                        <a:pt x="2298" y="2844"/>
                      </a:lnTo>
                      <a:lnTo>
                        <a:pt x="2275" y="2838"/>
                      </a:lnTo>
                      <a:lnTo>
                        <a:pt x="2251" y="2836"/>
                      </a:lnTo>
                      <a:lnTo>
                        <a:pt x="2227" y="2838"/>
                      </a:lnTo>
                      <a:lnTo>
                        <a:pt x="2202" y="2845"/>
                      </a:lnTo>
                      <a:lnTo>
                        <a:pt x="2179" y="2857"/>
                      </a:lnTo>
                      <a:lnTo>
                        <a:pt x="2161" y="2873"/>
                      </a:lnTo>
                      <a:lnTo>
                        <a:pt x="2145" y="2891"/>
                      </a:lnTo>
                      <a:lnTo>
                        <a:pt x="2134" y="2912"/>
                      </a:lnTo>
                      <a:lnTo>
                        <a:pt x="2128" y="2935"/>
                      </a:lnTo>
                      <a:lnTo>
                        <a:pt x="2126" y="2960"/>
                      </a:lnTo>
                      <a:lnTo>
                        <a:pt x="2126" y="3285"/>
                      </a:lnTo>
                      <a:lnTo>
                        <a:pt x="2122" y="3317"/>
                      </a:lnTo>
                      <a:lnTo>
                        <a:pt x="2114" y="3346"/>
                      </a:lnTo>
                      <a:lnTo>
                        <a:pt x="2100" y="3375"/>
                      </a:lnTo>
                      <a:lnTo>
                        <a:pt x="2083" y="3400"/>
                      </a:lnTo>
                      <a:lnTo>
                        <a:pt x="2062" y="3421"/>
                      </a:lnTo>
                      <a:lnTo>
                        <a:pt x="2037" y="3438"/>
                      </a:lnTo>
                      <a:lnTo>
                        <a:pt x="2008" y="3451"/>
                      </a:lnTo>
                      <a:lnTo>
                        <a:pt x="1979" y="3460"/>
                      </a:lnTo>
                      <a:lnTo>
                        <a:pt x="1947" y="3463"/>
                      </a:lnTo>
                      <a:lnTo>
                        <a:pt x="1532" y="3463"/>
                      </a:lnTo>
                      <a:lnTo>
                        <a:pt x="1499" y="3460"/>
                      </a:lnTo>
                      <a:lnTo>
                        <a:pt x="1469" y="3451"/>
                      </a:lnTo>
                      <a:lnTo>
                        <a:pt x="1441" y="3438"/>
                      </a:lnTo>
                      <a:lnTo>
                        <a:pt x="1416" y="3421"/>
                      </a:lnTo>
                      <a:lnTo>
                        <a:pt x="1394" y="3400"/>
                      </a:lnTo>
                      <a:lnTo>
                        <a:pt x="1377" y="3375"/>
                      </a:lnTo>
                      <a:lnTo>
                        <a:pt x="1364" y="3346"/>
                      </a:lnTo>
                      <a:lnTo>
                        <a:pt x="1355" y="3317"/>
                      </a:lnTo>
                      <a:lnTo>
                        <a:pt x="1353" y="3285"/>
                      </a:lnTo>
                      <a:lnTo>
                        <a:pt x="1353" y="2960"/>
                      </a:lnTo>
                      <a:lnTo>
                        <a:pt x="1350" y="2935"/>
                      </a:lnTo>
                      <a:lnTo>
                        <a:pt x="1343" y="2912"/>
                      </a:lnTo>
                      <a:lnTo>
                        <a:pt x="1332" y="2891"/>
                      </a:lnTo>
                      <a:lnTo>
                        <a:pt x="1316" y="2873"/>
                      </a:lnTo>
                      <a:lnTo>
                        <a:pt x="1298" y="2857"/>
                      </a:lnTo>
                      <a:lnTo>
                        <a:pt x="1276" y="2845"/>
                      </a:lnTo>
                      <a:lnTo>
                        <a:pt x="1251" y="2838"/>
                      </a:lnTo>
                      <a:lnTo>
                        <a:pt x="1226" y="2836"/>
                      </a:lnTo>
                      <a:lnTo>
                        <a:pt x="1203" y="2838"/>
                      </a:lnTo>
                      <a:lnTo>
                        <a:pt x="1180" y="2844"/>
                      </a:lnTo>
                      <a:lnTo>
                        <a:pt x="1158" y="2856"/>
                      </a:lnTo>
                      <a:lnTo>
                        <a:pt x="1139" y="2873"/>
                      </a:lnTo>
                      <a:lnTo>
                        <a:pt x="909" y="3101"/>
                      </a:lnTo>
                      <a:lnTo>
                        <a:pt x="885" y="3122"/>
                      </a:lnTo>
                      <a:lnTo>
                        <a:pt x="858" y="3136"/>
                      </a:lnTo>
                      <a:lnTo>
                        <a:pt x="828" y="3146"/>
                      </a:lnTo>
                      <a:lnTo>
                        <a:pt x="798" y="3152"/>
                      </a:lnTo>
                      <a:lnTo>
                        <a:pt x="766" y="3152"/>
                      </a:lnTo>
                      <a:lnTo>
                        <a:pt x="737" y="3146"/>
                      </a:lnTo>
                      <a:lnTo>
                        <a:pt x="707" y="3136"/>
                      </a:lnTo>
                      <a:lnTo>
                        <a:pt x="680" y="3122"/>
                      </a:lnTo>
                      <a:lnTo>
                        <a:pt x="655" y="3101"/>
                      </a:lnTo>
                      <a:lnTo>
                        <a:pt x="362" y="2809"/>
                      </a:lnTo>
                      <a:lnTo>
                        <a:pt x="344" y="2789"/>
                      </a:lnTo>
                      <a:lnTo>
                        <a:pt x="329" y="2765"/>
                      </a:lnTo>
                      <a:lnTo>
                        <a:pt x="318" y="2738"/>
                      </a:lnTo>
                      <a:lnTo>
                        <a:pt x="312" y="2712"/>
                      </a:lnTo>
                      <a:lnTo>
                        <a:pt x="310" y="2684"/>
                      </a:lnTo>
                      <a:lnTo>
                        <a:pt x="312" y="2655"/>
                      </a:lnTo>
                      <a:lnTo>
                        <a:pt x="318" y="2628"/>
                      </a:lnTo>
                      <a:lnTo>
                        <a:pt x="329" y="2603"/>
                      </a:lnTo>
                      <a:lnTo>
                        <a:pt x="344" y="2579"/>
                      </a:lnTo>
                      <a:lnTo>
                        <a:pt x="362" y="2557"/>
                      </a:lnTo>
                      <a:lnTo>
                        <a:pt x="593" y="2328"/>
                      </a:lnTo>
                      <a:lnTo>
                        <a:pt x="608" y="2309"/>
                      </a:lnTo>
                      <a:lnTo>
                        <a:pt x="620" y="2288"/>
                      </a:lnTo>
                      <a:lnTo>
                        <a:pt x="627" y="2265"/>
                      </a:lnTo>
                      <a:lnTo>
                        <a:pt x="629" y="2241"/>
                      </a:lnTo>
                      <a:lnTo>
                        <a:pt x="627" y="2217"/>
                      </a:lnTo>
                      <a:lnTo>
                        <a:pt x="619" y="2193"/>
                      </a:lnTo>
                      <a:lnTo>
                        <a:pt x="607" y="2170"/>
                      </a:lnTo>
                      <a:lnTo>
                        <a:pt x="592" y="2151"/>
                      </a:lnTo>
                      <a:lnTo>
                        <a:pt x="574" y="2136"/>
                      </a:lnTo>
                      <a:lnTo>
                        <a:pt x="552" y="2125"/>
                      </a:lnTo>
                      <a:lnTo>
                        <a:pt x="529" y="2118"/>
                      </a:lnTo>
                      <a:lnTo>
                        <a:pt x="504" y="2116"/>
                      </a:lnTo>
                      <a:lnTo>
                        <a:pt x="179" y="2116"/>
                      </a:lnTo>
                      <a:lnTo>
                        <a:pt x="146" y="2113"/>
                      </a:lnTo>
                      <a:lnTo>
                        <a:pt x="116" y="2104"/>
                      </a:lnTo>
                      <a:lnTo>
                        <a:pt x="88" y="2091"/>
                      </a:lnTo>
                      <a:lnTo>
                        <a:pt x="64" y="2074"/>
                      </a:lnTo>
                      <a:lnTo>
                        <a:pt x="42" y="2053"/>
                      </a:lnTo>
                      <a:lnTo>
                        <a:pt x="24" y="2028"/>
                      </a:lnTo>
                      <a:lnTo>
                        <a:pt x="11" y="1999"/>
                      </a:lnTo>
                      <a:lnTo>
                        <a:pt x="2" y="1970"/>
                      </a:lnTo>
                      <a:lnTo>
                        <a:pt x="0" y="1938"/>
                      </a:lnTo>
                      <a:lnTo>
                        <a:pt x="0" y="1525"/>
                      </a:lnTo>
                      <a:lnTo>
                        <a:pt x="2" y="1492"/>
                      </a:lnTo>
                      <a:lnTo>
                        <a:pt x="11" y="1462"/>
                      </a:lnTo>
                      <a:lnTo>
                        <a:pt x="24" y="1434"/>
                      </a:lnTo>
                      <a:lnTo>
                        <a:pt x="42" y="1410"/>
                      </a:lnTo>
                      <a:lnTo>
                        <a:pt x="64" y="1388"/>
                      </a:lnTo>
                      <a:lnTo>
                        <a:pt x="88" y="1371"/>
                      </a:lnTo>
                      <a:lnTo>
                        <a:pt x="116" y="1357"/>
                      </a:lnTo>
                      <a:lnTo>
                        <a:pt x="146" y="1349"/>
                      </a:lnTo>
                      <a:lnTo>
                        <a:pt x="179" y="1346"/>
                      </a:lnTo>
                      <a:lnTo>
                        <a:pt x="504" y="1346"/>
                      </a:lnTo>
                      <a:lnTo>
                        <a:pt x="529" y="1344"/>
                      </a:lnTo>
                      <a:lnTo>
                        <a:pt x="553" y="1337"/>
                      </a:lnTo>
                      <a:lnTo>
                        <a:pt x="574" y="1326"/>
                      </a:lnTo>
                      <a:lnTo>
                        <a:pt x="593" y="1310"/>
                      </a:lnTo>
                      <a:lnTo>
                        <a:pt x="608" y="1292"/>
                      </a:lnTo>
                      <a:lnTo>
                        <a:pt x="619" y="1270"/>
                      </a:lnTo>
                      <a:lnTo>
                        <a:pt x="627" y="1245"/>
                      </a:lnTo>
                      <a:lnTo>
                        <a:pt x="629" y="1221"/>
                      </a:lnTo>
                      <a:lnTo>
                        <a:pt x="627" y="1198"/>
                      </a:lnTo>
                      <a:lnTo>
                        <a:pt x="620" y="1175"/>
                      </a:lnTo>
                      <a:lnTo>
                        <a:pt x="608" y="1153"/>
                      </a:lnTo>
                      <a:lnTo>
                        <a:pt x="593" y="1133"/>
                      </a:lnTo>
                      <a:lnTo>
                        <a:pt x="362" y="905"/>
                      </a:lnTo>
                      <a:lnTo>
                        <a:pt x="344" y="883"/>
                      </a:lnTo>
                      <a:lnTo>
                        <a:pt x="329" y="860"/>
                      </a:lnTo>
                      <a:lnTo>
                        <a:pt x="318" y="834"/>
                      </a:lnTo>
                      <a:lnTo>
                        <a:pt x="312" y="806"/>
                      </a:lnTo>
                      <a:lnTo>
                        <a:pt x="310" y="779"/>
                      </a:lnTo>
                      <a:lnTo>
                        <a:pt x="312" y="751"/>
                      </a:lnTo>
                      <a:lnTo>
                        <a:pt x="318" y="723"/>
                      </a:lnTo>
                      <a:lnTo>
                        <a:pt x="329" y="698"/>
                      </a:lnTo>
                      <a:lnTo>
                        <a:pt x="344" y="674"/>
                      </a:lnTo>
                      <a:lnTo>
                        <a:pt x="362" y="652"/>
                      </a:lnTo>
                      <a:lnTo>
                        <a:pt x="655" y="360"/>
                      </a:lnTo>
                      <a:lnTo>
                        <a:pt x="680" y="341"/>
                      </a:lnTo>
                      <a:lnTo>
                        <a:pt x="707" y="325"/>
                      </a:lnTo>
                      <a:lnTo>
                        <a:pt x="737" y="315"/>
                      </a:lnTo>
                      <a:lnTo>
                        <a:pt x="766" y="310"/>
                      </a:lnTo>
                      <a:lnTo>
                        <a:pt x="798" y="310"/>
                      </a:lnTo>
                      <a:lnTo>
                        <a:pt x="828" y="315"/>
                      </a:lnTo>
                      <a:lnTo>
                        <a:pt x="858" y="325"/>
                      </a:lnTo>
                      <a:lnTo>
                        <a:pt x="885" y="341"/>
                      </a:lnTo>
                      <a:lnTo>
                        <a:pt x="909" y="360"/>
                      </a:lnTo>
                      <a:lnTo>
                        <a:pt x="1139" y="590"/>
                      </a:lnTo>
                      <a:lnTo>
                        <a:pt x="1158" y="605"/>
                      </a:lnTo>
                      <a:lnTo>
                        <a:pt x="1180" y="617"/>
                      </a:lnTo>
                      <a:lnTo>
                        <a:pt x="1203" y="624"/>
                      </a:lnTo>
                      <a:lnTo>
                        <a:pt x="1226" y="626"/>
                      </a:lnTo>
                      <a:lnTo>
                        <a:pt x="1251" y="624"/>
                      </a:lnTo>
                      <a:lnTo>
                        <a:pt x="1276" y="616"/>
                      </a:lnTo>
                      <a:lnTo>
                        <a:pt x="1298" y="604"/>
                      </a:lnTo>
                      <a:lnTo>
                        <a:pt x="1316" y="589"/>
                      </a:lnTo>
                      <a:lnTo>
                        <a:pt x="1332" y="571"/>
                      </a:lnTo>
                      <a:lnTo>
                        <a:pt x="1343" y="549"/>
                      </a:lnTo>
                      <a:lnTo>
                        <a:pt x="1350" y="526"/>
                      </a:lnTo>
                      <a:lnTo>
                        <a:pt x="1353" y="501"/>
                      </a:lnTo>
                      <a:lnTo>
                        <a:pt x="1353" y="178"/>
                      </a:lnTo>
                      <a:lnTo>
                        <a:pt x="1355" y="145"/>
                      </a:lnTo>
                      <a:lnTo>
                        <a:pt x="1364" y="115"/>
                      </a:lnTo>
                      <a:lnTo>
                        <a:pt x="1377" y="87"/>
                      </a:lnTo>
                      <a:lnTo>
                        <a:pt x="1394" y="63"/>
                      </a:lnTo>
                      <a:lnTo>
                        <a:pt x="1416" y="41"/>
                      </a:lnTo>
                      <a:lnTo>
                        <a:pt x="1441" y="24"/>
                      </a:lnTo>
                      <a:lnTo>
                        <a:pt x="1469" y="10"/>
                      </a:lnTo>
                      <a:lnTo>
                        <a:pt x="1499" y="2"/>
                      </a:lnTo>
                      <a:lnTo>
                        <a:pt x="1532" y="0"/>
                      </a:lnTo>
                      <a:close/>
                    </a:path>
                  </a:pathLst>
                </a:custGeom>
                <a:solidFill>
                  <a:srgbClr val="686C8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60" name="Freeform 334">
                  <a:extLst>
                    <a:ext uri="{FF2B5EF4-FFF2-40B4-BE49-F238E27FC236}">
                      <a16:creationId xmlns:a16="http://schemas.microsoft.com/office/drawing/2014/main" id="{65115C07-CD14-F53B-4D52-F61C15F5049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482404" y="3705078"/>
                  <a:ext cx="168275" cy="166688"/>
                </a:xfrm>
                <a:custGeom>
                  <a:avLst/>
                  <a:gdLst>
                    <a:gd name="T0" fmla="*/ 527 w 1160"/>
                    <a:gd name="T1" fmla="*/ 131 h 1155"/>
                    <a:gd name="T2" fmla="*/ 428 w 1160"/>
                    <a:gd name="T3" fmla="*/ 154 h 1155"/>
                    <a:gd name="T4" fmla="*/ 339 w 1160"/>
                    <a:gd name="T5" fmla="*/ 198 h 1155"/>
                    <a:gd name="T6" fmla="*/ 261 w 1160"/>
                    <a:gd name="T7" fmla="*/ 259 h 1155"/>
                    <a:gd name="T8" fmla="*/ 199 w 1160"/>
                    <a:gd name="T9" fmla="*/ 337 h 1155"/>
                    <a:gd name="T10" fmla="*/ 155 w 1160"/>
                    <a:gd name="T11" fmla="*/ 425 h 1155"/>
                    <a:gd name="T12" fmla="*/ 132 w 1160"/>
                    <a:gd name="T13" fmla="*/ 525 h 1155"/>
                    <a:gd name="T14" fmla="*/ 132 w 1160"/>
                    <a:gd name="T15" fmla="*/ 630 h 1155"/>
                    <a:gd name="T16" fmla="*/ 155 w 1160"/>
                    <a:gd name="T17" fmla="*/ 728 h 1155"/>
                    <a:gd name="T18" fmla="*/ 199 w 1160"/>
                    <a:gd name="T19" fmla="*/ 818 h 1155"/>
                    <a:gd name="T20" fmla="*/ 261 w 1160"/>
                    <a:gd name="T21" fmla="*/ 894 h 1155"/>
                    <a:gd name="T22" fmla="*/ 339 w 1160"/>
                    <a:gd name="T23" fmla="*/ 956 h 1155"/>
                    <a:gd name="T24" fmla="*/ 428 w 1160"/>
                    <a:gd name="T25" fmla="*/ 999 h 1155"/>
                    <a:gd name="T26" fmla="*/ 527 w 1160"/>
                    <a:gd name="T27" fmla="*/ 1022 h 1155"/>
                    <a:gd name="T28" fmla="*/ 633 w 1160"/>
                    <a:gd name="T29" fmla="*/ 1022 h 1155"/>
                    <a:gd name="T30" fmla="*/ 732 w 1160"/>
                    <a:gd name="T31" fmla="*/ 999 h 1155"/>
                    <a:gd name="T32" fmla="*/ 822 w 1160"/>
                    <a:gd name="T33" fmla="*/ 956 h 1155"/>
                    <a:gd name="T34" fmla="*/ 899 w 1160"/>
                    <a:gd name="T35" fmla="*/ 894 h 1155"/>
                    <a:gd name="T36" fmla="*/ 960 w 1160"/>
                    <a:gd name="T37" fmla="*/ 818 h 1155"/>
                    <a:gd name="T38" fmla="*/ 1004 w 1160"/>
                    <a:gd name="T39" fmla="*/ 728 h 1155"/>
                    <a:gd name="T40" fmla="*/ 1027 w 1160"/>
                    <a:gd name="T41" fmla="*/ 630 h 1155"/>
                    <a:gd name="T42" fmla="*/ 1027 w 1160"/>
                    <a:gd name="T43" fmla="*/ 525 h 1155"/>
                    <a:gd name="T44" fmla="*/ 1004 w 1160"/>
                    <a:gd name="T45" fmla="*/ 425 h 1155"/>
                    <a:gd name="T46" fmla="*/ 960 w 1160"/>
                    <a:gd name="T47" fmla="*/ 337 h 1155"/>
                    <a:gd name="T48" fmla="*/ 899 w 1160"/>
                    <a:gd name="T49" fmla="*/ 259 h 1155"/>
                    <a:gd name="T50" fmla="*/ 822 w 1160"/>
                    <a:gd name="T51" fmla="*/ 198 h 1155"/>
                    <a:gd name="T52" fmla="*/ 732 w 1160"/>
                    <a:gd name="T53" fmla="*/ 154 h 1155"/>
                    <a:gd name="T54" fmla="*/ 633 w 1160"/>
                    <a:gd name="T55" fmla="*/ 131 h 1155"/>
                    <a:gd name="T56" fmla="*/ 580 w 1160"/>
                    <a:gd name="T57" fmla="*/ 0 h 1155"/>
                    <a:gd name="T58" fmla="*/ 704 w 1160"/>
                    <a:gd name="T59" fmla="*/ 13 h 1155"/>
                    <a:gd name="T60" fmla="*/ 820 w 1160"/>
                    <a:gd name="T61" fmla="*/ 51 h 1155"/>
                    <a:gd name="T62" fmla="*/ 922 w 1160"/>
                    <a:gd name="T63" fmla="*/ 112 h 1155"/>
                    <a:gd name="T64" fmla="*/ 1011 w 1160"/>
                    <a:gd name="T65" fmla="*/ 190 h 1155"/>
                    <a:gd name="T66" fmla="*/ 1081 w 1160"/>
                    <a:gd name="T67" fmla="*/ 285 h 1155"/>
                    <a:gd name="T68" fmla="*/ 1130 w 1160"/>
                    <a:gd name="T69" fmla="*/ 395 h 1155"/>
                    <a:gd name="T70" fmla="*/ 1157 w 1160"/>
                    <a:gd name="T71" fmla="*/ 514 h 1155"/>
                    <a:gd name="T72" fmla="*/ 1157 w 1160"/>
                    <a:gd name="T73" fmla="*/ 640 h 1155"/>
                    <a:gd name="T74" fmla="*/ 1130 w 1160"/>
                    <a:gd name="T75" fmla="*/ 759 h 1155"/>
                    <a:gd name="T76" fmla="*/ 1081 w 1160"/>
                    <a:gd name="T77" fmla="*/ 868 h 1155"/>
                    <a:gd name="T78" fmla="*/ 1011 w 1160"/>
                    <a:gd name="T79" fmla="*/ 963 h 1155"/>
                    <a:gd name="T80" fmla="*/ 922 w 1160"/>
                    <a:gd name="T81" fmla="*/ 1043 h 1155"/>
                    <a:gd name="T82" fmla="*/ 820 w 1160"/>
                    <a:gd name="T83" fmla="*/ 1103 h 1155"/>
                    <a:gd name="T84" fmla="*/ 704 w 1160"/>
                    <a:gd name="T85" fmla="*/ 1142 h 1155"/>
                    <a:gd name="T86" fmla="*/ 580 w 1160"/>
                    <a:gd name="T87" fmla="*/ 1155 h 1155"/>
                    <a:gd name="T88" fmla="*/ 456 w 1160"/>
                    <a:gd name="T89" fmla="*/ 1142 h 1155"/>
                    <a:gd name="T90" fmla="*/ 341 w 1160"/>
                    <a:gd name="T91" fmla="*/ 1103 h 1155"/>
                    <a:gd name="T92" fmla="*/ 238 w 1160"/>
                    <a:gd name="T93" fmla="*/ 1043 h 1155"/>
                    <a:gd name="T94" fmla="*/ 150 w 1160"/>
                    <a:gd name="T95" fmla="*/ 963 h 1155"/>
                    <a:gd name="T96" fmla="*/ 79 w 1160"/>
                    <a:gd name="T97" fmla="*/ 868 h 1155"/>
                    <a:gd name="T98" fmla="*/ 29 w 1160"/>
                    <a:gd name="T99" fmla="*/ 759 h 1155"/>
                    <a:gd name="T100" fmla="*/ 4 w 1160"/>
                    <a:gd name="T101" fmla="*/ 640 h 1155"/>
                    <a:gd name="T102" fmla="*/ 4 w 1160"/>
                    <a:gd name="T103" fmla="*/ 514 h 1155"/>
                    <a:gd name="T104" fmla="*/ 29 w 1160"/>
                    <a:gd name="T105" fmla="*/ 395 h 1155"/>
                    <a:gd name="T106" fmla="*/ 79 w 1160"/>
                    <a:gd name="T107" fmla="*/ 285 h 1155"/>
                    <a:gd name="T108" fmla="*/ 150 w 1160"/>
                    <a:gd name="T109" fmla="*/ 190 h 1155"/>
                    <a:gd name="T110" fmla="*/ 238 w 1160"/>
                    <a:gd name="T111" fmla="*/ 112 h 1155"/>
                    <a:gd name="T112" fmla="*/ 341 w 1160"/>
                    <a:gd name="T113" fmla="*/ 51 h 1155"/>
                    <a:gd name="T114" fmla="*/ 456 w 1160"/>
                    <a:gd name="T115" fmla="*/ 13 h 1155"/>
                    <a:gd name="T116" fmla="*/ 580 w 1160"/>
                    <a:gd name="T117" fmla="*/ 0 h 11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160" h="1155">
                      <a:moveTo>
                        <a:pt x="580" y="128"/>
                      </a:moveTo>
                      <a:lnTo>
                        <a:pt x="527" y="131"/>
                      </a:lnTo>
                      <a:lnTo>
                        <a:pt x="477" y="140"/>
                      </a:lnTo>
                      <a:lnTo>
                        <a:pt x="428" y="154"/>
                      </a:lnTo>
                      <a:lnTo>
                        <a:pt x="381" y="174"/>
                      </a:lnTo>
                      <a:lnTo>
                        <a:pt x="339" y="198"/>
                      </a:lnTo>
                      <a:lnTo>
                        <a:pt x="298" y="226"/>
                      </a:lnTo>
                      <a:lnTo>
                        <a:pt x="261" y="259"/>
                      </a:lnTo>
                      <a:lnTo>
                        <a:pt x="228" y="296"/>
                      </a:lnTo>
                      <a:lnTo>
                        <a:pt x="199" y="337"/>
                      </a:lnTo>
                      <a:lnTo>
                        <a:pt x="175" y="379"/>
                      </a:lnTo>
                      <a:lnTo>
                        <a:pt x="155" y="425"/>
                      </a:lnTo>
                      <a:lnTo>
                        <a:pt x="141" y="475"/>
                      </a:lnTo>
                      <a:lnTo>
                        <a:pt x="132" y="525"/>
                      </a:lnTo>
                      <a:lnTo>
                        <a:pt x="129" y="577"/>
                      </a:lnTo>
                      <a:lnTo>
                        <a:pt x="132" y="630"/>
                      </a:lnTo>
                      <a:lnTo>
                        <a:pt x="141" y="680"/>
                      </a:lnTo>
                      <a:lnTo>
                        <a:pt x="155" y="728"/>
                      </a:lnTo>
                      <a:lnTo>
                        <a:pt x="175" y="774"/>
                      </a:lnTo>
                      <a:lnTo>
                        <a:pt x="199" y="818"/>
                      </a:lnTo>
                      <a:lnTo>
                        <a:pt x="228" y="857"/>
                      </a:lnTo>
                      <a:lnTo>
                        <a:pt x="261" y="894"/>
                      </a:lnTo>
                      <a:lnTo>
                        <a:pt x="298" y="927"/>
                      </a:lnTo>
                      <a:lnTo>
                        <a:pt x="339" y="956"/>
                      </a:lnTo>
                      <a:lnTo>
                        <a:pt x="381" y="980"/>
                      </a:lnTo>
                      <a:lnTo>
                        <a:pt x="428" y="999"/>
                      </a:lnTo>
                      <a:lnTo>
                        <a:pt x="477" y="1014"/>
                      </a:lnTo>
                      <a:lnTo>
                        <a:pt x="527" y="1022"/>
                      </a:lnTo>
                      <a:lnTo>
                        <a:pt x="580" y="1026"/>
                      </a:lnTo>
                      <a:lnTo>
                        <a:pt x="633" y="1022"/>
                      </a:lnTo>
                      <a:lnTo>
                        <a:pt x="683" y="1014"/>
                      </a:lnTo>
                      <a:lnTo>
                        <a:pt x="732" y="999"/>
                      </a:lnTo>
                      <a:lnTo>
                        <a:pt x="778" y="980"/>
                      </a:lnTo>
                      <a:lnTo>
                        <a:pt x="822" y="956"/>
                      </a:lnTo>
                      <a:lnTo>
                        <a:pt x="861" y="927"/>
                      </a:lnTo>
                      <a:lnTo>
                        <a:pt x="899" y="894"/>
                      </a:lnTo>
                      <a:lnTo>
                        <a:pt x="932" y="857"/>
                      </a:lnTo>
                      <a:lnTo>
                        <a:pt x="960" y="818"/>
                      </a:lnTo>
                      <a:lnTo>
                        <a:pt x="984" y="774"/>
                      </a:lnTo>
                      <a:lnTo>
                        <a:pt x="1004" y="728"/>
                      </a:lnTo>
                      <a:lnTo>
                        <a:pt x="1018" y="680"/>
                      </a:lnTo>
                      <a:lnTo>
                        <a:pt x="1027" y="630"/>
                      </a:lnTo>
                      <a:lnTo>
                        <a:pt x="1030" y="577"/>
                      </a:lnTo>
                      <a:lnTo>
                        <a:pt x="1027" y="525"/>
                      </a:lnTo>
                      <a:lnTo>
                        <a:pt x="1018" y="475"/>
                      </a:lnTo>
                      <a:lnTo>
                        <a:pt x="1004" y="425"/>
                      </a:lnTo>
                      <a:lnTo>
                        <a:pt x="984" y="379"/>
                      </a:lnTo>
                      <a:lnTo>
                        <a:pt x="960" y="337"/>
                      </a:lnTo>
                      <a:lnTo>
                        <a:pt x="932" y="296"/>
                      </a:lnTo>
                      <a:lnTo>
                        <a:pt x="899" y="259"/>
                      </a:lnTo>
                      <a:lnTo>
                        <a:pt x="861" y="226"/>
                      </a:lnTo>
                      <a:lnTo>
                        <a:pt x="822" y="198"/>
                      </a:lnTo>
                      <a:lnTo>
                        <a:pt x="778" y="174"/>
                      </a:lnTo>
                      <a:lnTo>
                        <a:pt x="732" y="154"/>
                      </a:lnTo>
                      <a:lnTo>
                        <a:pt x="683" y="140"/>
                      </a:lnTo>
                      <a:lnTo>
                        <a:pt x="633" y="131"/>
                      </a:lnTo>
                      <a:lnTo>
                        <a:pt x="580" y="128"/>
                      </a:lnTo>
                      <a:close/>
                      <a:moveTo>
                        <a:pt x="580" y="0"/>
                      </a:moveTo>
                      <a:lnTo>
                        <a:pt x="643" y="3"/>
                      </a:lnTo>
                      <a:lnTo>
                        <a:pt x="704" y="13"/>
                      </a:lnTo>
                      <a:lnTo>
                        <a:pt x="762" y="28"/>
                      </a:lnTo>
                      <a:lnTo>
                        <a:pt x="820" y="51"/>
                      </a:lnTo>
                      <a:lnTo>
                        <a:pt x="872" y="79"/>
                      </a:lnTo>
                      <a:lnTo>
                        <a:pt x="922" y="112"/>
                      </a:lnTo>
                      <a:lnTo>
                        <a:pt x="968" y="149"/>
                      </a:lnTo>
                      <a:lnTo>
                        <a:pt x="1011" y="190"/>
                      </a:lnTo>
                      <a:lnTo>
                        <a:pt x="1048" y="236"/>
                      </a:lnTo>
                      <a:lnTo>
                        <a:pt x="1081" y="285"/>
                      </a:lnTo>
                      <a:lnTo>
                        <a:pt x="1108" y="339"/>
                      </a:lnTo>
                      <a:lnTo>
                        <a:pt x="1130" y="395"/>
                      </a:lnTo>
                      <a:lnTo>
                        <a:pt x="1147" y="454"/>
                      </a:lnTo>
                      <a:lnTo>
                        <a:pt x="1157" y="514"/>
                      </a:lnTo>
                      <a:lnTo>
                        <a:pt x="1160" y="577"/>
                      </a:lnTo>
                      <a:lnTo>
                        <a:pt x="1157" y="640"/>
                      </a:lnTo>
                      <a:lnTo>
                        <a:pt x="1147" y="701"/>
                      </a:lnTo>
                      <a:lnTo>
                        <a:pt x="1130" y="759"/>
                      </a:lnTo>
                      <a:lnTo>
                        <a:pt x="1108" y="816"/>
                      </a:lnTo>
                      <a:lnTo>
                        <a:pt x="1081" y="868"/>
                      </a:lnTo>
                      <a:lnTo>
                        <a:pt x="1048" y="917"/>
                      </a:lnTo>
                      <a:lnTo>
                        <a:pt x="1011" y="963"/>
                      </a:lnTo>
                      <a:lnTo>
                        <a:pt x="968" y="1006"/>
                      </a:lnTo>
                      <a:lnTo>
                        <a:pt x="922" y="1043"/>
                      </a:lnTo>
                      <a:lnTo>
                        <a:pt x="872" y="1076"/>
                      </a:lnTo>
                      <a:lnTo>
                        <a:pt x="820" y="1103"/>
                      </a:lnTo>
                      <a:lnTo>
                        <a:pt x="762" y="1125"/>
                      </a:lnTo>
                      <a:lnTo>
                        <a:pt x="704" y="1142"/>
                      </a:lnTo>
                      <a:lnTo>
                        <a:pt x="643" y="1151"/>
                      </a:lnTo>
                      <a:lnTo>
                        <a:pt x="580" y="1155"/>
                      </a:lnTo>
                      <a:lnTo>
                        <a:pt x="516" y="1151"/>
                      </a:lnTo>
                      <a:lnTo>
                        <a:pt x="456" y="1142"/>
                      </a:lnTo>
                      <a:lnTo>
                        <a:pt x="397" y="1125"/>
                      </a:lnTo>
                      <a:lnTo>
                        <a:pt x="341" y="1103"/>
                      </a:lnTo>
                      <a:lnTo>
                        <a:pt x="287" y="1076"/>
                      </a:lnTo>
                      <a:lnTo>
                        <a:pt x="238" y="1043"/>
                      </a:lnTo>
                      <a:lnTo>
                        <a:pt x="191" y="1006"/>
                      </a:lnTo>
                      <a:lnTo>
                        <a:pt x="150" y="963"/>
                      </a:lnTo>
                      <a:lnTo>
                        <a:pt x="112" y="917"/>
                      </a:lnTo>
                      <a:lnTo>
                        <a:pt x="79" y="868"/>
                      </a:lnTo>
                      <a:lnTo>
                        <a:pt x="52" y="816"/>
                      </a:lnTo>
                      <a:lnTo>
                        <a:pt x="29" y="759"/>
                      </a:lnTo>
                      <a:lnTo>
                        <a:pt x="14" y="701"/>
                      </a:lnTo>
                      <a:lnTo>
                        <a:pt x="4" y="640"/>
                      </a:lnTo>
                      <a:lnTo>
                        <a:pt x="0" y="577"/>
                      </a:lnTo>
                      <a:lnTo>
                        <a:pt x="4" y="514"/>
                      </a:lnTo>
                      <a:lnTo>
                        <a:pt x="14" y="454"/>
                      </a:lnTo>
                      <a:lnTo>
                        <a:pt x="29" y="395"/>
                      </a:lnTo>
                      <a:lnTo>
                        <a:pt x="52" y="339"/>
                      </a:lnTo>
                      <a:lnTo>
                        <a:pt x="79" y="285"/>
                      </a:lnTo>
                      <a:lnTo>
                        <a:pt x="112" y="236"/>
                      </a:lnTo>
                      <a:lnTo>
                        <a:pt x="150" y="190"/>
                      </a:lnTo>
                      <a:lnTo>
                        <a:pt x="191" y="149"/>
                      </a:lnTo>
                      <a:lnTo>
                        <a:pt x="238" y="112"/>
                      </a:lnTo>
                      <a:lnTo>
                        <a:pt x="287" y="79"/>
                      </a:lnTo>
                      <a:lnTo>
                        <a:pt x="341" y="51"/>
                      </a:lnTo>
                      <a:lnTo>
                        <a:pt x="397" y="28"/>
                      </a:lnTo>
                      <a:lnTo>
                        <a:pt x="456" y="13"/>
                      </a:lnTo>
                      <a:lnTo>
                        <a:pt x="516" y="3"/>
                      </a:lnTo>
                      <a:lnTo>
                        <a:pt x="580" y="0"/>
                      </a:lnTo>
                      <a:close/>
                    </a:path>
                  </a:pathLst>
                </a:custGeom>
                <a:solidFill>
                  <a:srgbClr val="686C8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</p:grpSp>
        </p:grpSp>
        <p:grpSp>
          <p:nvGrpSpPr>
            <p:cNvPr id="102" name="Gruppieren 101">
              <a:extLst>
                <a:ext uri="{FF2B5EF4-FFF2-40B4-BE49-F238E27FC236}">
                  <a16:creationId xmlns:a16="http://schemas.microsoft.com/office/drawing/2014/main" id="{04898454-8A73-18F6-ACCE-F51D410A387F}"/>
                </a:ext>
              </a:extLst>
            </p:cNvPr>
            <p:cNvGrpSpPr/>
            <p:nvPr/>
          </p:nvGrpSpPr>
          <p:grpSpPr>
            <a:xfrm>
              <a:off x="803902" y="3860557"/>
              <a:ext cx="914400" cy="920024"/>
              <a:chOff x="2389160" y="4860209"/>
              <a:chExt cx="1720851" cy="1731436"/>
            </a:xfrm>
          </p:grpSpPr>
          <p:sp>
            <p:nvSpPr>
              <p:cNvPr id="103" name="Freeform 29">
                <a:extLst>
                  <a:ext uri="{FF2B5EF4-FFF2-40B4-BE49-F238E27FC236}">
                    <a16:creationId xmlns:a16="http://schemas.microsoft.com/office/drawing/2014/main" id="{FBC68595-E666-794F-1A79-72C8060D4A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9160" y="5725927"/>
                <a:ext cx="1720851" cy="865718"/>
              </a:xfrm>
              <a:custGeom>
                <a:avLst/>
                <a:gdLst>
                  <a:gd name="T0" fmla="*/ 233 w 465"/>
                  <a:gd name="T1" fmla="*/ 233 h 233"/>
                  <a:gd name="T2" fmla="*/ 0 w 465"/>
                  <a:gd name="T3" fmla="*/ 0 h 233"/>
                  <a:gd name="T4" fmla="*/ 40 w 465"/>
                  <a:gd name="T5" fmla="*/ 0 h 233"/>
                  <a:gd name="T6" fmla="*/ 233 w 465"/>
                  <a:gd name="T7" fmla="*/ 193 h 233"/>
                  <a:gd name="T8" fmla="*/ 425 w 465"/>
                  <a:gd name="T9" fmla="*/ 0 h 233"/>
                  <a:gd name="T10" fmla="*/ 465 w 465"/>
                  <a:gd name="T11" fmla="*/ 0 h 233"/>
                  <a:gd name="T12" fmla="*/ 233 w 465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5" h="233">
                    <a:moveTo>
                      <a:pt x="233" y="233"/>
                    </a:moveTo>
                    <a:cubicBezTo>
                      <a:pt x="104" y="233"/>
                      <a:pt x="0" y="128"/>
                      <a:pt x="0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0" y="106"/>
                      <a:pt x="127" y="193"/>
                      <a:pt x="233" y="193"/>
                    </a:cubicBezTo>
                    <a:cubicBezTo>
                      <a:pt x="339" y="193"/>
                      <a:pt x="425" y="106"/>
                      <a:pt x="425" y="0"/>
                    </a:cubicBezTo>
                    <a:cubicBezTo>
                      <a:pt x="465" y="0"/>
                      <a:pt x="465" y="0"/>
                      <a:pt x="465" y="0"/>
                    </a:cubicBezTo>
                    <a:cubicBezTo>
                      <a:pt x="465" y="128"/>
                      <a:pt x="361" y="233"/>
                      <a:pt x="233" y="23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04" name="Freeform 31">
                <a:extLst>
                  <a:ext uri="{FF2B5EF4-FFF2-40B4-BE49-F238E27FC236}">
                    <a16:creationId xmlns:a16="http://schemas.microsoft.com/office/drawing/2014/main" id="{FA457769-15CF-9957-E184-3402E582E1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9160" y="4860209"/>
                <a:ext cx="1720851" cy="865718"/>
              </a:xfrm>
              <a:custGeom>
                <a:avLst/>
                <a:gdLst>
                  <a:gd name="T0" fmla="*/ 465 w 465"/>
                  <a:gd name="T1" fmla="*/ 233 h 233"/>
                  <a:gd name="T2" fmla="*/ 425 w 465"/>
                  <a:gd name="T3" fmla="*/ 233 h 233"/>
                  <a:gd name="T4" fmla="*/ 233 w 465"/>
                  <a:gd name="T5" fmla="*/ 40 h 233"/>
                  <a:gd name="T6" fmla="*/ 40 w 465"/>
                  <a:gd name="T7" fmla="*/ 233 h 233"/>
                  <a:gd name="T8" fmla="*/ 0 w 465"/>
                  <a:gd name="T9" fmla="*/ 233 h 233"/>
                  <a:gd name="T10" fmla="*/ 233 w 465"/>
                  <a:gd name="T11" fmla="*/ 0 h 233"/>
                  <a:gd name="T12" fmla="*/ 465 w 465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5" h="233">
                    <a:moveTo>
                      <a:pt x="465" y="233"/>
                    </a:moveTo>
                    <a:cubicBezTo>
                      <a:pt x="425" y="233"/>
                      <a:pt x="425" y="233"/>
                      <a:pt x="425" y="233"/>
                    </a:cubicBezTo>
                    <a:cubicBezTo>
                      <a:pt x="425" y="127"/>
                      <a:pt x="339" y="40"/>
                      <a:pt x="233" y="40"/>
                    </a:cubicBezTo>
                    <a:cubicBezTo>
                      <a:pt x="127" y="40"/>
                      <a:pt x="40" y="127"/>
                      <a:pt x="40" y="233"/>
                    </a:cubicBezTo>
                    <a:cubicBezTo>
                      <a:pt x="0" y="233"/>
                      <a:pt x="0" y="233"/>
                      <a:pt x="0" y="233"/>
                    </a:cubicBezTo>
                    <a:cubicBezTo>
                      <a:pt x="0" y="104"/>
                      <a:pt x="104" y="0"/>
                      <a:pt x="233" y="0"/>
                    </a:cubicBezTo>
                    <a:cubicBezTo>
                      <a:pt x="361" y="0"/>
                      <a:pt x="465" y="104"/>
                      <a:pt x="465" y="233"/>
                    </a:cubicBezTo>
                    <a:close/>
                  </a:path>
                </a:pathLst>
              </a:custGeom>
              <a:solidFill>
                <a:srgbClr val="686C86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</p:grpSp>
      <p:grpSp>
        <p:nvGrpSpPr>
          <p:cNvPr id="116" name="Gruppieren 115">
            <a:extLst>
              <a:ext uri="{FF2B5EF4-FFF2-40B4-BE49-F238E27FC236}">
                <a16:creationId xmlns:a16="http://schemas.microsoft.com/office/drawing/2014/main" id="{C1457EAD-7606-9E37-3BB1-72268FA8C7DD}"/>
              </a:ext>
            </a:extLst>
          </p:cNvPr>
          <p:cNvGrpSpPr/>
          <p:nvPr/>
        </p:nvGrpSpPr>
        <p:grpSpPr>
          <a:xfrm>
            <a:off x="6359461" y="3069304"/>
            <a:ext cx="914400" cy="920024"/>
            <a:chOff x="6733780" y="632431"/>
            <a:chExt cx="914400" cy="920024"/>
          </a:xfrm>
        </p:grpSpPr>
        <p:grpSp>
          <p:nvGrpSpPr>
            <p:cNvPr id="67" name="Gruppieren 66">
              <a:extLst>
                <a:ext uri="{FF2B5EF4-FFF2-40B4-BE49-F238E27FC236}">
                  <a16:creationId xmlns:a16="http://schemas.microsoft.com/office/drawing/2014/main" id="{D500EF1F-1028-7186-32BD-77169107D248}"/>
                </a:ext>
              </a:extLst>
            </p:cNvPr>
            <p:cNvGrpSpPr/>
            <p:nvPr/>
          </p:nvGrpSpPr>
          <p:grpSpPr>
            <a:xfrm>
              <a:off x="6957490" y="886764"/>
              <a:ext cx="466980" cy="409872"/>
              <a:chOff x="4378008" y="-2071533"/>
              <a:chExt cx="762000" cy="647880"/>
            </a:xfrm>
          </p:grpSpPr>
          <p:grpSp>
            <p:nvGrpSpPr>
              <p:cNvPr id="68" name="Grafik 63" descr="Illustrator Silhouette">
                <a:extLst>
                  <a:ext uri="{FF2B5EF4-FFF2-40B4-BE49-F238E27FC236}">
                    <a16:creationId xmlns:a16="http://schemas.microsoft.com/office/drawing/2014/main" id="{A80D39A1-BD84-AADB-A5A4-1EB653F01AB2}"/>
                  </a:ext>
                </a:extLst>
              </p:cNvPr>
              <p:cNvGrpSpPr/>
              <p:nvPr/>
            </p:nvGrpSpPr>
            <p:grpSpPr>
              <a:xfrm>
                <a:off x="4378008" y="-2071533"/>
                <a:ext cx="762000" cy="647880"/>
                <a:chOff x="4378008" y="-2071533"/>
                <a:chExt cx="762000" cy="647880"/>
              </a:xfrm>
              <a:solidFill>
                <a:srgbClr val="000000"/>
              </a:solidFill>
            </p:grpSpPr>
            <p:sp>
              <p:nvSpPr>
                <p:cNvPr id="84" name="Freihandform: Form 83">
                  <a:extLst>
                    <a:ext uri="{FF2B5EF4-FFF2-40B4-BE49-F238E27FC236}">
                      <a16:creationId xmlns:a16="http://schemas.microsoft.com/office/drawing/2014/main" id="{7F67A822-98C0-C2EF-303E-4EB98F2A3843}"/>
                    </a:ext>
                  </a:extLst>
                </p:cNvPr>
                <p:cNvSpPr/>
                <p:nvPr/>
              </p:nvSpPr>
              <p:spPr>
                <a:xfrm>
                  <a:off x="4378008" y="-2071533"/>
                  <a:ext cx="762000" cy="647880"/>
                </a:xfrm>
                <a:custGeom>
                  <a:avLst/>
                  <a:gdLst>
                    <a:gd name="connsiteX0" fmla="*/ 723900 w 762000"/>
                    <a:gd name="connsiteY0" fmla="*/ 0 h 647880"/>
                    <a:gd name="connsiteX1" fmla="*/ 38100 w 762000"/>
                    <a:gd name="connsiteY1" fmla="*/ 0 h 647880"/>
                    <a:gd name="connsiteX2" fmla="*/ 0 w 762000"/>
                    <a:gd name="connsiteY2" fmla="*/ 38100 h 647880"/>
                    <a:gd name="connsiteX3" fmla="*/ 0 w 762000"/>
                    <a:gd name="connsiteY3" fmla="*/ 495481 h 647880"/>
                    <a:gd name="connsiteX4" fmla="*/ 38100 w 762000"/>
                    <a:gd name="connsiteY4" fmla="*/ 533581 h 647880"/>
                    <a:gd name="connsiteX5" fmla="*/ 314325 w 762000"/>
                    <a:gd name="connsiteY5" fmla="*/ 533581 h 647880"/>
                    <a:gd name="connsiteX6" fmla="*/ 314325 w 762000"/>
                    <a:gd name="connsiteY6" fmla="*/ 628831 h 647880"/>
                    <a:gd name="connsiteX7" fmla="*/ 209550 w 762000"/>
                    <a:gd name="connsiteY7" fmla="*/ 628831 h 647880"/>
                    <a:gd name="connsiteX8" fmla="*/ 209550 w 762000"/>
                    <a:gd name="connsiteY8" fmla="*/ 647881 h 647880"/>
                    <a:gd name="connsiteX9" fmla="*/ 552450 w 762000"/>
                    <a:gd name="connsiteY9" fmla="*/ 647881 h 647880"/>
                    <a:gd name="connsiteX10" fmla="*/ 552450 w 762000"/>
                    <a:gd name="connsiteY10" fmla="*/ 628831 h 647880"/>
                    <a:gd name="connsiteX11" fmla="*/ 447675 w 762000"/>
                    <a:gd name="connsiteY11" fmla="*/ 628831 h 647880"/>
                    <a:gd name="connsiteX12" fmla="*/ 447675 w 762000"/>
                    <a:gd name="connsiteY12" fmla="*/ 533581 h 647880"/>
                    <a:gd name="connsiteX13" fmla="*/ 723900 w 762000"/>
                    <a:gd name="connsiteY13" fmla="*/ 533581 h 647880"/>
                    <a:gd name="connsiteX14" fmla="*/ 762000 w 762000"/>
                    <a:gd name="connsiteY14" fmla="*/ 495481 h 647880"/>
                    <a:gd name="connsiteX15" fmla="*/ 762000 w 762000"/>
                    <a:gd name="connsiteY15" fmla="*/ 38110 h 647880"/>
                    <a:gd name="connsiteX16" fmla="*/ 723900 w 762000"/>
                    <a:gd name="connsiteY16" fmla="*/ 0 h 647880"/>
                    <a:gd name="connsiteX17" fmla="*/ 428625 w 762000"/>
                    <a:gd name="connsiteY17" fmla="*/ 628831 h 647880"/>
                    <a:gd name="connsiteX18" fmla="*/ 333375 w 762000"/>
                    <a:gd name="connsiteY18" fmla="*/ 628831 h 647880"/>
                    <a:gd name="connsiteX19" fmla="*/ 333375 w 762000"/>
                    <a:gd name="connsiteY19" fmla="*/ 533581 h 647880"/>
                    <a:gd name="connsiteX20" fmla="*/ 428625 w 762000"/>
                    <a:gd name="connsiteY20" fmla="*/ 533581 h 647880"/>
                    <a:gd name="connsiteX21" fmla="*/ 742950 w 762000"/>
                    <a:gd name="connsiteY21" fmla="*/ 495481 h 647880"/>
                    <a:gd name="connsiteX22" fmla="*/ 723900 w 762000"/>
                    <a:gd name="connsiteY22" fmla="*/ 514531 h 647880"/>
                    <a:gd name="connsiteX23" fmla="*/ 38100 w 762000"/>
                    <a:gd name="connsiteY23" fmla="*/ 514531 h 647880"/>
                    <a:gd name="connsiteX24" fmla="*/ 19050 w 762000"/>
                    <a:gd name="connsiteY24" fmla="*/ 495481 h 647880"/>
                    <a:gd name="connsiteX25" fmla="*/ 19050 w 762000"/>
                    <a:gd name="connsiteY25" fmla="*/ 38110 h 647880"/>
                    <a:gd name="connsiteX26" fmla="*/ 38100 w 762000"/>
                    <a:gd name="connsiteY26" fmla="*/ 19060 h 647880"/>
                    <a:gd name="connsiteX27" fmla="*/ 723900 w 762000"/>
                    <a:gd name="connsiteY27" fmla="*/ 19060 h 647880"/>
                    <a:gd name="connsiteX28" fmla="*/ 742950 w 762000"/>
                    <a:gd name="connsiteY28" fmla="*/ 38110 h 6478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762000" h="647880">
                      <a:moveTo>
                        <a:pt x="723900" y="0"/>
                      </a:moveTo>
                      <a:lnTo>
                        <a:pt x="38100" y="0"/>
                      </a:lnTo>
                      <a:cubicBezTo>
                        <a:pt x="17084" y="63"/>
                        <a:pt x="63" y="17084"/>
                        <a:pt x="0" y="38100"/>
                      </a:cubicBezTo>
                      <a:lnTo>
                        <a:pt x="0" y="495481"/>
                      </a:lnTo>
                      <a:cubicBezTo>
                        <a:pt x="68" y="516495"/>
                        <a:pt x="17086" y="533513"/>
                        <a:pt x="38100" y="533581"/>
                      </a:cubicBezTo>
                      <a:lnTo>
                        <a:pt x="314325" y="533581"/>
                      </a:lnTo>
                      <a:lnTo>
                        <a:pt x="314325" y="628831"/>
                      </a:lnTo>
                      <a:lnTo>
                        <a:pt x="209550" y="628831"/>
                      </a:lnTo>
                      <a:lnTo>
                        <a:pt x="209550" y="647881"/>
                      </a:lnTo>
                      <a:lnTo>
                        <a:pt x="552450" y="647881"/>
                      </a:lnTo>
                      <a:lnTo>
                        <a:pt x="552450" y="628831"/>
                      </a:lnTo>
                      <a:lnTo>
                        <a:pt x="447675" y="628831"/>
                      </a:lnTo>
                      <a:lnTo>
                        <a:pt x="447675" y="533581"/>
                      </a:lnTo>
                      <a:lnTo>
                        <a:pt x="723900" y="533581"/>
                      </a:lnTo>
                      <a:cubicBezTo>
                        <a:pt x="744914" y="533513"/>
                        <a:pt x="761932" y="516495"/>
                        <a:pt x="762000" y="495481"/>
                      </a:cubicBezTo>
                      <a:lnTo>
                        <a:pt x="762000" y="38110"/>
                      </a:lnTo>
                      <a:cubicBezTo>
                        <a:pt x="761943" y="17090"/>
                        <a:pt x="744920" y="63"/>
                        <a:pt x="723900" y="0"/>
                      </a:cubicBezTo>
                      <a:close/>
                      <a:moveTo>
                        <a:pt x="428625" y="628831"/>
                      </a:moveTo>
                      <a:lnTo>
                        <a:pt x="333375" y="628831"/>
                      </a:lnTo>
                      <a:lnTo>
                        <a:pt x="333375" y="533581"/>
                      </a:lnTo>
                      <a:lnTo>
                        <a:pt x="428625" y="533581"/>
                      </a:lnTo>
                      <a:close/>
                      <a:moveTo>
                        <a:pt x="742950" y="495481"/>
                      </a:moveTo>
                      <a:cubicBezTo>
                        <a:pt x="742950" y="506002"/>
                        <a:pt x="734421" y="514531"/>
                        <a:pt x="723900" y="514531"/>
                      </a:cubicBezTo>
                      <a:lnTo>
                        <a:pt x="38100" y="514531"/>
                      </a:lnTo>
                      <a:cubicBezTo>
                        <a:pt x="27579" y="514531"/>
                        <a:pt x="19050" y="506002"/>
                        <a:pt x="19050" y="495481"/>
                      </a:cubicBezTo>
                      <a:lnTo>
                        <a:pt x="19050" y="38110"/>
                      </a:lnTo>
                      <a:cubicBezTo>
                        <a:pt x="19050" y="27588"/>
                        <a:pt x="27579" y="19060"/>
                        <a:pt x="38100" y="19060"/>
                      </a:cubicBezTo>
                      <a:lnTo>
                        <a:pt x="723900" y="19060"/>
                      </a:lnTo>
                      <a:cubicBezTo>
                        <a:pt x="734421" y="19060"/>
                        <a:pt x="742950" y="27588"/>
                        <a:pt x="742950" y="38110"/>
                      </a:cubicBezTo>
                      <a:close/>
                    </a:path>
                  </a:pathLst>
                </a:custGeom>
                <a:solidFill>
                  <a:srgbClr val="0E7FBE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" name="Freihandform: Form 84">
                  <a:extLst>
                    <a:ext uri="{FF2B5EF4-FFF2-40B4-BE49-F238E27FC236}">
                      <a16:creationId xmlns:a16="http://schemas.microsoft.com/office/drawing/2014/main" id="{D05D4711-5F54-4ED8-3128-E32881E05A45}"/>
                    </a:ext>
                  </a:extLst>
                </p:cNvPr>
                <p:cNvSpPr/>
                <p:nvPr/>
              </p:nvSpPr>
              <p:spPr>
                <a:xfrm>
                  <a:off x="4425633" y="-2023889"/>
                  <a:ext cx="666750" cy="438311"/>
                </a:xfrm>
                <a:custGeom>
                  <a:avLst/>
                  <a:gdLst>
                    <a:gd name="connsiteX0" fmla="*/ 19050 w 666750"/>
                    <a:gd name="connsiteY0" fmla="*/ 0 h 438311"/>
                    <a:gd name="connsiteX1" fmla="*/ 0 w 666750"/>
                    <a:gd name="connsiteY1" fmla="*/ 0 h 438311"/>
                    <a:gd name="connsiteX2" fmla="*/ 0 w 666750"/>
                    <a:gd name="connsiteY2" fmla="*/ 438312 h 438311"/>
                    <a:gd name="connsiteX3" fmla="*/ 666750 w 666750"/>
                    <a:gd name="connsiteY3" fmla="*/ 438312 h 438311"/>
                    <a:gd name="connsiteX4" fmla="*/ 666750 w 666750"/>
                    <a:gd name="connsiteY4" fmla="*/ 0 h 438311"/>
                    <a:gd name="connsiteX5" fmla="*/ 19050 w 666750"/>
                    <a:gd name="connsiteY5" fmla="*/ 0 h 438311"/>
                    <a:gd name="connsiteX6" fmla="*/ 647700 w 666750"/>
                    <a:gd name="connsiteY6" fmla="*/ 419262 h 438311"/>
                    <a:gd name="connsiteX7" fmla="*/ 19050 w 666750"/>
                    <a:gd name="connsiteY7" fmla="*/ 419262 h 438311"/>
                    <a:gd name="connsiteX8" fmla="*/ 19050 w 666750"/>
                    <a:gd name="connsiteY8" fmla="*/ 19050 h 438311"/>
                    <a:gd name="connsiteX9" fmla="*/ 647700 w 666750"/>
                    <a:gd name="connsiteY9" fmla="*/ 19050 h 4383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66750" h="438311">
                      <a:moveTo>
                        <a:pt x="19050" y="0"/>
                      </a:moveTo>
                      <a:lnTo>
                        <a:pt x="0" y="0"/>
                      </a:lnTo>
                      <a:lnTo>
                        <a:pt x="0" y="438312"/>
                      </a:lnTo>
                      <a:lnTo>
                        <a:pt x="666750" y="438312"/>
                      </a:lnTo>
                      <a:lnTo>
                        <a:pt x="666750" y="0"/>
                      </a:lnTo>
                      <a:lnTo>
                        <a:pt x="19050" y="0"/>
                      </a:lnTo>
                      <a:close/>
                      <a:moveTo>
                        <a:pt x="647700" y="419262"/>
                      </a:moveTo>
                      <a:lnTo>
                        <a:pt x="19050" y="419262"/>
                      </a:lnTo>
                      <a:lnTo>
                        <a:pt x="19050" y="19050"/>
                      </a:lnTo>
                      <a:lnTo>
                        <a:pt x="647700" y="19050"/>
                      </a:lnTo>
                      <a:close/>
                    </a:path>
                  </a:pathLst>
                </a:custGeom>
                <a:solidFill>
                  <a:srgbClr val="0E7FBE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pic>
            <p:nvPicPr>
              <p:cNvPr id="69" name="Grafik 68" descr="Workflow Silhouette">
                <a:extLst>
                  <a:ext uri="{FF2B5EF4-FFF2-40B4-BE49-F238E27FC236}">
                    <a16:creationId xmlns:a16="http://schemas.microsoft.com/office/drawing/2014/main" id="{3C268749-51FC-000B-F288-FBB74D1927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4710675" y="-1982423"/>
                <a:ext cx="355378" cy="355378"/>
              </a:xfrm>
              <a:prstGeom prst="rect">
                <a:avLst/>
              </a:prstGeom>
            </p:spPr>
          </p:pic>
          <p:grpSp>
            <p:nvGrpSpPr>
              <p:cNvPr id="70" name="Group 673">
                <a:extLst>
                  <a:ext uri="{FF2B5EF4-FFF2-40B4-BE49-F238E27FC236}">
                    <a16:creationId xmlns:a16="http://schemas.microsoft.com/office/drawing/2014/main" id="{E4EC0828-08DB-37C4-68B6-4756B4C01B9F}"/>
                  </a:ext>
                </a:extLst>
              </p:cNvPr>
              <p:cNvGrpSpPr/>
              <p:nvPr/>
            </p:nvGrpSpPr>
            <p:grpSpPr>
              <a:xfrm>
                <a:off x="4496302" y="-1921411"/>
                <a:ext cx="191019" cy="92128"/>
                <a:chOff x="7659688" y="5383213"/>
                <a:chExt cx="447675" cy="215900"/>
              </a:xfrm>
              <a:solidFill>
                <a:schemeClr val="tx1"/>
              </a:solidFill>
            </p:grpSpPr>
            <p:sp>
              <p:nvSpPr>
                <p:cNvPr id="78" name="Rectangle 430">
                  <a:extLst>
                    <a:ext uri="{FF2B5EF4-FFF2-40B4-BE49-F238E27FC236}">
                      <a16:creationId xmlns:a16="http://schemas.microsoft.com/office/drawing/2014/main" id="{D9E82A2F-DCD0-98FB-CC7B-9FBD5F4EE15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59688" y="5383213"/>
                  <a:ext cx="33338" cy="19050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79" name="Rectangle 431">
                  <a:extLst>
                    <a:ext uri="{FF2B5EF4-FFF2-40B4-BE49-F238E27FC236}">
                      <a16:creationId xmlns:a16="http://schemas.microsoft.com/office/drawing/2014/main" id="{C23AF5AA-44F2-B55C-611E-3ED9E1E49B9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04138" y="5383213"/>
                  <a:ext cx="403225" cy="19050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80" name="Rectangle 432">
                  <a:extLst>
                    <a:ext uri="{FF2B5EF4-FFF2-40B4-BE49-F238E27FC236}">
                      <a16:creationId xmlns:a16="http://schemas.microsoft.com/office/drawing/2014/main" id="{E8A3F20D-9A8A-C997-C4CB-DCB8B5E3B9E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59688" y="5483226"/>
                  <a:ext cx="33338" cy="17463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81" name="Rectangle 433">
                  <a:extLst>
                    <a:ext uri="{FF2B5EF4-FFF2-40B4-BE49-F238E27FC236}">
                      <a16:creationId xmlns:a16="http://schemas.microsoft.com/office/drawing/2014/main" id="{0B086729-1110-3400-4611-1BF43A26389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04138" y="5483226"/>
                  <a:ext cx="403225" cy="17463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82" name="Rectangle 434">
                  <a:extLst>
                    <a:ext uri="{FF2B5EF4-FFF2-40B4-BE49-F238E27FC236}">
                      <a16:creationId xmlns:a16="http://schemas.microsoft.com/office/drawing/2014/main" id="{844F0000-7B62-611D-051D-472D2EC9C03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04138" y="5580063"/>
                  <a:ext cx="403225" cy="19050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83" name="Rectangle 435">
                  <a:extLst>
                    <a:ext uri="{FF2B5EF4-FFF2-40B4-BE49-F238E27FC236}">
                      <a16:creationId xmlns:a16="http://schemas.microsoft.com/office/drawing/2014/main" id="{41CCB8C9-55B2-17AB-BDCF-896CFF14918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59688" y="5580063"/>
                  <a:ext cx="33338" cy="19050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</p:grpSp>
          <p:grpSp>
            <p:nvGrpSpPr>
              <p:cNvPr id="71" name="Group 673">
                <a:extLst>
                  <a:ext uri="{FF2B5EF4-FFF2-40B4-BE49-F238E27FC236}">
                    <a16:creationId xmlns:a16="http://schemas.microsoft.com/office/drawing/2014/main" id="{3EB90384-A99D-FE17-EF13-C70A11FC51AB}"/>
                  </a:ext>
                </a:extLst>
              </p:cNvPr>
              <p:cNvGrpSpPr/>
              <p:nvPr/>
            </p:nvGrpSpPr>
            <p:grpSpPr>
              <a:xfrm>
                <a:off x="4504948" y="-1817366"/>
                <a:ext cx="191019" cy="92128"/>
                <a:chOff x="7659688" y="5383213"/>
                <a:chExt cx="447675" cy="215900"/>
              </a:xfrm>
              <a:solidFill>
                <a:schemeClr val="tx1"/>
              </a:solidFill>
            </p:grpSpPr>
            <p:sp>
              <p:nvSpPr>
                <p:cNvPr id="72" name="Rectangle 430">
                  <a:extLst>
                    <a:ext uri="{FF2B5EF4-FFF2-40B4-BE49-F238E27FC236}">
                      <a16:creationId xmlns:a16="http://schemas.microsoft.com/office/drawing/2014/main" id="{7FB492FC-2F25-D2BA-810C-A4585D82F5F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59688" y="5383213"/>
                  <a:ext cx="33338" cy="19050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73" name="Rectangle 431">
                  <a:extLst>
                    <a:ext uri="{FF2B5EF4-FFF2-40B4-BE49-F238E27FC236}">
                      <a16:creationId xmlns:a16="http://schemas.microsoft.com/office/drawing/2014/main" id="{95C7CA92-23BE-B629-FBD7-710F9A6D818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04138" y="5383213"/>
                  <a:ext cx="403225" cy="19050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74" name="Rectangle 432">
                  <a:extLst>
                    <a:ext uri="{FF2B5EF4-FFF2-40B4-BE49-F238E27FC236}">
                      <a16:creationId xmlns:a16="http://schemas.microsoft.com/office/drawing/2014/main" id="{DDCF35B7-2A86-AFBC-5AA6-4ECD41DA8CA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59688" y="5483226"/>
                  <a:ext cx="33338" cy="17463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75" name="Rectangle 433">
                  <a:extLst>
                    <a:ext uri="{FF2B5EF4-FFF2-40B4-BE49-F238E27FC236}">
                      <a16:creationId xmlns:a16="http://schemas.microsoft.com/office/drawing/2014/main" id="{55838DBA-30CE-49B0-8791-CF72EBAABFD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04138" y="5483226"/>
                  <a:ext cx="403225" cy="17463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76" name="Rectangle 434">
                  <a:extLst>
                    <a:ext uri="{FF2B5EF4-FFF2-40B4-BE49-F238E27FC236}">
                      <a16:creationId xmlns:a16="http://schemas.microsoft.com/office/drawing/2014/main" id="{409FAE8D-F1B8-2BA2-51AA-0E991D9DDF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04138" y="5580063"/>
                  <a:ext cx="403225" cy="19050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77" name="Rectangle 435">
                  <a:extLst>
                    <a:ext uri="{FF2B5EF4-FFF2-40B4-BE49-F238E27FC236}">
                      <a16:creationId xmlns:a16="http://schemas.microsoft.com/office/drawing/2014/main" id="{9B09A1E1-D623-686D-29B2-CEDA53587F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59688" y="5580063"/>
                  <a:ext cx="33338" cy="19050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</p:grpSp>
        </p:grpSp>
        <p:grpSp>
          <p:nvGrpSpPr>
            <p:cNvPr id="105" name="Gruppieren 104">
              <a:extLst>
                <a:ext uri="{FF2B5EF4-FFF2-40B4-BE49-F238E27FC236}">
                  <a16:creationId xmlns:a16="http://schemas.microsoft.com/office/drawing/2014/main" id="{2B3AFB15-4A34-9EAC-1437-F69F44AF3F28}"/>
                </a:ext>
              </a:extLst>
            </p:cNvPr>
            <p:cNvGrpSpPr/>
            <p:nvPr/>
          </p:nvGrpSpPr>
          <p:grpSpPr>
            <a:xfrm>
              <a:off x="6733780" y="632431"/>
              <a:ext cx="914400" cy="920024"/>
              <a:chOff x="2389160" y="4860209"/>
              <a:chExt cx="1720851" cy="1731436"/>
            </a:xfrm>
          </p:grpSpPr>
          <p:sp>
            <p:nvSpPr>
              <p:cNvPr id="106" name="Freeform 29">
                <a:extLst>
                  <a:ext uri="{FF2B5EF4-FFF2-40B4-BE49-F238E27FC236}">
                    <a16:creationId xmlns:a16="http://schemas.microsoft.com/office/drawing/2014/main" id="{DFE7847D-4646-366A-4352-1DBBB59996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9160" y="5725927"/>
                <a:ext cx="1720851" cy="865718"/>
              </a:xfrm>
              <a:custGeom>
                <a:avLst/>
                <a:gdLst>
                  <a:gd name="T0" fmla="*/ 233 w 465"/>
                  <a:gd name="T1" fmla="*/ 233 h 233"/>
                  <a:gd name="T2" fmla="*/ 0 w 465"/>
                  <a:gd name="T3" fmla="*/ 0 h 233"/>
                  <a:gd name="T4" fmla="*/ 40 w 465"/>
                  <a:gd name="T5" fmla="*/ 0 h 233"/>
                  <a:gd name="T6" fmla="*/ 233 w 465"/>
                  <a:gd name="T7" fmla="*/ 193 h 233"/>
                  <a:gd name="T8" fmla="*/ 425 w 465"/>
                  <a:gd name="T9" fmla="*/ 0 h 233"/>
                  <a:gd name="T10" fmla="*/ 465 w 465"/>
                  <a:gd name="T11" fmla="*/ 0 h 233"/>
                  <a:gd name="T12" fmla="*/ 233 w 465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5" h="233">
                    <a:moveTo>
                      <a:pt x="233" y="233"/>
                    </a:moveTo>
                    <a:cubicBezTo>
                      <a:pt x="104" y="233"/>
                      <a:pt x="0" y="128"/>
                      <a:pt x="0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0" y="106"/>
                      <a:pt x="127" y="193"/>
                      <a:pt x="233" y="193"/>
                    </a:cubicBezTo>
                    <a:cubicBezTo>
                      <a:pt x="339" y="193"/>
                      <a:pt x="425" y="106"/>
                      <a:pt x="425" y="0"/>
                    </a:cubicBezTo>
                    <a:cubicBezTo>
                      <a:pt x="465" y="0"/>
                      <a:pt x="465" y="0"/>
                      <a:pt x="465" y="0"/>
                    </a:cubicBezTo>
                    <a:cubicBezTo>
                      <a:pt x="465" y="128"/>
                      <a:pt x="361" y="233"/>
                      <a:pt x="233" y="233"/>
                    </a:cubicBezTo>
                    <a:close/>
                  </a:path>
                </a:pathLst>
              </a:custGeom>
              <a:solidFill>
                <a:srgbClr val="0E7FBE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07" name="Freeform 31">
                <a:extLst>
                  <a:ext uri="{FF2B5EF4-FFF2-40B4-BE49-F238E27FC236}">
                    <a16:creationId xmlns:a16="http://schemas.microsoft.com/office/drawing/2014/main" id="{4CA03695-F1BF-5421-781A-E2E5C0EEF3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9160" y="4860209"/>
                <a:ext cx="1720851" cy="865718"/>
              </a:xfrm>
              <a:custGeom>
                <a:avLst/>
                <a:gdLst>
                  <a:gd name="T0" fmla="*/ 465 w 465"/>
                  <a:gd name="T1" fmla="*/ 233 h 233"/>
                  <a:gd name="T2" fmla="*/ 425 w 465"/>
                  <a:gd name="T3" fmla="*/ 233 h 233"/>
                  <a:gd name="T4" fmla="*/ 233 w 465"/>
                  <a:gd name="T5" fmla="*/ 40 h 233"/>
                  <a:gd name="T6" fmla="*/ 40 w 465"/>
                  <a:gd name="T7" fmla="*/ 233 h 233"/>
                  <a:gd name="T8" fmla="*/ 0 w 465"/>
                  <a:gd name="T9" fmla="*/ 233 h 233"/>
                  <a:gd name="T10" fmla="*/ 233 w 465"/>
                  <a:gd name="T11" fmla="*/ 0 h 233"/>
                  <a:gd name="T12" fmla="*/ 465 w 465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5" h="233">
                    <a:moveTo>
                      <a:pt x="465" y="233"/>
                    </a:moveTo>
                    <a:cubicBezTo>
                      <a:pt x="425" y="233"/>
                      <a:pt x="425" y="233"/>
                      <a:pt x="425" y="233"/>
                    </a:cubicBezTo>
                    <a:cubicBezTo>
                      <a:pt x="425" y="127"/>
                      <a:pt x="339" y="40"/>
                      <a:pt x="233" y="40"/>
                    </a:cubicBezTo>
                    <a:cubicBezTo>
                      <a:pt x="127" y="40"/>
                      <a:pt x="40" y="127"/>
                      <a:pt x="40" y="233"/>
                    </a:cubicBezTo>
                    <a:cubicBezTo>
                      <a:pt x="0" y="233"/>
                      <a:pt x="0" y="233"/>
                      <a:pt x="0" y="233"/>
                    </a:cubicBezTo>
                    <a:cubicBezTo>
                      <a:pt x="0" y="104"/>
                      <a:pt x="104" y="0"/>
                      <a:pt x="233" y="0"/>
                    </a:cubicBezTo>
                    <a:cubicBezTo>
                      <a:pt x="361" y="0"/>
                      <a:pt x="465" y="104"/>
                      <a:pt x="465" y="23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</p:grpSp>
      <p:grpSp>
        <p:nvGrpSpPr>
          <p:cNvPr id="117" name="Gruppieren 116">
            <a:extLst>
              <a:ext uri="{FF2B5EF4-FFF2-40B4-BE49-F238E27FC236}">
                <a16:creationId xmlns:a16="http://schemas.microsoft.com/office/drawing/2014/main" id="{CFF06B02-232D-A465-DF3F-975DBFB2E83E}"/>
              </a:ext>
            </a:extLst>
          </p:cNvPr>
          <p:cNvGrpSpPr/>
          <p:nvPr/>
        </p:nvGrpSpPr>
        <p:grpSpPr>
          <a:xfrm>
            <a:off x="614903" y="4888901"/>
            <a:ext cx="914400" cy="920024"/>
            <a:chOff x="6530995" y="2823213"/>
            <a:chExt cx="914400" cy="920024"/>
          </a:xfrm>
        </p:grpSpPr>
        <p:pic>
          <p:nvPicPr>
            <p:cNvPr id="87" name="Grafik 86" descr="Klassenzimmer Silhouette">
              <a:extLst>
                <a:ext uri="{FF2B5EF4-FFF2-40B4-BE49-F238E27FC236}">
                  <a16:creationId xmlns:a16="http://schemas.microsoft.com/office/drawing/2014/main" id="{6AC4953E-F69C-D1C0-BFB7-952CFE85E49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718246" y="2988414"/>
              <a:ext cx="589622" cy="589622"/>
            </a:xfrm>
            <a:prstGeom prst="rect">
              <a:avLst/>
            </a:prstGeom>
          </p:spPr>
        </p:pic>
        <p:grpSp>
          <p:nvGrpSpPr>
            <p:cNvPr id="108" name="Gruppieren 107">
              <a:extLst>
                <a:ext uri="{FF2B5EF4-FFF2-40B4-BE49-F238E27FC236}">
                  <a16:creationId xmlns:a16="http://schemas.microsoft.com/office/drawing/2014/main" id="{42B15FFC-ED39-D8C8-4EC3-E08D93F43EB9}"/>
                </a:ext>
              </a:extLst>
            </p:cNvPr>
            <p:cNvGrpSpPr/>
            <p:nvPr/>
          </p:nvGrpSpPr>
          <p:grpSpPr>
            <a:xfrm>
              <a:off x="6530995" y="2823213"/>
              <a:ext cx="914400" cy="920024"/>
              <a:chOff x="2389160" y="4860209"/>
              <a:chExt cx="1720851" cy="1731436"/>
            </a:xfrm>
          </p:grpSpPr>
          <p:sp>
            <p:nvSpPr>
              <p:cNvPr id="109" name="Freeform 29">
                <a:extLst>
                  <a:ext uri="{FF2B5EF4-FFF2-40B4-BE49-F238E27FC236}">
                    <a16:creationId xmlns:a16="http://schemas.microsoft.com/office/drawing/2014/main" id="{59E487C8-6692-9570-E1DB-BD07B7B7A6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9160" y="5725927"/>
                <a:ext cx="1720851" cy="865718"/>
              </a:xfrm>
              <a:custGeom>
                <a:avLst/>
                <a:gdLst>
                  <a:gd name="T0" fmla="*/ 233 w 465"/>
                  <a:gd name="T1" fmla="*/ 233 h 233"/>
                  <a:gd name="T2" fmla="*/ 0 w 465"/>
                  <a:gd name="T3" fmla="*/ 0 h 233"/>
                  <a:gd name="T4" fmla="*/ 40 w 465"/>
                  <a:gd name="T5" fmla="*/ 0 h 233"/>
                  <a:gd name="T6" fmla="*/ 233 w 465"/>
                  <a:gd name="T7" fmla="*/ 193 h 233"/>
                  <a:gd name="T8" fmla="*/ 425 w 465"/>
                  <a:gd name="T9" fmla="*/ 0 h 233"/>
                  <a:gd name="T10" fmla="*/ 465 w 465"/>
                  <a:gd name="T11" fmla="*/ 0 h 233"/>
                  <a:gd name="T12" fmla="*/ 233 w 465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5" h="233">
                    <a:moveTo>
                      <a:pt x="233" y="233"/>
                    </a:moveTo>
                    <a:cubicBezTo>
                      <a:pt x="104" y="233"/>
                      <a:pt x="0" y="128"/>
                      <a:pt x="0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0" y="106"/>
                      <a:pt x="127" y="193"/>
                      <a:pt x="233" y="193"/>
                    </a:cubicBezTo>
                    <a:cubicBezTo>
                      <a:pt x="339" y="193"/>
                      <a:pt x="425" y="106"/>
                      <a:pt x="425" y="0"/>
                    </a:cubicBezTo>
                    <a:cubicBezTo>
                      <a:pt x="465" y="0"/>
                      <a:pt x="465" y="0"/>
                      <a:pt x="465" y="0"/>
                    </a:cubicBezTo>
                    <a:cubicBezTo>
                      <a:pt x="465" y="128"/>
                      <a:pt x="361" y="233"/>
                      <a:pt x="233" y="23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10" name="Freeform 31">
                <a:extLst>
                  <a:ext uri="{FF2B5EF4-FFF2-40B4-BE49-F238E27FC236}">
                    <a16:creationId xmlns:a16="http://schemas.microsoft.com/office/drawing/2014/main" id="{89666CF7-E49B-7366-F540-8123E3C630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9160" y="4860209"/>
                <a:ext cx="1720851" cy="865718"/>
              </a:xfrm>
              <a:custGeom>
                <a:avLst/>
                <a:gdLst>
                  <a:gd name="T0" fmla="*/ 465 w 465"/>
                  <a:gd name="T1" fmla="*/ 233 h 233"/>
                  <a:gd name="T2" fmla="*/ 425 w 465"/>
                  <a:gd name="T3" fmla="*/ 233 h 233"/>
                  <a:gd name="T4" fmla="*/ 233 w 465"/>
                  <a:gd name="T5" fmla="*/ 40 h 233"/>
                  <a:gd name="T6" fmla="*/ 40 w 465"/>
                  <a:gd name="T7" fmla="*/ 233 h 233"/>
                  <a:gd name="T8" fmla="*/ 0 w 465"/>
                  <a:gd name="T9" fmla="*/ 233 h 233"/>
                  <a:gd name="T10" fmla="*/ 233 w 465"/>
                  <a:gd name="T11" fmla="*/ 0 h 233"/>
                  <a:gd name="T12" fmla="*/ 465 w 465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5" h="233">
                    <a:moveTo>
                      <a:pt x="465" y="233"/>
                    </a:moveTo>
                    <a:cubicBezTo>
                      <a:pt x="425" y="233"/>
                      <a:pt x="425" y="233"/>
                      <a:pt x="425" y="233"/>
                    </a:cubicBezTo>
                    <a:cubicBezTo>
                      <a:pt x="425" y="127"/>
                      <a:pt x="339" y="40"/>
                      <a:pt x="233" y="40"/>
                    </a:cubicBezTo>
                    <a:cubicBezTo>
                      <a:pt x="127" y="40"/>
                      <a:pt x="40" y="127"/>
                      <a:pt x="40" y="233"/>
                    </a:cubicBezTo>
                    <a:cubicBezTo>
                      <a:pt x="0" y="233"/>
                      <a:pt x="0" y="233"/>
                      <a:pt x="0" y="233"/>
                    </a:cubicBezTo>
                    <a:cubicBezTo>
                      <a:pt x="0" y="104"/>
                      <a:pt x="104" y="0"/>
                      <a:pt x="233" y="0"/>
                    </a:cubicBezTo>
                    <a:cubicBezTo>
                      <a:pt x="361" y="0"/>
                      <a:pt x="465" y="104"/>
                      <a:pt x="465" y="233"/>
                    </a:cubicBezTo>
                    <a:close/>
                  </a:path>
                </a:pathLst>
              </a:custGeom>
              <a:solidFill>
                <a:srgbClr val="345E88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328B19E-B0D4-85A9-C0FC-15048443149B}"/>
              </a:ext>
            </a:extLst>
          </p:cNvPr>
          <p:cNvGrpSpPr/>
          <p:nvPr/>
        </p:nvGrpSpPr>
        <p:grpSpPr>
          <a:xfrm>
            <a:off x="6363415" y="4888901"/>
            <a:ext cx="914400" cy="920024"/>
            <a:chOff x="5862622" y="4728406"/>
            <a:chExt cx="914400" cy="920024"/>
          </a:xfrm>
        </p:grpSpPr>
        <p:pic>
          <p:nvPicPr>
            <p:cNvPr id="89" name="Grafik 88" descr="Callcenter Silhouette">
              <a:extLst>
                <a:ext uri="{FF2B5EF4-FFF2-40B4-BE49-F238E27FC236}">
                  <a16:creationId xmlns:a16="http://schemas.microsoft.com/office/drawing/2014/main" id="{B55B720D-45BF-AA5C-4F99-E8BC250D2524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015937" y="4843046"/>
              <a:ext cx="607769" cy="607769"/>
            </a:xfrm>
            <a:prstGeom prst="rect">
              <a:avLst/>
            </a:prstGeom>
          </p:spPr>
        </p:pic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E015BD0E-1FE0-62E3-D2CC-BB82C663BB8B}"/>
                </a:ext>
              </a:extLst>
            </p:cNvPr>
            <p:cNvGrpSpPr/>
            <p:nvPr/>
          </p:nvGrpSpPr>
          <p:grpSpPr>
            <a:xfrm>
              <a:off x="5862622" y="4728406"/>
              <a:ext cx="914400" cy="920024"/>
              <a:chOff x="2389160" y="4860209"/>
              <a:chExt cx="1720851" cy="1731436"/>
            </a:xfrm>
          </p:grpSpPr>
          <p:sp>
            <p:nvSpPr>
              <p:cNvPr id="112" name="Freeform 29">
                <a:extLst>
                  <a:ext uri="{FF2B5EF4-FFF2-40B4-BE49-F238E27FC236}">
                    <a16:creationId xmlns:a16="http://schemas.microsoft.com/office/drawing/2014/main" id="{3A090163-0812-1F44-BF98-97BF2F1DA6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9160" y="5725927"/>
                <a:ext cx="1720851" cy="865718"/>
              </a:xfrm>
              <a:custGeom>
                <a:avLst/>
                <a:gdLst>
                  <a:gd name="T0" fmla="*/ 233 w 465"/>
                  <a:gd name="T1" fmla="*/ 233 h 233"/>
                  <a:gd name="T2" fmla="*/ 0 w 465"/>
                  <a:gd name="T3" fmla="*/ 0 h 233"/>
                  <a:gd name="T4" fmla="*/ 40 w 465"/>
                  <a:gd name="T5" fmla="*/ 0 h 233"/>
                  <a:gd name="T6" fmla="*/ 233 w 465"/>
                  <a:gd name="T7" fmla="*/ 193 h 233"/>
                  <a:gd name="T8" fmla="*/ 425 w 465"/>
                  <a:gd name="T9" fmla="*/ 0 h 233"/>
                  <a:gd name="T10" fmla="*/ 465 w 465"/>
                  <a:gd name="T11" fmla="*/ 0 h 233"/>
                  <a:gd name="T12" fmla="*/ 233 w 465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5" h="233">
                    <a:moveTo>
                      <a:pt x="233" y="233"/>
                    </a:moveTo>
                    <a:cubicBezTo>
                      <a:pt x="104" y="233"/>
                      <a:pt x="0" y="128"/>
                      <a:pt x="0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0" y="106"/>
                      <a:pt x="127" y="193"/>
                      <a:pt x="233" y="193"/>
                    </a:cubicBezTo>
                    <a:cubicBezTo>
                      <a:pt x="339" y="193"/>
                      <a:pt x="425" y="106"/>
                      <a:pt x="425" y="0"/>
                    </a:cubicBezTo>
                    <a:cubicBezTo>
                      <a:pt x="465" y="0"/>
                      <a:pt x="465" y="0"/>
                      <a:pt x="465" y="0"/>
                    </a:cubicBezTo>
                    <a:cubicBezTo>
                      <a:pt x="465" y="128"/>
                      <a:pt x="361" y="233"/>
                      <a:pt x="233" y="233"/>
                    </a:cubicBezTo>
                    <a:close/>
                  </a:path>
                </a:pathLst>
              </a:custGeom>
              <a:solidFill>
                <a:srgbClr val="063853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13" name="Freeform 31">
                <a:extLst>
                  <a:ext uri="{FF2B5EF4-FFF2-40B4-BE49-F238E27FC236}">
                    <a16:creationId xmlns:a16="http://schemas.microsoft.com/office/drawing/2014/main" id="{16BAE24F-2BA8-4194-846B-E392B4F0F2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9160" y="4860209"/>
                <a:ext cx="1720851" cy="865718"/>
              </a:xfrm>
              <a:custGeom>
                <a:avLst/>
                <a:gdLst>
                  <a:gd name="T0" fmla="*/ 465 w 465"/>
                  <a:gd name="T1" fmla="*/ 233 h 233"/>
                  <a:gd name="T2" fmla="*/ 425 w 465"/>
                  <a:gd name="T3" fmla="*/ 233 h 233"/>
                  <a:gd name="T4" fmla="*/ 233 w 465"/>
                  <a:gd name="T5" fmla="*/ 40 h 233"/>
                  <a:gd name="T6" fmla="*/ 40 w 465"/>
                  <a:gd name="T7" fmla="*/ 233 h 233"/>
                  <a:gd name="T8" fmla="*/ 0 w 465"/>
                  <a:gd name="T9" fmla="*/ 233 h 233"/>
                  <a:gd name="T10" fmla="*/ 233 w 465"/>
                  <a:gd name="T11" fmla="*/ 0 h 233"/>
                  <a:gd name="T12" fmla="*/ 465 w 465"/>
                  <a:gd name="T13" fmla="*/ 2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5" h="233">
                    <a:moveTo>
                      <a:pt x="465" y="233"/>
                    </a:moveTo>
                    <a:cubicBezTo>
                      <a:pt x="425" y="233"/>
                      <a:pt x="425" y="233"/>
                      <a:pt x="425" y="233"/>
                    </a:cubicBezTo>
                    <a:cubicBezTo>
                      <a:pt x="425" y="127"/>
                      <a:pt x="339" y="40"/>
                      <a:pt x="233" y="40"/>
                    </a:cubicBezTo>
                    <a:cubicBezTo>
                      <a:pt x="127" y="40"/>
                      <a:pt x="40" y="127"/>
                      <a:pt x="40" y="233"/>
                    </a:cubicBezTo>
                    <a:cubicBezTo>
                      <a:pt x="0" y="233"/>
                      <a:pt x="0" y="233"/>
                      <a:pt x="0" y="233"/>
                    </a:cubicBezTo>
                    <a:cubicBezTo>
                      <a:pt x="0" y="104"/>
                      <a:pt x="104" y="0"/>
                      <a:pt x="233" y="0"/>
                    </a:cubicBezTo>
                    <a:cubicBezTo>
                      <a:pt x="361" y="0"/>
                      <a:pt x="465" y="104"/>
                      <a:pt x="465" y="23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</p:grpSp>
      <p:sp>
        <p:nvSpPr>
          <p:cNvPr id="119" name="Rectangle 29">
            <a:extLst>
              <a:ext uri="{FF2B5EF4-FFF2-40B4-BE49-F238E27FC236}">
                <a16:creationId xmlns:a16="http://schemas.microsoft.com/office/drawing/2014/main" id="{06CA9B6A-74FA-26D3-866F-BFF630350634}"/>
              </a:ext>
            </a:extLst>
          </p:cNvPr>
          <p:cNvSpPr/>
          <p:nvPr/>
        </p:nvSpPr>
        <p:spPr>
          <a:xfrm>
            <a:off x="1655725" y="1388841"/>
            <a:ext cx="442800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>
                <a:latin typeface="Montserrat" panose="00000500000000000000" pitchFamily="2" charset="0"/>
              </a:rPr>
              <a:t>Assess Business Requirements</a:t>
            </a:r>
            <a:r>
              <a:rPr lang="en-US" sz="1000">
                <a:latin typeface="Montserrat" panose="00000500000000000000" pitchFamily="2" charset="0"/>
              </a:rPr>
              <a:t>: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>
                <a:latin typeface="Montserrat" panose="00000500000000000000" pitchFamily="2" charset="0"/>
              </a:rPr>
              <a:t>Engage with key stakeholders (e.g., product managers, engineers, QA teams) to understand their processes and identify how </a:t>
            </a:r>
            <a:r>
              <a:rPr lang="en-US" sz="1000" err="1">
                <a:latin typeface="Montserrat" panose="00000500000000000000" pitchFamily="2" charset="0"/>
              </a:rPr>
              <a:t>Polarion</a:t>
            </a:r>
            <a:r>
              <a:rPr lang="en-US" sz="1000">
                <a:latin typeface="Montserrat" panose="00000500000000000000" pitchFamily="2" charset="0"/>
              </a:rPr>
              <a:t> can improve efficiency, visibility, and traceability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>
                <a:latin typeface="Montserrat" panose="00000500000000000000" pitchFamily="2" charset="0"/>
              </a:rPr>
              <a:t>Determine how </a:t>
            </a:r>
            <a:r>
              <a:rPr lang="en-US" sz="1000" err="1">
                <a:latin typeface="Montserrat" panose="00000500000000000000" pitchFamily="2" charset="0"/>
              </a:rPr>
              <a:t>Polarion</a:t>
            </a:r>
            <a:r>
              <a:rPr lang="en-US" sz="1000">
                <a:latin typeface="Montserrat" panose="00000500000000000000" pitchFamily="2" charset="0"/>
              </a:rPr>
              <a:t> will integrate with other tools like Jira, Git, and CI/CD systems.</a:t>
            </a:r>
          </a:p>
        </p:txBody>
      </p:sp>
      <p:sp>
        <p:nvSpPr>
          <p:cNvPr id="120" name="Rectangle 29">
            <a:extLst>
              <a:ext uri="{FF2B5EF4-FFF2-40B4-BE49-F238E27FC236}">
                <a16:creationId xmlns:a16="http://schemas.microsoft.com/office/drawing/2014/main" id="{9CD0FA19-70A6-02CB-9983-4A3ADC3C1348}"/>
              </a:ext>
            </a:extLst>
          </p:cNvPr>
          <p:cNvSpPr/>
          <p:nvPr/>
        </p:nvSpPr>
        <p:spPr>
          <a:xfrm>
            <a:off x="7371000" y="1378145"/>
            <a:ext cx="442800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>
                <a:latin typeface="Montserrat" panose="00000500000000000000" pitchFamily="2" charset="0"/>
              </a:rPr>
              <a:t>Plan </a:t>
            </a:r>
            <a:r>
              <a:rPr lang="en-US" sz="1000" b="1" err="1">
                <a:latin typeface="Montserrat" panose="00000500000000000000" pitchFamily="2" charset="0"/>
              </a:rPr>
              <a:t>Polarion</a:t>
            </a:r>
            <a:r>
              <a:rPr lang="en-US" sz="1000" b="1">
                <a:latin typeface="Montserrat" panose="00000500000000000000" pitchFamily="2" charset="0"/>
              </a:rPr>
              <a:t> Configuration</a:t>
            </a:r>
            <a:r>
              <a:rPr lang="en-US" sz="1000">
                <a:latin typeface="Montserrat" panose="00000500000000000000" pitchFamily="2" charset="0"/>
              </a:rPr>
              <a:t>: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>
                <a:latin typeface="Montserrat" panose="00000500000000000000" pitchFamily="2" charset="0"/>
              </a:rPr>
              <a:t>Decide on work item types (e.g., requirements, tasks, defects)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>
                <a:latin typeface="Montserrat" panose="00000500000000000000" pitchFamily="2" charset="0"/>
              </a:rPr>
              <a:t>Configure custom fields to capture relevant information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>
                <a:latin typeface="Montserrat" panose="00000500000000000000" pitchFamily="2" charset="0"/>
              </a:rPr>
              <a:t>Define workflows for each item type, including approval processes, automated assignments, and notifications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>
                <a:latin typeface="Montserrat" panose="00000500000000000000" pitchFamily="2" charset="0"/>
              </a:rPr>
              <a:t>Map out roles and permissions to ensure appropriate user access and control within the system.</a:t>
            </a:r>
          </a:p>
        </p:txBody>
      </p:sp>
      <p:sp>
        <p:nvSpPr>
          <p:cNvPr id="123" name="Rectangle 29">
            <a:extLst>
              <a:ext uri="{FF2B5EF4-FFF2-40B4-BE49-F238E27FC236}">
                <a16:creationId xmlns:a16="http://schemas.microsoft.com/office/drawing/2014/main" id="{6A34CBB6-DE5B-DFA9-C02F-3FDACFF277F3}"/>
              </a:ext>
            </a:extLst>
          </p:cNvPr>
          <p:cNvSpPr/>
          <p:nvPr/>
        </p:nvSpPr>
        <p:spPr>
          <a:xfrm>
            <a:off x="1655725" y="2863903"/>
            <a:ext cx="442800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dirty="0">
                <a:latin typeface="Montserrat" panose="00000500000000000000" pitchFamily="2" charset="0"/>
              </a:rPr>
              <a:t>Install and Set Up </a:t>
            </a:r>
            <a:r>
              <a:rPr lang="en-US" sz="1000" b="1" dirty="0" err="1">
                <a:latin typeface="Montserrat" panose="00000500000000000000" pitchFamily="2" charset="0"/>
              </a:rPr>
              <a:t>Polarion</a:t>
            </a:r>
            <a:r>
              <a:rPr lang="en-US" sz="1000" dirty="0">
                <a:latin typeface="Montserrat" panose="00000500000000000000" pitchFamily="2" charset="0"/>
              </a:rPr>
              <a:t>: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latin typeface="Montserrat" panose="00000500000000000000" pitchFamily="2" charset="0"/>
              </a:rPr>
              <a:t>Install </a:t>
            </a:r>
            <a:r>
              <a:rPr lang="en-US" sz="1000" dirty="0" err="1">
                <a:latin typeface="Montserrat" panose="00000500000000000000" pitchFamily="2" charset="0"/>
              </a:rPr>
              <a:t>Polarion</a:t>
            </a:r>
            <a:r>
              <a:rPr lang="en-US" sz="1000" dirty="0">
                <a:latin typeface="Montserrat" panose="00000500000000000000" pitchFamily="2" charset="0"/>
              </a:rPr>
              <a:t> on the chosen server environment (on-premises or cloud) according to technical specifications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latin typeface="Montserrat" panose="00000500000000000000" pitchFamily="2" charset="0"/>
              </a:rPr>
              <a:t>Ensure the environment is stable, secure, and integrated with existing infrastructure, such as authentication systems (LDAP/Active Directory), databases, or version control tools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latin typeface="Montserrat" panose="00000500000000000000" pitchFamily="2" charset="0"/>
              </a:rPr>
              <a:t>Properly size the system to handle the number of users and projects efficiently.</a:t>
            </a:r>
          </a:p>
        </p:txBody>
      </p:sp>
      <p:sp>
        <p:nvSpPr>
          <p:cNvPr id="124" name="Rectangle 29">
            <a:extLst>
              <a:ext uri="{FF2B5EF4-FFF2-40B4-BE49-F238E27FC236}">
                <a16:creationId xmlns:a16="http://schemas.microsoft.com/office/drawing/2014/main" id="{634EFD94-E1B2-8784-2DBD-E5C32079FCF5}"/>
              </a:ext>
            </a:extLst>
          </p:cNvPr>
          <p:cNvSpPr/>
          <p:nvPr/>
        </p:nvSpPr>
        <p:spPr>
          <a:xfrm>
            <a:off x="1655725" y="4661014"/>
            <a:ext cx="442800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dirty="0">
                <a:latin typeface="Montserrat" panose="00000500000000000000" pitchFamily="2" charset="0"/>
              </a:rPr>
              <a:t>Train Users and Roll Out</a:t>
            </a:r>
            <a:r>
              <a:rPr lang="en-US" sz="1000" dirty="0">
                <a:latin typeface="Montserrat" panose="00000500000000000000" pitchFamily="2" charset="0"/>
              </a:rPr>
              <a:t>: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latin typeface="Montserrat" panose="00000500000000000000" pitchFamily="2" charset="0"/>
              </a:rPr>
              <a:t>Provide training sessions for different user groups (e.g., project managers, developers, QA teams)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latin typeface="Montserrat" panose="00000500000000000000" pitchFamily="2" charset="0"/>
              </a:rPr>
              <a:t>Focus on hands-on training for creating and managing work items, collaborating through </a:t>
            </a:r>
            <a:r>
              <a:rPr lang="en-US" sz="1000" dirty="0" err="1">
                <a:latin typeface="Montserrat" panose="00000500000000000000" pitchFamily="2" charset="0"/>
              </a:rPr>
              <a:t>Polarion</a:t>
            </a:r>
            <a:r>
              <a:rPr lang="en-US" sz="1000" dirty="0">
                <a:latin typeface="Montserrat" panose="00000500000000000000" pitchFamily="2" charset="0"/>
              </a:rPr>
              <a:t>, and using dashboards and reports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latin typeface="Montserrat" panose="00000500000000000000" pitchFamily="2" charset="0"/>
              </a:rPr>
              <a:t>Plan a phased rollout to minimize disruption, starting with pilot teams and gradually expanding to the full organization.</a:t>
            </a:r>
          </a:p>
        </p:txBody>
      </p:sp>
      <p:sp>
        <p:nvSpPr>
          <p:cNvPr id="125" name="Rectangle 29">
            <a:extLst>
              <a:ext uri="{FF2B5EF4-FFF2-40B4-BE49-F238E27FC236}">
                <a16:creationId xmlns:a16="http://schemas.microsoft.com/office/drawing/2014/main" id="{D4A75351-0765-3F75-132F-F2514936886A}"/>
              </a:ext>
            </a:extLst>
          </p:cNvPr>
          <p:cNvSpPr/>
          <p:nvPr/>
        </p:nvSpPr>
        <p:spPr>
          <a:xfrm>
            <a:off x="7371000" y="4661014"/>
            <a:ext cx="442800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>
                <a:latin typeface="Montserrat" panose="00000500000000000000" pitchFamily="2" charset="0"/>
              </a:rPr>
              <a:t>Ongoing Maintenance and Support</a:t>
            </a:r>
            <a:r>
              <a:rPr lang="en-US" sz="1000">
                <a:latin typeface="Montserrat" panose="00000500000000000000" pitchFamily="2" charset="0"/>
              </a:rPr>
              <a:t>: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>
                <a:latin typeface="Montserrat" panose="00000500000000000000" pitchFamily="2" charset="0"/>
              </a:rPr>
              <a:t>Schedule regular updates and patches to keep </a:t>
            </a:r>
            <a:r>
              <a:rPr lang="en-US" sz="1000" err="1">
                <a:latin typeface="Montserrat" panose="00000500000000000000" pitchFamily="2" charset="0"/>
              </a:rPr>
              <a:t>Polarion</a:t>
            </a:r>
            <a:r>
              <a:rPr lang="en-US" sz="1000">
                <a:latin typeface="Montserrat" panose="00000500000000000000" pitchFamily="2" charset="0"/>
              </a:rPr>
              <a:t> current with the latest features and security enhancements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>
                <a:latin typeface="Montserrat" panose="00000500000000000000" pitchFamily="2" charset="0"/>
              </a:rPr>
              <a:t>Monitor system performance and gather user feedback to identify improvement areas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>
                <a:latin typeface="Montserrat" panose="00000500000000000000" pitchFamily="2" charset="0"/>
              </a:rPr>
              <a:t>Provide ongoing support for technical or process-related issues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>
                <a:latin typeface="Montserrat" panose="00000500000000000000" pitchFamily="2" charset="0"/>
              </a:rPr>
              <a:t>Periodically review and optimize workflows, reports, and integrations to ensure alignment with evolving business goals.</a:t>
            </a:r>
          </a:p>
        </p:txBody>
      </p:sp>
      <p:sp>
        <p:nvSpPr>
          <p:cNvPr id="126" name="Rectangle 29">
            <a:extLst>
              <a:ext uri="{FF2B5EF4-FFF2-40B4-BE49-F238E27FC236}">
                <a16:creationId xmlns:a16="http://schemas.microsoft.com/office/drawing/2014/main" id="{FBBE064A-950C-4269-1CA3-5FA8492B900A}"/>
              </a:ext>
            </a:extLst>
          </p:cNvPr>
          <p:cNvSpPr/>
          <p:nvPr/>
        </p:nvSpPr>
        <p:spPr>
          <a:xfrm>
            <a:off x="7371000" y="2863903"/>
            <a:ext cx="442800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dirty="0">
                <a:latin typeface="Montserrat" panose="00000500000000000000" pitchFamily="2" charset="0"/>
              </a:rPr>
              <a:t>Configure Projects and Workflows</a:t>
            </a:r>
            <a:r>
              <a:rPr lang="en-US" sz="1000" dirty="0">
                <a:latin typeface="Montserrat" panose="00000500000000000000" pitchFamily="2" charset="0"/>
              </a:rPr>
              <a:t>: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latin typeface="Montserrat" panose="00000500000000000000" pitchFamily="2" charset="0"/>
              </a:rPr>
              <a:t>Set up project templates with standardized structures for managing tasks, requirements, and test cases across projects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latin typeface="Montserrat" panose="00000500000000000000" pitchFamily="2" charset="0"/>
              </a:rPr>
              <a:t>Define custom workflows for approval, review, and execution processes within projects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latin typeface="Montserrat" panose="00000500000000000000" pitchFamily="2" charset="0"/>
              </a:rPr>
              <a:t>Implement document structures, traceability matrices, and dashboards for real-time insights into project progress, compliance, and risk management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latin typeface="Montserrat" panose="00000500000000000000" pitchFamily="2" charset="0"/>
              </a:rPr>
              <a:t>Configure custom reports to visualize metrics such as project status, team productivity, and quality KPIs.</a:t>
            </a:r>
          </a:p>
        </p:txBody>
      </p:sp>
    </p:spTree>
    <p:extLst>
      <p:ext uri="{BB962C8B-B14F-4D97-AF65-F5344CB8AC3E}">
        <p14:creationId xmlns:p14="http://schemas.microsoft.com/office/powerpoint/2010/main" val="102801451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TextBox 124">
            <a:extLst>
              <a:ext uri="{FF2B5EF4-FFF2-40B4-BE49-F238E27FC236}">
                <a16:creationId xmlns:a16="http://schemas.microsoft.com/office/drawing/2014/main" id="{91EF2FD3-FF42-4EB0-AAE1-B1BA07923C27}"/>
              </a:ext>
            </a:extLst>
          </p:cNvPr>
          <p:cNvSpPr txBox="1"/>
          <p:nvPr/>
        </p:nvSpPr>
        <p:spPr>
          <a:xfrm>
            <a:off x="2205891" y="5010705"/>
            <a:ext cx="1389539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b="1">
                <a:solidFill>
                  <a:srgbClr val="063853"/>
                </a:solidFill>
                <a:latin typeface="Montserrat" panose="00000500000000000000" pitchFamily="50" charset="0"/>
              </a:rPr>
              <a:t>Milestone</a:t>
            </a:r>
          </a:p>
          <a:p>
            <a:pPr algn="ctr"/>
            <a:r>
              <a:rPr lang="en-US" sz="1200" b="1">
                <a:solidFill>
                  <a:srgbClr val="063853"/>
                </a:solidFill>
                <a:latin typeface="Montserrat" panose="00000500000000000000" pitchFamily="50" charset="0"/>
              </a:rPr>
              <a:t>Date</a:t>
            </a:r>
          </a:p>
        </p:txBody>
      </p:sp>
      <p:sp>
        <p:nvSpPr>
          <p:cNvPr id="126" name="Isosceles Triangle 125">
            <a:extLst>
              <a:ext uri="{FF2B5EF4-FFF2-40B4-BE49-F238E27FC236}">
                <a16:creationId xmlns:a16="http://schemas.microsoft.com/office/drawing/2014/main" id="{E0365E71-4269-41D7-9A3B-54126A89CCD6}"/>
              </a:ext>
            </a:extLst>
          </p:cNvPr>
          <p:cNvSpPr/>
          <p:nvPr/>
        </p:nvSpPr>
        <p:spPr>
          <a:xfrm>
            <a:off x="2781406" y="4733523"/>
            <a:ext cx="238509" cy="208283"/>
          </a:xfrm>
          <a:prstGeom prst="triangle">
            <a:avLst/>
          </a:prstGeom>
          <a:solidFill>
            <a:srgbClr val="5C8E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0B5B4D69-F817-40B5-8125-84916038C7E7}"/>
              </a:ext>
            </a:extLst>
          </p:cNvPr>
          <p:cNvSpPr txBox="1"/>
          <p:nvPr/>
        </p:nvSpPr>
        <p:spPr>
          <a:xfrm>
            <a:off x="5404485" y="5010705"/>
            <a:ext cx="1389539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b="1">
                <a:solidFill>
                  <a:srgbClr val="063853"/>
                </a:solidFill>
                <a:latin typeface="Montserrat" panose="00000500000000000000" pitchFamily="50" charset="0"/>
              </a:rPr>
              <a:t>Milestone</a:t>
            </a:r>
          </a:p>
          <a:p>
            <a:pPr algn="ctr"/>
            <a:r>
              <a:rPr lang="en-US" sz="1200" b="1">
                <a:solidFill>
                  <a:srgbClr val="063853"/>
                </a:solidFill>
                <a:latin typeface="Montserrat" panose="00000500000000000000" pitchFamily="50" charset="0"/>
              </a:rPr>
              <a:t>Date</a:t>
            </a:r>
          </a:p>
        </p:txBody>
      </p:sp>
      <p:sp>
        <p:nvSpPr>
          <p:cNvPr id="128" name="Isosceles Triangle 127">
            <a:extLst>
              <a:ext uri="{FF2B5EF4-FFF2-40B4-BE49-F238E27FC236}">
                <a16:creationId xmlns:a16="http://schemas.microsoft.com/office/drawing/2014/main" id="{5795B985-2C02-4B01-92B8-1476BB3C0CAB}"/>
              </a:ext>
            </a:extLst>
          </p:cNvPr>
          <p:cNvSpPr/>
          <p:nvPr/>
        </p:nvSpPr>
        <p:spPr>
          <a:xfrm>
            <a:off x="5980000" y="4733523"/>
            <a:ext cx="238509" cy="208283"/>
          </a:xfrm>
          <a:prstGeom prst="triangle">
            <a:avLst/>
          </a:prstGeom>
          <a:solidFill>
            <a:srgbClr val="686C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8" name="Rounded Rectangle 41">
            <a:extLst>
              <a:ext uri="{FF2B5EF4-FFF2-40B4-BE49-F238E27FC236}">
                <a16:creationId xmlns:a16="http://schemas.microsoft.com/office/drawing/2014/main" id="{55B0EF2C-ED56-44FC-AB60-13AA66C35884}"/>
              </a:ext>
            </a:extLst>
          </p:cNvPr>
          <p:cNvSpPr/>
          <p:nvPr/>
        </p:nvSpPr>
        <p:spPr>
          <a:xfrm>
            <a:off x="2117259" y="1421904"/>
            <a:ext cx="3967251" cy="289885"/>
          </a:xfrm>
          <a:prstGeom prst="rect">
            <a:avLst/>
          </a:prstGeom>
          <a:solidFill>
            <a:srgbClr val="00D0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latin typeface="Montserrat" panose="00000500000000000000" pitchFamily="50" charset="0"/>
              </a:rPr>
              <a:t>Sample Task Description 1 </a:t>
            </a:r>
          </a:p>
        </p:txBody>
      </p:sp>
      <p:sp>
        <p:nvSpPr>
          <p:cNvPr id="89" name="Rounded Rectangle 42">
            <a:extLst>
              <a:ext uri="{FF2B5EF4-FFF2-40B4-BE49-F238E27FC236}">
                <a16:creationId xmlns:a16="http://schemas.microsoft.com/office/drawing/2014/main" id="{B12EC820-C89B-45AD-8E70-A12E5460C688}"/>
              </a:ext>
            </a:extLst>
          </p:cNvPr>
          <p:cNvSpPr/>
          <p:nvPr/>
        </p:nvSpPr>
        <p:spPr>
          <a:xfrm>
            <a:off x="2115119" y="1779807"/>
            <a:ext cx="5839212" cy="289885"/>
          </a:xfrm>
          <a:prstGeom prst="rect">
            <a:avLst/>
          </a:prstGeom>
          <a:solidFill>
            <a:srgbClr val="5C8E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latin typeface="Montserrat" panose="00000500000000000000" pitchFamily="50" charset="0"/>
              </a:rPr>
              <a:t>Sample Task Description 2</a:t>
            </a:r>
          </a:p>
        </p:txBody>
      </p:sp>
      <p:sp>
        <p:nvSpPr>
          <p:cNvPr id="90" name="Rounded Rectangle 43">
            <a:extLst>
              <a:ext uri="{FF2B5EF4-FFF2-40B4-BE49-F238E27FC236}">
                <a16:creationId xmlns:a16="http://schemas.microsoft.com/office/drawing/2014/main" id="{A891B33B-181B-4CF2-AFA6-E53B4643630B}"/>
              </a:ext>
            </a:extLst>
          </p:cNvPr>
          <p:cNvSpPr/>
          <p:nvPr/>
        </p:nvSpPr>
        <p:spPr>
          <a:xfrm>
            <a:off x="2950465" y="2137710"/>
            <a:ext cx="7129905" cy="289885"/>
          </a:xfrm>
          <a:prstGeom prst="rect">
            <a:avLst/>
          </a:prstGeom>
          <a:solidFill>
            <a:srgbClr val="686C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latin typeface="Montserrat" panose="00000500000000000000" pitchFamily="50" charset="0"/>
              </a:rPr>
              <a:t>Sample Task Description 3</a:t>
            </a:r>
          </a:p>
        </p:txBody>
      </p:sp>
      <p:sp>
        <p:nvSpPr>
          <p:cNvPr id="91" name="Rounded Rectangle 44">
            <a:extLst>
              <a:ext uri="{FF2B5EF4-FFF2-40B4-BE49-F238E27FC236}">
                <a16:creationId xmlns:a16="http://schemas.microsoft.com/office/drawing/2014/main" id="{F1AD0F40-9487-418C-9F08-6C23E8F861ED}"/>
              </a:ext>
            </a:extLst>
          </p:cNvPr>
          <p:cNvSpPr/>
          <p:nvPr/>
        </p:nvSpPr>
        <p:spPr>
          <a:xfrm>
            <a:off x="3707023" y="2495612"/>
            <a:ext cx="4786613" cy="289885"/>
          </a:xfrm>
          <a:prstGeom prst="rect">
            <a:avLst/>
          </a:prstGeom>
          <a:solidFill>
            <a:srgbClr val="084A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latin typeface="Montserrat" panose="00000500000000000000" pitchFamily="50" charset="0"/>
              </a:rPr>
              <a:t>Sample Task Description 4</a:t>
            </a:r>
          </a:p>
        </p:txBody>
      </p:sp>
      <p:sp>
        <p:nvSpPr>
          <p:cNvPr id="92" name="Rounded Rectangle 45">
            <a:extLst>
              <a:ext uri="{FF2B5EF4-FFF2-40B4-BE49-F238E27FC236}">
                <a16:creationId xmlns:a16="http://schemas.microsoft.com/office/drawing/2014/main" id="{F81887A7-4C29-4C06-99AC-AAEA3BA4D92A}"/>
              </a:ext>
            </a:extLst>
          </p:cNvPr>
          <p:cNvSpPr/>
          <p:nvPr/>
        </p:nvSpPr>
        <p:spPr>
          <a:xfrm>
            <a:off x="6905619" y="2853515"/>
            <a:ext cx="3174749" cy="289885"/>
          </a:xfrm>
          <a:prstGeom prst="rect">
            <a:avLst/>
          </a:prstGeom>
          <a:solidFill>
            <a:srgbClr val="0E7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latin typeface="Montserrat" panose="00000500000000000000" pitchFamily="50" charset="0"/>
              </a:rPr>
              <a:t>Sample Task Description 5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95485FF5-0A7D-40B1-832A-207A7E1CB7A5}"/>
              </a:ext>
            </a:extLst>
          </p:cNvPr>
          <p:cNvSpPr txBox="1"/>
          <p:nvPr/>
        </p:nvSpPr>
        <p:spPr>
          <a:xfrm>
            <a:off x="1383642" y="5502169"/>
            <a:ext cx="1336612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200" b="1">
                <a:solidFill>
                  <a:srgbClr val="063853"/>
                </a:solidFill>
                <a:latin typeface="Montserrat" panose="00000500000000000000" pitchFamily="50" charset="0"/>
              </a:rPr>
              <a:t>Milestone</a:t>
            </a:r>
          </a:p>
          <a:p>
            <a:r>
              <a:rPr lang="en-US" sz="1200" b="1">
                <a:solidFill>
                  <a:srgbClr val="063853"/>
                </a:solidFill>
                <a:latin typeface="Montserrat" panose="00000500000000000000" pitchFamily="50" charset="0"/>
              </a:rPr>
              <a:t>Description</a:t>
            </a:r>
          </a:p>
          <a:p>
            <a:r>
              <a:rPr lang="en-US" sz="1200" b="1">
                <a:solidFill>
                  <a:srgbClr val="063853"/>
                </a:solidFill>
                <a:latin typeface="Montserrat" panose="00000500000000000000" pitchFamily="50" charset="0"/>
              </a:rPr>
              <a:t>Dat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5E189FA-212C-4AFA-9AF8-858DCE7E7A24}"/>
              </a:ext>
            </a:extLst>
          </p:cNvPr>
          <p:cNvGrpSpPr/>
          <p:nvPr/>
        </p:nvGrpSpPr>
        <p:grpSpPr>
          <a:xfrm>
            <a:off x="1174840" y="4733523"/>
            <a:ext cx="238509" cy="1387835"/>
            <a:chOff x="881130" y="3550142"/>
            <a:chExt cx="178882" cy="1040876"/>
          </a:xfrm>
        </p:grpSpPr>
        <p:sp>
          <p:nvSpPr>
            <p:cNvPr id="121" name="Isosceles Triangle 120">
              <a:extLst>
                <a:ext uri="{FF2B5EF4-FFF2-40B4-BE49-F238E27FC236}">
                  <a16:creationId xmlns:a16="http://schemas.microsoft.com/office/drawing/2014/main" id="{6793FB0B-37BA-4DD2-BC23-E85113339AFB}"/>
                </a:ext>
              </a:extLst>
            </p:cNvPr>
            <p:cNvSpPr/>
            <p:nvPr/>
          </p:nvSpPr>
          <p:spPr>
            <a:xfrm>
              <a:off x="881130" y="3550142"/>
              <a:ext cx="178882" cy="156212"/>
            </a:xfrm>
            <a:prstGeom prst="triangle">
              <a:avLst/>
            </a:prstGeom>
            <a:solidFill>
              <a:srgbClr val="00D0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E991EF7-9AC3-476C-9789-79DFEE49F9D5}"/>
                </a:ext>
              </a:extLst>
            </p:cNvPr>
            <p:cNvCxnSpPr>
              <a:cxnSpLocks/>
            </p:cNvCxnSpPr>
            <p:nvPr/>
          </p:nvCxnSpPr>
          <p:spPr>
            <a:xfrm>
              <a:off x="970571" y="3701276"/>
              <a:ext cx="0" cy="889742"/>
            </a:xfrm>
            <a:prstGeom prst="line">
              <a:avLst/>
            </a:prstGeom>
            <a:ln w="12700">
              <a:solidFill>
                <a:srgbClr val="06385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CAE1F138-204D-4BC6-97F5-85015999F3FD}"/>
              </a:ext>
            </a:extLst>
          </p:cNvPr>
          <p:cNvGrpSpPr/>
          <p:nvPr/>
        </p:nvGrpSpPr>
        <p:grpSpPr>
          <a:xfrm>
            <a:off x="6776684" y="4733523"/>
            <a:ext cx="238509" cy="1387835"/>
            <a:chOff x="5082513" y="3550142"/>
            <a:chExt cx="178882" cy="1040876"/>
          </a:xfrm>
        </p:grpSpPr>
        <p:sp>
          <p:nvSpPr>
            <p:cNvPr id="131" name="Isosceles Triangle 130">
              <a:extLst>
                <a:ext uri="{FF2B5EF4-FFF2-40B4-BE49-F238E27FC236}">
                  <a16:creationId xmlns:a16="http://schemas.microsoft.com/office/drawing/2014/main" id="{1F8DE503-72B5-4117-9414-4ED2EA304345}"/>
                </a:ext>
              </a:extLst>
            </p:cNvPr>
            <p:cNvSpPr/>
            <p:nvPr/>
          </p:nvSpPr>
          <p:spPr>
            <a:xfrm>
              <a:off x="5082513" y="3550142"/>
              <a:ext cx="178882" cy="156212"/>
            </a:xfrm>
            <a:prstGeom prst="triangle">
              <a:avLst/>
            </a:prstGeom>
            <a:solidFill>
              <a:srgbClr val="084A6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63103BBB-11C6-484F-9624-9F2567B0720D}"/>
                </a:ext>
              </a:extLst>
            </p:cNvPr>
            <p:cNvCxnSpPr>
              <a:cxnSpLocks/>
            </p:cNvCxnSpPr>
            <p:nvPr/>
          </p:nvCxnSpPr>
          <p:spPr>
            <a:xfrm>
              <a:off x="5171954" y="3701276"/>
              <a:ext cx="0" cy="889742"/>
            </a:xfrm>
            <a:prstGeom prst="line">
              <a:avLst/>
            </a:prstGeom>
            <a:ln w="12700">
              <a:solidFill>
                <a:srgbClr val="06385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7EA0EA69-23C2-4380-BE7D-9E7A0B7271D6}"/>
              </a:ext>
            </a:extLst>
          </p:cNvPr>
          <p:cNvGrpSpPr/>
          <p:nvPr/>
        </p:nvGrpSpPr>
        <p:grpSpPr>
          <a:xfrm>
            <a:off x="9973254" y="4733523"/>
            <a:ext cx="238509" cy="1387835"/>
            <a:chOff x="7479940" y="3550142"/>
            <a:chExt cx="178882" cy="1040876"/>
          </a:xfrm>
        </p:grpSpPr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BA99521-FC11-4798-B61E-76C2502EE5DC}"/>
                </a:ext>
              </a:extLst>
            </p:cNvPr>
            <p:cNvCxnSpPr>
              <a:cxnSpLocks/>
            </p:cNvCxnSpPr>
            <p:nvPr/>
          </p:nvCxnSpPr>
          <p:spPr>
            <a:xfrm>
              <a:off x="7569381" y="3701276"/>
              <a:ext cx="0" cy="889742"/>
            </a:xfrm>
            <a:prstGeom prst="line">
              <a:avLst/>
            </a:prstGeom>
            <a:ln w="12700">
              <a:solidFill>
                <a:srgbClr val="06385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4" name="Isosceles Triangle 133">
              <a:extLst>
                <a:ext uri="{FF2B5EF4-FFF2-40B4-BE49-F238E27FC236}">
                  <a16:creationId xmlns:a16="http://schemas.microsoft.com/office/drawing/2014/main" id="{9EDF0ACC-13D1-41F7-AD72-A7B2AB9200A5}"/>
                </a:ext>
              </a:extLst>
            </p:cNvPr>
            <p:cNvSpPr/>
            <p:nvPr/>
          </p:nvSpPr>
          <p:spPr>
            <a:xfrm>
              <a:off x="7479940" y="3550142"/>
              <a:ext cx="178882" cy="156212"/>
            </a:xfrm>
            <a:prstGeom prst="triangle">
              <a:avLst/>
            </a:prstGeom>
            <a:solidFill>
              <a:srgbClr val="0E7F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sp>
        <p:nvSpPr>
          <p:cNvPr id="73" name="Rectangle 72">
            <a:extLst>
              <a:ext uri="{FF2B5EF4-FFF2-40B4-BE49-F238E27FC236}">
                <a16:creationId xmlns:a16="http://schemas.microsoft.com/office/drawing/2014/main" id="{0D724548-18AE-4945-A1E8-04FB693DC44D}"/>
              </a:ext>
            </a:extLst>
          </p:cNvPr>
          <p:cNvSpPr/>
          <p:nvPr/>
        </p:nvSpPr>
        <p:spPr>
          <a:xfrm>
            <a:off x="508005" y="4284332"/>
            <a:ext cx="1572183" cy="450699"/>
          </a:xfrm>
          <a:prstGeom prst="rect">
            <a:avLst/>
          </a:prstGeom>
          <a:solidFill>
            <a:srgbClr val="06385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b"/>
            <a:r>
              <a:rPr lang="en-US" sz="1200" b="1">
                <a:solidFill>
                  <a:schemeClr val="bg1"/>
                </a:solidFill>
                <a:latin typeface="Montserrat" panose="00000500000000000000" pitchFamily="50" charset="0"/>
              </a:rPr>
              <a:t>Sunday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2903528A-048C-492E-A9F2-3919D19332ED}"/>
              </a:ext>
            </a:extLst>
          </p:cNvPr>
          <p:cNvSpPr/>
          <p:nvPr/>
        </p:nvSpPr>
        <p:spPr>
          <a:xfrm>
            <a:off x="2108421" y="4284332"/>
            <a:ext cx="1572183" cy="450699"/>
          </a:xfrm>
          <a:prstGeom prst="rect">
            <a:avLst/>
          </a:prstGeom>
          <a:solidFill>
            <a:srgbClr val="06385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b"/>
            <a:r>
              <a:rPr lang="en-US" sz="1200" b="1">
                <a:solidFill>
                  <a:schemeClr val="bg1"/>
                </a:solidFill>
                <a:latin typeface="Montserrat" panose="00000500000000000000" pitchFamily="50" charset="0"/>
              </a:rPr>
              <a:t>Monday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FE8447B2-AB1A-4E61-BE59-AF3474F2447C}"/>
              </a:ext>
            </a:extLst>
          </p:cNvPr>
          <p:cNvSpPr/>
          <p:nvPr/>
        </p:nvSpPr>
        <p:spPr>
          <a:xfrm>
            <a:off x="3708837" y="4284332"/>
            <a:ext cx="1572183" cy="450699"/>
          </a:xfrm>
          <a:prstGeom prst="rect">
            <a:avLst/>
          </a:prstGeom>
          <a:solidFill>
            <a:srgbClr val="06385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b"/>
            <a:r>
              <a:rPr lang="en-US" sz="1200" b="1">
                <a:solidFill>
                  <a:schemeClr val="bg1"/>
                </a:solidFill>
                <a:latin typeface="Montserrat" panose="00000500000000000000" pitchFamily="50" charset="0"/>
              </a:rPr>
              <a:t>Tuesday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123D6D25-754F-4AAF-B714-DA2273F09589}"/>
              </a:ext>
            </a:extLst>
          </p:cNvPr>
          <p:cNvSpPr/>
          <p:nvPr/>
        </p:nvSpPr>
        <p:spPr>
          <a:xfrm>
            <a:off x="5309253" y="4284332"/>
            <a:ext cx="1572183" cy="450699"/>
          </a:xfrm>
          <a:prstGeom prst="rect">
            <a:avLst/>
          </a:prstGeom>
          <a:solidFill>
            <a:srgbClr val="06385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b"/>
            <a:r>
              <a:rPr lang="en-US" sz="1200" b="1">
                <a:solidFill>
                  <a:schemeClr val="bg1"/>
                </a:solidFill>
                <a:latin typeface="Montserrat" panose="00000500000000000000" pitchFamily="50" charset="0"/>
              </a:rPr>
              <a:t>Wednesday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8A149FD2-8829-44A8-8814-713B621DE53D}"/>
              </a:ext>
            </a:extLst>
          </p:cNvPr>
          <p:cNvSpPr/>
          <p:nvPr/>
        </p:nvSpPr>
        <p:spPr>
          <a:xfrm>
            <a:off x="6909669" y="4284332"/>
            <a:ext cx="1572183" cy="450699"/>
          </a:xfrm>
          <a:prstGeom prst="rect">
            <a:avLst/>
          </a:prstGeom>
          <a:solidFill>
            <a:srgbClr val="06385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b"/>
            <a:r>
              <a:rPr lang="en-US" sz="1200" b="1">
                <a:solidFill>
                  <a:schemeClr val="bg1"/>
                </a:solidFill>
                <a:latin typeface="Montserrat" panose="00000500000000000000" pitchFamily="50" charset="0"/>
              </a:rPr>
              <a:t>Thursday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F63DAF5-1B41-4208-B0E2-9B23A86870AA}"/>
              </a:ext>
            </a:extLst>
          </p:cNvPr>
          <p:cNvSpPr/>
          <p:nvPr/>
        </p:nvSpPr>
        <p:spPr>
          <a:xfrm>
            <a:off x="8510086" y="4284332"/>
            <a:ext cx="1572183" cy="450699"/>
          </a:xfrm>
          <a:prstGeom prst="rect">
            <a:avLst/>
          </a:prstGeom>
          <a:solidFill>
            <a:srgbClr val="06385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b"/>
            <a:r>
              <a:rPr lang="en-US" sz="1200" b="1">
                <a:solidFill>
                  <a:schemeClr val="bg1"/>
                </a:solidFill>
                <a:latin typeface="Montserrat" panose="00000500000000000000" pitchFamily="50" charset="0"/>
              </a:rPr>
              <a:t>Friday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CA471E46-D331-40FD-8433-35CC2443F0FE}"/>
              </a:ext>
            </a:extLst>
          </p:cNvPr>
          <p:cNvSpPr/>
          <p:nvPr/>
        </p:nvSpPr>
        <p:spPr>
          <a:xfrm>
            <a:off x="10110501" y="4284332"/>
            <a:ext cx="1572183" cy="450699"/>
          </a:xfrm>
          <a:prstGeom prst="rect">
            <a:avLst/>
          </a:prstGeom>
          <a:solidFill>
            <a:srgbClr val="06385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b"/>
            <a:r>
              <a:rPr lang="en-US" sz="1200" b="1">
                <a:solidFill>
                  <a:schemeClr val="bg1"/>
                </a:solidFill>
                <a:latin typeface="Montserrat" panose="00000500000000000000" pitchFamily="50" charset="0"/>
              </a:rPr>
              <a:t>Saturday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403B8276-9920-4789-8CCC-05219CAC357E}"/>
              </a:ext>
            </a:extLst>
          </p:cNvPr>
          <p:cNvSpPr txBox="1"/>
          <p:nvPr/>
        </p:nvSpPr>
        <p:spPr>
          <a:xfrm>
            <a:off x="6985486" y="5502169"/>
            <a:ext cx="1336612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200" b="1">
                <a:solidFill>
                  <a:srgbClr val="063853"/>
                </a:solidFill>
                <a:latin typeface="Montserrat" panose="00000500000000000000" pitchFamily="50" charset="0"/>
              </a:rPr>
              <a:t>Milestone</a:t>
            </a:r>
          </a:p>
          <a:p>
            <a:r>
              <a:rPr lang="en-US" sz="1200" b="1">
                <a:solidFill>
                  <a:srgbClr val="063853"/>
                </a:solidFill>
                <a:latin typeface="Montserrat" panose="00000500000000000000" pitchFamily="50" charset="0"/>
              </a:rPr>
              <a:t>Description</a:t>
            </a:r>
          </a:p>
          <a:p>
            <a:r>
              <a:rPr lang="en-US" sz="1200" b="1">
                <a:solidFill>
                  <a:srgbClr val="063853"/>
                </a:solidFill>
                <a:latin typeface="Montserrat" panose="00000500000000000000" pitchFamily="50" charset="0"/>
              </a:rPr>
              <a:t>Date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C93AA411-81E1-4602-A69A-61ACE66CAA4F}"/>
              </a:ext>
            </a:extLst>
          </p:cNvPr>
          <p:cNvSpPr txBox="1"/>
          <p:nvPr/>
        </p:nvSpPr>
        <p:spPr>
          <a:xfrm>
            <a:off x="10185202" y="5502169"/>
            <a:ext cx="1336612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200" b="1">
                <a:solidFill>
                  <a:srgbClr val="063853"/>
                </a:solidFill>
                <a:latin typeface="Montserrat" panose="00000500000000000000" pitchFamily="50" charset="0"/>
              </a:rPr>
              <a:t>Milestone</a:t>
            </a:r>
          </a:p>
          <a:p>
            <a:r>
              <a:rPr lang="en-US" sz="1200" b="1">
                <a:solidFill>
                  <a:srgbClr val="063853"/>
                </a:solidFill>
                <a:latin typeface="Montserrat" panose="00000500000000000000" pitchFamily="50" charset="0"/>
              </a:rPr>
              <a:t>Description</a:t>
            </a:r>
          </a:p>
          <a:p>
            <a:r>
              <a:rPr lang="en-US" sz="1200" b="1">
                <a:solidFill>
                  <a:srgbClr val="063853"/>
                </a:solidFill>
                <a:latin typeface="Montserrat" panose="00000500000000000000" pitchFamily="50" charset="0"/>
              </a:rPr>
              <a:t>Date</a:t>
            </a:r>
          </a:p>
        </p:txBody>
      </p:sp>
      <p:sp>
        <p:nvSpPr>
          <p:cNvPr id="44" name="Rounded Rectangle 44">
            <a:extLst>
              <a:ext uri="{FF2B5EF4-FFF2-40B4-BE49-F238E27FC236}">
                <a16:creationId xmlns:a16="http://schemas.microsoft.com/office/drawing/2014/main" id="{E35A60D8-DDCC-4BC9-8456-68D72D350F67}"/>
              </a:ext>
            </a:extLst>
          </p:cNvPr>
          <p:cNvSpPr/>
          <p:nvPr/>
        </p:nvSpPr>
        <p:spPr>
          <a:xfrm>
            <a:off x="3707023" y="3211418"/>
            <a:ext cx="4786613" cy="289885"/>
          </a:xfrm>
          <a:prstGeom prst="rect">
            <a:avLst/>
          </a:prstGeom>
          <a:solidFill>
            <a:srgbClr val="345E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latin typeface="Montserrat" panose="00000500000000000000" pitchFamily="50" charset="0"/>
              </a:rPr>
              <a:t>Sample Task Description 6</a:t>
            </a:r>
          </a:p>
        </p:txBody>
      </p:sp>
      <p:sp>
        <p:nvSpPr>
          <p:cNvPr id="45" name="Rounded Rectangle 42">
            <a:extLst>
              <a:ext uri="{FF2B5EF4-FFF2-40B4-BE49-F238E27FC236}">
                <a16:creationId xmlns:a16="http://schemas.microsoft.com/office/drawing/2014/main" id="{9DA2BC9E-D529-428A-8924-4A16F1D01BD6}"/>
              </a:ext>
            </a:extLst>
          </p:cNvPr>
          <p:cNvSpPr/>
          <p:nvPr/>
        </p:nvSpPr>
        <p:spPr>
          <a:xfrm>
            <a:off x="2115119" y="3569323"/>
            <a:ext cx="7972616" cy="289885"/>
          </a:xfrm>
          <a:prstGeom prst="rect">
            <a:avLst/>
          </a:prstGeom>
          <a:solidFill>
            <a:srgbClr val="5C8E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latin typeface="Montserrat" panose="00000500000000000000" pitchFamily="50" charset="0"/>
              </a:rPr>
              <a:t>Sample Task Description 7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A67CB43-C39B-AA6C-5436-E8C7C4CC3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>
                <a:solidFill>
                  <a:srgbClr val="063853"/>
                </a:solidFill>
                <a:latin typeface="Montserrat SemiBold" panose="00000700000000000000" pitchFamily="2" charset="0"/>
                <a:ea typeface="Roboto" panose="02000000000000000000" pitchFamily="2" charset="0"/>
              </a:rPr>
              <a:t>Project Timeline – 1 Wee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16152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6" name="Group 205">
            <a:extLst>
              <a:ext uri="{FF2B5EF4-FFF2-40B4-BE49-F238E27FC236}">
                <a16:creationId xmlns:a16="http://schemas.microsoft.com/office/drawing/2014/main" id="{7348F889-F4B9-42CA-A0D4-6A0AE342DFCF}"/>
              </a:ext>
            </a:extLst>
          </p:cNvPr>
          <p:cNvGrpSpPr/>
          <p:nvPr/>
        </p:nvGrpSpPr>
        <p:grpSpPr>
          <a:xfrm>
            <a:off x="517081" y="3597288"/>
            <a:ext cx="11157816" cy="456552"/>
            <a:chOff x="514350" y="2736744"/>
            <a:chExt cx="7201916" cy="202035"/>
          </a:xfrm>
          <a:solidFill>
            <a:schemeClr val="tx1">
              <a:lumMod val="75000"/>
              <a:lumOff val="25000"/>
            </a:schemeClr>
          </a:solidFill>
        </p:grpSpPr>
        <p:grpSp>
          <p:nvGrpSpPr>
            <p:cNvPr id="207" name="Group 206">
              <a:extLst>
                <a:ext uri="{FF2B5EF4-FFF2-40B4-BE49-F238E27FC236}">
                  <a16:creationId xmlns:a16="http://schemas.microsoft.com/office/drawing/2014/main" id="{93A6B182-182A-40CA-92B4-776DED3E9E9B}"/>
                </a:ext>
              </a:extLst>
            </p:cNvPr>
            <p:cNvGrpSpPr/>
            <p:nvPr/>
          </p:nvGrpSpPr>
          <p:grpSpPr>
            <a:xfrm>
              <a:off x="514350" y="2736744"/>
              <a:ext cx="1625346" cy="202035"/>
              <a:chOff x="514350" y="2738809"/>
              <a:chExt cx="1625346" cy="202035"/>
            </a:xfrm>
            <a:grpFill/>
          </p:grpSpPr>
          <p:sp>
            <p:nvSpPr>
              <p:cNvPr id="236" name="Rectangle 235">
                <a:extLst>
                  <a:ext uri="{FF2B5EF4-FFF2-40B4-BE49-F238E27FC236}">
                    <a16:creationId xmlns:a16="http://schemas.microsoft.com/office/drawing/2014/main" id="{3FC5FD38-DFB7-40BF-AD61-82E94306B6DA}"/>
                  </a:ext>
                </a:extLst>
              </p:cNvPr>
              <p:cNvSpPr/>
              <p:nvPr/>
            </p:nvSpPr>
            <p:spPr>
              <a:xfrm>
                <a:off x="514350" y="2738809"/>
                <a:ext cx="238125" cy="20203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>
                    <a:solidFill>
                      <a:schemeClr val="bg1"/>
                    </a:solidFill>
                    <a:latin typeface="Montserrat" panose="00000500000000000000" pitchFamily="50" charset="0"/>
                  </a:rPr>
                  <a:t>1</a:t>
                </a:r>
              </a:p>
            </p:txBody>
          </p:sp>
          <p:sp>
            <p:nvSpPr>
              <p:cNvPr id="237" name="Rectangle 236">
                <a:extLst>
                  <a:ext uri="{FF2B5EF4-FFF2-40B4-BE49-F238E27FC236}">
                    <a16:creationId xmlns:a16="http://schemas.microsoft.com/office/drawing/2014/main" id="{3745EE86-41F1-43A2-80CD-CC6F8EACACAF}"/>
                  </a:ext>
                </a:extLst>
              </p:cNvPr>
              <p:cNvSpPr/>
              <p:nvPr/>
            </p:nvSpPr>
            <p:spPr>
              <a:xfrm>
                <a:off x="1901571" y="2738809"/>
                <a:ext cx="238125" cy="202035"/>
              </a:xfrm>
              <a:prstGeom prst="rect">
                <a:avLst/>
              </a:prstGeom>
              <a:solidFill>
                <a:srgbClr val="5C8EC0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>
                    <a:solidFill>
                      <a:schemeClr val="bg1"/>
                    </a:solidFill>
                    <a:latin typeface="Montserrat" panose="00000500000000000000" pitchFamily="50" charset="0"/>
                  </a:rPr>
                  <a:t>7</a:t>
                </a:r>
              </a:p>
            </p:txBody>
          </p:sp>
          <p:sp>
            <p:nvSpPr>
              <p:cNvPr id="238" name="Rectangle 237">
                <a:extLst>
                  <a:ext uri="{FF2B5EF4-FFF2-40B4-BE49-F238E27FC236}">
                    <a16:creationId xmlns:a16="http://schemas.microsoft.com/office/drawing/2014/main" id="{9AD72464-9600-42F9-AA78-855B15FC243A}"/>
                  </a:ext>
                </a:extLst>
              </p:cNvPr>
              <p:cNvSpPr/>
              <p:nvPr/>
            </p:nvSpPr>
            <p:spPr>
              <a:xfrm>
                <a:off x="745553" y="2738809"/>
                <a:ext cx="238125" cy="202035"/>
              </a:xfrm>
              <a:prstGeom prst="rect">
                <a:avLst/>
              </a:prstGeom>
              <a:solidFill>
                <a:srgbClr val="00D0CB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>
                    <a:solidFill>
                      <a:schemeClr val="bg1"/>
                    </a:solidFill>
                    <a:latin typeface="Montserrat" panose="00000500000000000000" pitchFamily="50" charset="0"/>
                  </a:rPr>
                  <a:t>2</a:t>
                </a:r>
              </a:p>
            </p:txBody>
          </p:sp>
          <p:sp>
            <p:nvSpPr>
              <p:cNvPr id="239" name="Rectangle 238">
                <a:extLst>
                  <a:ext uri="{FF2B5EF4-FFF2-40B4-BE49-F238E27FC236}">
                    <a16:creationId xmlns:a16="http://schemas.microsoft.com/office/drawing/2014/main" id="{61C26488-D906-4611-A641-4F633DD204E7}"/>
                  </a:ext>
                </a:extLst>
              </p:cNvPr>
              <p:cNvSpPr/>
              <p:nvPr/>
            </p:nvSpPr>
            <p:spPr>
              <a:xfrm>
                <a:off x="976757" y="2738809"/>
                <a:ext cx="238125" cy="20203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>
                    <a:solidFill>
                      <a:schemeClr val="bg1"/>
                    </a:solidFill>
                    <a:latin typeface="Montserrat" panose="00000500000000000000" pitchFamily="50" charset="0"/>
                  </a:rPr>
                  <a:t>3</a:t>
                </a:r>
              </a:p>
            </p:txBody>
          </p:sp>
          <p:sp>
            <p:nvSpPr>
              <p:cNvPr id="240" name="Rectangle 239">
                <a:extLst>
                  <a:ext uri="{FF2B5EF4-FFF2-40B4-BE49-F238E27FC236}">
                    <a16:creationId xmlns:a16="http://schemas.microsoft.com/office/drawing/2014/main" id="{DC7D5C8D-EF40-473B-83C4-D5A45E962277}"/>
                  </a:ext>
                </a:extLst>
              </p:cNvPr>
              <p:cNvSpPr/>
              <p:nvPr/>
            </p:nvSpPr>
            <p:spPr>
              <a:xfrm>
                <a:off x="1207961" y="2738809"/>
                <a:ext cx="238125" cy="20203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>
                    <a:solidFill>
                      <a:schemeClr val="bg1"/>
                    </a:solidFill>
                    <a:latin typeface="Montserrat" panose="00000500000000000000" pitchFamily="50" charset="0"/>
                  </a:rPr>
                  <a:t>4</a:t>
                </a:r>
              </a:p>
            </p:txBody>
          </p:sp>
          <p:sp>
            <p:nvSpPr>
              <p:cNvPr id="241" name="Rectangle 240">
                <a:extLst>
                  <a:ext uri="{FF2B5EF4-FFF2-40B4-BE49-F238E27FC236}">
                    <a16:creationId xmlns:a16="http://schemas.microsoft.com/office/drawing/2014/main" id="{165CD9EC-E089-48A1-978A-8E74AD785106}"/>
                  </a:ext>
                </a:extLst>
              </p:cNvPr>
              <p:cNvSpPr/>
              <p:nvPr/>
            </p:nvSpPr>
            <p:spPr>
              <a:xfrm>
                <a:off x="1439164" y="2738809"/>
                <a:ext cx="238125" cy="20203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>
                    <a:solidFill>
                      <a:schemeClr val="bg1"/>
                    </a:solidFill>
                    <a:latin typeface="Montserrat" panose="00000500000000000000" pitchFamily="50" charset="0"/>
                  </a:rPr>
                  <a:t>5</a:t>
                </a:r>
              </a:p>
            </p:txBody>
          </p:sp>
          <p:sp>
            <p:nvSpPr>
              <p:cNvPr id="242" name="Rectangle 241">
                <a:extLst>
                  <a:ext uri="{FF2B5EF4-FFF2-40B4-BE49-F238E27FC236}">
                    <a16:creationId xmlns:a16="http://schemas.microsoft.com/office/drawing/2014/main" id="{B33BF158-3BA1-40D9-B361-384F225D6CB7}"/>
                  </a:ext>
                </a:extLst>
              </p:cNvPr>
              <p:cNvSpPr/>
              <p:nvPr/>
            </p:nvSpPr>
            <p:spPr>
              <a:xfrm>
                <a:off x="1670368" y="2738809"/>
                <a:ext cx="238125" cy="20203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>
                    <a:solidFill>
                      <a:schemeClr val="bg1"/>
                    </a:solidFill>
                    <a:latin typeface="Montserrat" panose="00000500000000000000" pitchFamily="50" charset="0"/>
                  </a:rPr>
                  <a:t>6</a:t>
                </a:r>
              </a:p>
            </p:txBody>
          </p:sp>
        </p:grpSp>
        <p:grpSp>
          <p:nvGrpSpPr>
            <p:cNvPr id="208" name="Group 207">
              <a:extLst>
                <a:ext uri="{FF2B5EF4-FFF2-40B4-BE49-F238E27FC236}">
                  <a16:creationId xmlns:a16="http://schemas.microsoft.com/office/drawing/2014/main" id="{20A21C89-1ABD-4E3A-89B7-D96670A11C13}"/>
                </a:ext>
              </a:extLst>
            </p:cNvPr>
            <p:cNvGrpSpPr/>
            <p:nvPr/>
          </p:nvGrpSpPr>
          <p:grpSpPr>
            <a:xfrm>
              <a:off x="2139696" y="2736744"/>
              <a:ext cx="1625346" cy="202035"/>
              <a:chOff x="514350" y="2738809"/>
              <a:chExt cx="1625346" cy="202035"/>
            </a:xfrm>
            <a:grpFill/>
          </p:grpSpPr>
          <p:sp>
            <p:nvSpPr>
              <p:cNvPr id="229" name="Rectangle 228">
                <a:extLst>
                  <a:ext uri="{FF2B5EF4-FFF2-40B4-BE49-F238E27FC236}">
                    <a16:creationId xmlns:a16="http://schemas.microsoft.com/office/drawing/2014/main" id="{1B670F6B-D951-4E20-A6FE-F18E42D4DA5C}"/>
                  </a:ext>
                </a:extLst>
              </p:cNvPr>
              <p:cNvSpPr/>
              <p:nvPr/>
            </p:nvSpPr>
            <p:spPr>
              <a:xfrm>
                <a:off x="514350" y="2738809"/>
                <a:ext cx="238125" cy="20203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>
                    <a:solidFill>
                      <a:schemeClr val="bg1"/>
                    </a:solidFill>
                    <a:latin typeface="Montserrat" panose="00000500000000000000" pitchFamily="50" charset="0"/>
                  </a:rPr>
                  <a:t>8</a:t>
                </a:r>
              </a:p>
            </p:txBody>
          </p:sp>
          <p:sp>
            <p:nvSpPr>
              <p:cNvPr id="230" name="Rectangle 229">
                <a:extLst>
                  <a:ext uri="{FF2B5EF4-FFF2-40B4-BE49-F238E27FC236}">
                    <a16:creationId xmlns:a16="http://schemas.microsoft.com/office/drawing/2014/main" id="{5C9D597A-9775-4C5B-9384-3A6E81A6D430}"/>
                  </a:ext>
                </a:extLst>
              </p:cNvPr>
              <p:cNvSpPr/>
              <p:nvPr/>
            </p:nvSpPr>
            <p:spPr>
              <a:xfrm>
                <a:off x="1901571" y="2738809"/>
                <a:ext cx="238125" cy="202035"/>
              </a:xfrm>
              <a:prstGeom prst="rect">
                <a:avLst/>
              </a:prstGeom>
              <a:solidFill>
                <a:srgbClr val="686C86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>
                    <a:solidFill>
                      <a:schemeClr val="bg1"/>
                    </a:solidFill>
                    <a:latin typeface="Montserrat" panose="00000500000000000000" pitchFamily="50" charset="0"/>
                  </a:rPr>
                  <a:t>14</a:t>
                </a:r>
              </a:p>
            </p:txBody>
          </p:sp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332E7A05-486C-45D9-A958-C958600A1BB4}"/>
                  </a:ext>
                </a:extLst>
              </p:cNvPr>
              <p:cNvSpPr/>
              <p:nvPr/>
            </p:nvSpPr>
            <p:spPr>
              <a:xfrm>
                <a:off x="745553" y="2738809"/>
                <a:ext cx="238125" cy="20203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>
                    <a:solidFill>
                      <a:schemeClr val="bg1"/>
                    </a:solidFill>
                    <a:latin typeface="Montserrat" panose="00000500000000000000" pitchFamily="50" charset="0"/>
                  </a:rPr>
                  <a:t>9</a:t>
                </a:r>
              </a:p>
            </p:txBody>
          </p:sp>
          <p:sp>
            <p:nvSpPr>
              <p:cNvPr id="232" name="Rectangle 231">
                <a:extLst>
                  <a:ext uri="{FF2B5EF4-FFF2-40B4-BE49-F238E27FC236}">
                    <a16:creationId xmlns:a16="http://schemas.microsoft.com/office/drawing/2014/main" id="{E66C97E1-E7D9-4DF0-B610-140D290228CF}"/>
                  </a:ext>
                </a:extLst>
              </p:cNvPr>
              <p:cNvSpPr/>
              <p:nvPr/>
            </p:nvSpPr>
            <p:spPr>
              <a:xfrm>
                <a:off x="976757" y="2738809"/>
                <a:ext cx="238125" cy="20203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>
                    <a:solidFill>
                      <a:schemeClr val="bg1"/>
                    </a:solidFill>
                    <a:latin typeface="Montserrat" panose="00000500000000000000" pitchFamily="50" charset="0"/>
                  </a:rPr>
                  <a:t>10</a:t>
                </a:r>
              </a:p>
            </p:txBody>
          </p:sp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46AD501C-3E9D-4B39-B875-974089BA9128}"/>
                  </a:ext>
                </a:extLst>
              </p:cNvPr>
              <p:cNvSpPr/>
              <p:nvPr/>
            </p:nvSpPr>
            <p:spPr>
              <a:xfrm>
                <a:off x="1207961" y="2738809"/>
                <a:ext cx="238125" cy="20203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>
                    <a:solidFill>
                      <a:schemeClr val="bg1"/>
                    </a:solidFill>
                    <a:latin typeface="Montserrat" panose="00000500000000000000" pitchFamily="50" charset="0"/>
                  </a:rPr>
                  <a:t>11</a:t>
                </a:r>
              </a:p>
            </p:txBody>
          </p:sp>
          <p:sp>
            <p:nvSpPr>
              <p:cNvPr id="234" name="Rectangle 233">
                <a:extLst>
                  <a:ext uri="{FF2B5EF4-FFF2-40B4-BE49-F238E27FC236}">
                    <a16:creationId xmlns:a16="http://schemas.microsoft.com/office/drawing/2014/main" id="{D3791364-3826-4DCA-8495-3798CDC38E5A}"/>
                  </a:ext>
                </a:extLst>
              </p:cNvPr>
              <p:cNvSpPr/>
              <p:nvPr/>
            </p:nvSpPr>
            <p:spPr>
              <a:xfrm>
                <a:off x="1439164" y="2738809"/>
                <a:ext cx="238125" cy="20203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>
                    <a:solidFill>
                      <a:schemeClr val="bg1"/>
                    </a:solidFill>
                    <a:latin typeface="Montserrat" panose="00000500000000000000" pitchFamily="50" charset="0"/>
                  </a:rPr>
                  <a:t>12</a:t>
                </a:r>
              </a:p>
            </p:txBody>
          </p:sp>
          <p:sp>
            <p:nvSpPr>
              <p:cNvPr id="235" name="Rectangle 234">
                <a:extLst>
                  <a:ext uri="{FF2B5EF4-FFF2-40B4-BE49-F238E27FC236}">
                    <a16:creationId xmlns:a16="http://schemas.microsoft.com/office/drawing/2014/main" id="{7B82291E-B2FA-41A9-AA52-3449BA3E3C6F}"/>
                  </a:ext>
                </a:extLst>
              </p:cNvPr>
              <p:cNvSpPr/>
              <p:nvPr/>
            </p:nvSpPr>
            <p:spPr>
              <a:xfrm>
                <a:off x="1670368" y="2738809"/>
                <a:ext cx="238125" cy="20203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>
                    <a:solidFill>
                      <a:schemeClr val="bg1"/>
                    </a:solidFill>
                    <a:latin typeface="Montserrat" panose="00000500000000000000" pitchFamily="50" charset="0"/>
                  </a:rPr>
                  <a:t>13</a:t>
                </a:r>
              </a:p>
            </p:txBody>
          </p:sp>
        </p:grpSp>
        <p:grpSp>
          <p:nvGrpSpPr>
            <p:cNvPr id="209" name="Group 208">
              <a:extLst>
                <a:ext uri="{FF2B5EF4-FFF2-40B4-BE49-F238E27FC236}">
                  <a16:creationId xmlns:a16="http://schemas.microsoft.com/office/drawing/2014/main" id="{87CC37F0-CF74-4A68-89E9-A2A610FBFED9}"/>
                </a:ext>
              </a:extLst>
            </p:cNvPr>
            <p:cNvGrpSpPr/>
            <p:nvPr/>
          </p:nvGrpSpPr>
          <p:grpSpPr>
            <a:xfrm>
              <a:off x="3765042" y="2736744"/>
              <a:ext cx="1625346" cy="202035"/>
              <a:chOff x="514350" y="2738809"/>
              <a:chExt cx="1625346" cy="202035"/>
            </a:xfrm>
            <a:grpFill/>
          </p:grpSpPr>
          <p:sp>
            <p:nvSpPr>
              <p:cNvPr id="222" name="Rectangle 221">
                <a:extLst>
                  <a:ext uri="{FF2B5EF4-FFF2-40B4-BE49-F238E27FC236}">
                    <a16:creationId xmlns:a16="http://schemas.microsoft.com/office/drawing/2014/main" id="{907C5480-BEBA-4FF8-AB09-528733522493}"/>
                  </a:ext>
                </a:extLst>
              </p:cNvPr>
              <p:cNvSpPr/>
              <p:nvPr/>
            </p:nvSpPr>
            <p:spPr>
              <a:xfrm>
                <a:off x="514350" y="2738809"/>
                <a:ext cx="238125" cy="20203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>
                    <a:solidFill>
                      <a:schemeClr val="bg1"/>
                    </a:solidFill>
                    <a:latin typeface="Montserrat" panose="00000500000000000000" pitchFamily="50" charset="0"/>
                  </a:rPr>
                  <a:t>15</a:t>
                </a:r>
              </a:p>
            </p:txBody>
          </p:sp>
          <p:sp>
            <p:nvSpPr>
              <p:cNvPr id="223" name="Rectangle 222">
                <a:extLst>
                  <a:ext uri="{FF2B5EF4-FFF2-40B4-BE49-F238E27FC236}">
                    <a16:creationId xmlns:a16="http://schemas.microsoft.com/office/drawing/2014/main" id="{8647B40B-4BFB-48F9-9EF6-98B70BF1B211}"/>
                  </a:ext>
                </a:extLst>
              </p:cNvPr>
              <p:cNvSpPr/>
              <p:nvPr/>
            </p:nvSpPr>
            <p:spPr>
              <a:xfrm>
                <a:off x="1901571" y="2738809"/>
                <a:ext cx="238125" cy="20203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>
                    <a:solidFill>
                      <a:schemeClr val="bg1"/>
                    </a:solidFill>
                    <a:latin typeface="Montserrat" panose="00000500000000000000" pitchFamily="50" charset="0"/>
                  </a:rPr>
                  <a:t>21</a:t>
                </a:r>
              </a:p>
            </p:txBody>
          </p:sp>
          <p:sp>
            <p:nvSpPr>
              <p:cNvPr id="224" name="Rectangle 223">
                <a:extLst>
                  <a:ext uri="{FF2B5EF4-FFF2-40B4-BE49-F238E27FC236}">
                    <a16:creationId xmlns:a16="http://schemas.microsoft.com/office/drawing/2014/main" id="{04751505-46AC-48CB-8C8D-C9160F0EFAB5}"/>
                  </a:ext>
                </a:extLst>
              </p:cNvPr>
              <p:cNvSpPr/>
              <p:nvPr/>
            </p:nvSpPr>
            <p:spPr>
              <a:xfrm>
                <a:off x="745553" y="2738809"/>
                <a:ext cx="238125" cy="20203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>
                    <a:solidFill>
                      <a:schemeClr val="bg1"/>
                    </a:solidFill>
                    <a:latin typeface="Montserrat" panose="00000500000000000000" pitchFamily="50" charset="0"/>
                  </a:rPr>
                  <a:t>16</a:t>
                </a:r>
              </a:p>
            </p:txBody>
          </p:sp>
          <p:sp>
            <p:nvSpPr>
              <p:cNvPr id="225" name="Rectangle 224">
                <a:extLst>
                  <a:ext uri="{FF2B5EF4-FFF2-40B4-BE49-F238E27FC236}">
                    <a16:creationId xmlns:a16="http://schemas.microsoft.com/office/drawing/2014/main" id="{64FE2DB7-7916-4939-B588-AD6CB2E31D4B}"/>
                  </a:ext>
                </a:extLst>
              </p:cNvPr>
              <p:cNvSpPr/>
              <p:nvPr/>
            </p:nvSpPr>
            <p:spPr>
              <a:xfrm>
                <a:off x="976757" y="2738809"/>
                <a:ext cx="238125" cy="20203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>
                    <a:solidFill>
                      <a:schemeClr val="bg1"/>
                    </a:solidFill>
                    <a:latin typeface="Montserrat" panose="00000500000000000000" pitchFamily="50" charset="0"/>
                  </a:rPr>
                  <a:t>17</a:t>
                </a:r>
              </a:p>
            </p:txBody>
          </p:sp>
          <p:sp>
            <p:nvSpPr>
              <p:cNvPr id="226" name="Rectangle 225">
                <a:extLst>
                  <a:ext uri="{FF2B5EF4-FFF2-40B4-BE49-F238E27FC236}">
                    <a16:creationId xmlns:a16="http://schemas.microsoft.com/office/drawing/2014/main" id="{63355F93-A0B6-4E00-984B-6B5B2D1302BB}"/>
                  </a:ext>
                </a:extLst>
              </p:cNvPr>
              <p:cNvSpPr/>
              <p:nvPr/>
            </p:nvSpPr>
            <p:spPr>
              <a:xfrm>
                <a:off x="1207961" y="2738809"/>
                <a:ext cx="238125" cy="202035"/>
              </a:xfrm>
              <a:prstGeom prst="rect">
                <a:avLst/>
              </a:prstGeom>
              <a:solidFill>
                <a:srgbClr val="084A6E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>
                    <a:solidFill>
                      <a:schemeClr val="bg1"/>
                    </a:solidFill>
                    <a:latin typeface="Montserrat" panose="00000500000000000000" pitchFamily="50" charset="0"/>
                  </a:rPr>
                  <a:t>18</a:t>
                </a:r>
              </a:p>
            </p:txBody>
          </p:sp>
          <p:sp>
            <p:nvSpPr>
              <p:cNvPr id="227" name="Rectangle 226">
                <a:extLst>
                  <a:ext uri="{FF2B5EF4-FFF2-40B4-BE49-F238E27FC236}">
                    <a16:creationId xmlns:a16="http://schemas.microsoft.com/office/drawing/2014/main" id="{B4CE9F45-55F3-48DE-A530-58AC14DEFD70}"/>
                  </a:ext>
                </a:extLst>
              </p:cNvPr>
              <p:cNvSpPr/>
              <p:nvPr/>
            </p:nvSpPr>
            <p:spPr>
              <a:xfrm>
                <a:off x="1439164" y="2738809"/>
                <a:ext cx="238125" cy="20203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>
                    <a:solidFill>
                      <a:schemeClr val="bg1"/>
                    </a:solidFill>
                    <a:latin typeface="Montserrat" panose="00000500000000000000" pitchFamily="50" charset="0"/>
                  </a:rPr>
                  <a:t>19</a:t>
                </a:r>
              </a:p>
            </p:txBody>
          </p:sp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50B266AC-B43D-4ACD-861F-072F1112B786}"/>
                  </a:ext>
                </a:extLst>
              </p:cNvPr>
              <p:cNvSpPr/>
              <p:nvPr/>
            </p:nvSpPr>
            <p:spPr>
              <a:xfrm>
                <a:off x="1670368" y="2738809"/>
                <a:ext cx="238125" cy="20203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>
                    <a:solidFill>
                      <a:schemeClr val="bg1"/>
                    </a:solidFill>
                    <a:latin typeface="Montserrat" panose="00000500000000000000" pitchFamily="50" charset="0"/>
                  </a:rPr>
                  <a:t>20</a:t>
                </a:r>
              </a:p>
            </p:txBody>
          </p:sp>
        </p:grpSp>
        <p:grpSp>
          <p:nvGrpSpPr>
            <p:cNvPr id="210" name="Group 209">
              <a:extLst>
                <a:ext uri="{FF2B5EF4-FFF2-40B4-BE49-F238E27FC236}">
                  <a16:creationId xmlns:a16="http://schemas.microsoft.com/office/drawing/2014/main" id="{09B60F96-34D8-4F81-ACD4-9142FA0222E9}"/>
                </a:ext>
              </a:extLst>
            </p:cNvPr>
            <p:cNvGrpSpPr/>
            <p:nvPr/>
          </p:nvGrpSpPr>
          <p:grpSpPr>
            <a:xfrm>
              <a:off x="5390388" y="2736744"/>
              <a:ext cx="1625346" cy="202035"/>
              <a:chOff x="514350" y="2738809"/>
              <a:chExt cx="1625346" cy="202035"/>
            </a:xfrm>
            <a:grpFill/>
          </p:grpSpPr>
          <p:sp>
            <p:nvSpPr>
              <p:cNvPr id="215" name="Rectangle 214">
                <a:extLst>
                  <a:ext uri="{FF2B5EF4-FFF2-40B4-BE49-F238E27FC236}">
                    <a16:creationId xmlns:a16="http://schemas.microsoft.com/office/drawing/2014/main" id="{CE0827F0-D686-4275-892A-516BC8151A6C}"/>
                  </a:ext>
                </a:extLst>
              </p:cNvPr>
              <p:cNvSpPr/>
              <p:nvPr/>
            </p:nvSpPr>
            <p:spPr>
              <a:xfrm>
                <a:off x="514350" y="2738809"/>
                <a:ext cx="238125" cy="20203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>
                    <a:solidFill>
                      <a:schemeClr val="bg1"/>
                    </a:solidFill>
                    <a:latin typeface="Montserrat" panose="00000500000000000000" pitchFamily="50" charset="0"/>
                  </a:rPr>
                  <a:t>22</a:t>
                </a:r>
              </a:p>
            </p:txBody>
          </p:sp>
          <p:sp>
            <p:nvSpPr>
              <p:cNvPr id="216" name="Rectangle 215">
                <a:extLst>
                  <a:ext uri="{FF2B5EF4-FFF2-40B4-BE49-F238E27FC236}">
                    <a16:creationId xmlns:a16="http://schemas.microsoft.com/office/drawing/2014/main" id="{D3AC7040-1528-41DE-822A-147EC4370F1B}"/>
                  </a:ext>
                </a:extLst>
              </p:cNvPr>
              <p:cNvSpPr/>
              <p:nvPr/>
            </p:nvSpPr>
            <p:spPr>
              <a:xfrm>
                <a:off x="1901571" y="2738809"/>
                <a:ext cx="238125" cy="20203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>
                    <a:solidFill>
                      <a:schemeClr val="bg1"/>
                    </a:solidFill>
                    <a:latin typeface="Montserrat" panose="00000500000000000000" pitchFamily="50" charset="0"/>
                  </a:rPr>
                  <a:t>28</a:t>
                </a:r>
              </a:p>
            </p:txBody>
          </p:sp>
          <p:sp>
            <p:nvSpPr>
              <p:cNvPr id="217" name="Rectangle 216">
                <a:extLst>
                  <a:ext uri="{FF2B5EF4-FFF2-40B4-BE49-F238E27FC236}">
                    <a16:creationId xmlns:a16="http://schemas.microsoft.com/office/drawing/2014/main" id="{72B1EBBD-2226-4CEE-AAB7-AA8DB95F3672}"/>
                  </a:ext>
                </a:extLst>
              </p:cNvPr>
              <p:cNvSpPr/>
              <p:nvPr/>
            </p:nvSpPr>
            <p:spPr>
              <a:xfrm>
                <a:off x="745553" y="2738809"/>
                <a:ext cx="238125" cy="20203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>
                    <a:solidFill>
                      <a:schemeClr val="bg1"/>
                    </a:solidFill>
                    <a:latin typeface="Montserrat" panose="00000500000000000000" pitchFamily="50" charset="0"/>
                  </a:rPr>
                  <a:t>23</a:t>
                </a:r>
              </a:p>
            </p:txBody>
          </p:sp>
          <p:sp>
            <p:nvSpPr>
              <p:cNvPr id="218" name="Rectangle 217">
                <a:extLst>
                  <a:ext uri="{FF2B5EF4-FFF2-40B4-BE49-F238E27FC236}">
                    <a16:creationId xmlns:a16="http://schemas.microsoft.com/office/drawing/2014/main" id="{99A76397-CB5B-4BCB-A90F-8BA811830EA6}"/>
                  </a:ext>
                </a:extLst>
              </p:cNvPr>
              <p:cNvSpPr/>
              <p:nvPr/>
            </p:nvSpPr>
            <p:spPr>
              <a:xfrm>
                <a:off x="976757" y="2738809"/>
                <a:ext cx="238125" cy="20203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>
                    <a:solidFill>
                      <a:schemeClr val="bg1"/>
                    </a:solidFill>
                    <a:latin typeface="Montserrat" panose="00000500000000000000" pitchFamily="50" charset="0"/>
                  </a:rPr>
                  <a:t>24</a:t>
                </a:r>
              </a:p>
            </p:txBody>
          </p:sp>
          <p:sp>
            <p:nvSpPr>
              <p:cNvPr id="219" name="Rectangle 218">
                <a:extLst>
                  <a:ext uri="{FF2B5EF4-FFF2-40B4-BE49-F238E27FC236}">
                    <a16:creationId xmlns:a16="http://schemas.microsoft.com/office/drawing/2014/main" id="{AE5C37BE-49C4-4A48-AF47-22A5938E7E58}"/>
                  </a:ext>
                </a:extLst>
              </p:cNvPr>
              <p:cNvSpPr/>
              <p:nvPr/>
            </p:nvSpPr>
            <p:spPr>
              <a:xfrm>
                <a:off x="1207961" y="2738809"/>
                <a:ext cx="238125" cy="202035"/>
              </a:xfrm>
              <a:prstGeom prst="rect">
                <a:avLst/>
              </a:prstGeom>
              <a:solidFill>
                <a:srgbClr val="0E7FBE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>
                    <a:solidFill>
                      <a:schemeClr val="bg1"/>
                    </a:solidFill>
                    <a:latin typeface="Montserrat" panose="00000500000000000000" pitchFamily="50" charset="0"/>
                  </a:rPr>
                  <a:t>25</a:t>
                </a:r>
              </a:p>
            </p:txBody>
          </p:sp>
          <p:sp>
            <p:nvSpPr>
              <p:cNvPr id="220" name="Rectangle 219">
                <a:extLst>
                  <a:ext uri="{FF2B5EF4-FFF2-40B4-BE49-F238E27FC236}">
                    <a16:creationId xmlns:a16="http://schemas.microsoft.com/office/drawing/2014/main" id="{8E9A0A12-C260-4A1B-8CAB-8BB3064EE9E8}"/>
                  </a:ext>
                </a:extLst>
              </p:cNvPr>
              <p:cNvSpPr/>
              <p:nvPr/>
            </p:nvSpPr>
            <p:spPr>
              <a:xfrm>
                <a:off x="1439164" y="2738809"/>
                <a:ext cx="238125" cy="20203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>
                    <a:solidFill>
                      <a:schemeClr val="bg1"/>
                    </a:solidFill>
                    <a:latin typeface="Montserrat" panose="00000500000000000000" pitchFamily="50" charset="0"/>
                  </a:rPr>
                  <a:t>26</a:t>
                </a:r>
              </a:p>
            </p:txBody>
          </p:sp>
          <p:sp>
            <p:nvSpPr>
              <p:cNvPr id="221" name="Rectangle 220">
                <a:extLst>
                  <a:ext uri="{FF2B5EF4-FFF2-40B4-BE49-F238E27FC236}">
                    <a16:creationId xmlns:a16="http://schemas.microsoft.com/office/drawing/2014/main" id="{D5199BE2-6580-47C3-8C56-A463929629B9}"/>
                  </a:ext>
                </a:extLst>
              </p:cNvPr>
              <p:cNvSpPr/>
              <p:nvPr/>
            </p:nvSpPr>
            <p:spPr>
              <a:xfrm>
                <a:off x="1670368" y="2738809"/>
                <a:ext cx="238125" cy="20203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>
                    <a:solidFill>
                      <a:schemeClr val="bg1"/>
                    </a:solidFill>
                    <a:latin typeface="Montserrat" panose="00000500000000000000" pitchFamily="50" charset="0"/>
                  </a:rPr>
                  <a:t>27</a:t>
                </a:r>
              </a:p>
            </p:txBody>
          </p:sp>
        </p:grpSp>
        <p:grpSp>
          <p:nvGrpSpPr>
            <p:cNvPr id="211" name="Group 210">
              <a:extLst>
                <a:ext uri="{FF2B5EF4-FFF2-40B4-BE49-F238E27FC236}">
                  <a16:creationId xmlns:a16="http://schemas.microsoft.com/office/drawing/2014/main" id="{D93DC656-0FF1-4494-A634-FA73B3492F4B}"/>
                </a:ext>
              </a:extLst>
            </p:cNvPr>
            <p:cNvGrpSpPr/>
            <p:nvPr/>
          </p:nvGrpSpPr>
          <p:grpSpPr>
            <a:xfrm>
              <a:off x="7015734" y="2736744"/>
              <a:ext cx="700532" cy="202035"/>
              <a:chOff x="514350" y="2738809"/>
              <a:chExt cx="700532" cy="202035"/>
            </a:xfrm>
            <a:grpFill/>
          </p:grpSpPr>
          <p:sp>
            <p:nvSpPr>
              <p:cNvPr id="212" name="Rectangle 211">
                <a:extLst>
                  <a:ext uri="{FF2B5EF4-FFF2-40B4-BE49-F238E27FC236}">
                    <a16:creationId xmlns:a16="http://schemas.microsoft.com/office/drawing/2014/main" id="{6B8362AA-8F4E-4EB3-B6EF-91C44634C190}"/>
                  </a:ext>
                </a:extLst>
              </p:cNvPr>
              <p:cNvSpPr/>
              <p:nvPr/>
            </p:nvSpPr>
            <p:spPr>
              <a:xfrm>
                <a:off x="514350" y="2738809"/>
                <a:ext cx="238125" cy="20203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>
                    <a:solidFill>
                      <a:schemeClr val="bg1"/>
                    </a:solidFill>
                    <a:latin typeface="Montserrat" panose="00000500000000000000" pitchFamily="50" charset="0"/>
                  </a:rPr>
                  <a:t>29</a:t>
                </a:r>
              </a:p>
            </p:txBody>
          </p:sp>
          <p:sp>
            <p:nvSpPr>
              <p:cNvPr id="213" name="Rectangle 212">
                <a:extLst>
                  <a:ext uri="{FF2B5EF4-FFF2-40B4-BE49-F238E27FC236}">
                    <a16:creationId xmlns:a16="http://schemas.microsoft.com/office/drawing/2014/main" id="{A746EB58-7B73-4CB4-9BFB-C2A1EBC6575E}"/>
                  </a:ext>
                </a:extLst>
              </p:cNvPr>
              <p:cNvSpPr/>
              <p:nvPr/>
            </p:nvSpPr>
            <p:spPr>
              <a:xfrm>
                <a:off x="745553" y="2738809"/>
                <a:ext cx="238125" cy="20203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>
                    <a:solidFill>
                      <a:schemeClr val="bg1"/>
                    </a:solidFill>
                    <a:latin typeface="Montserrat" panose="00000500000000000000" pitchFamily="50" charset="0"/>
                  </a:rPr>
                  <a:t>30</a:t>
                </a:r>
              </a:p>
            </p:txBody>
          </p:sp>
          <p:sp>
            <p:nvSpPr>
              <p:cNvPr id="214" name="Rectangle 213">
                <a:extLst>
                  <a:ext uri="{FF2B5EF4-FFF2-40B4-BE49-F238E27FC236}">
                    <a16:creationId xmlns:a16="http://schemas.microsoft.com/office/drawing/2014/main" id="{5295E809-4D75-4F49-9283-26DD04DEECE0}"/>
                  </a:ext>
                </a:extLst>
              </p:cNvPr>
              <p:cNvSpPr/>
              <p:nvPr/>
            </p:nvSpPr>
            <p:spPr>
              <a:xfrm>
                <a:off x="976757" y="2738809"/>
                <a:ext cx="238125" cy="20203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>
                    <a:solidFill>
                      <a:schemeClr val="bg1"/>
                    </a:solidFill>
                    <a:latin typeface="Montserrat" panose="00000500000000000000" pitchFamily="50" charset="0"/>
                  </a:rPr>
                  <a:t>31</a:t>
                </a:r>
              </a:p>
            </p:txBody>
          </p:sp>
        </p:grpSp>
      </p:grpSp>
      <p:sp>
        <p:nvSpPr>
          <p:cNvPr id="243" name="Rounded Rectangle 41">
            <a:extLst>
              <a:ext uri="{FF2B5EF4-FFF2-40B4-BE49-F238E27FC236}">
                <a16:creationId xmlns:a16="http://schemas.microsoft.com/office/drawing/2014/main" id="{316CE95A-B19A-4E11-BD53-D4F647D594EF}"/>
              </a:ext>
            </a:extLst>
          </p:cNvPr>
          <p:cNvSpPr/>
          <p:nvPr/>
        </p:nvSpPr>
        <p:spPr>
          <a:xfrm>
            <a:off x="508726" y="1421904"/>
            <a:ext cx="2893325" cy="325733"/>
          </a:xfrm>
          <a:prstGeom prst="rect">
            <a:avLst/>
          </a:prstGeom>
          <a:solidFill>
            <a:srgbClr val="00D0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latin typeface="Montserrat" panose="00000500000000000000" pitchFamily="50" charset="0"/>
              </a:rPr>
              <a:t>Sample Task Description 1 </a:t>
            </a:r>
          </a:p>
        </p:txBody>
      </p:sp>
      <p:sp>
        <p:nvSpPr>
          <p:cNvPr id="244" name="Rounded Rectangle 42">
            <a:extLst>
              <a:ext uri="{FF2B5EF4-FFF2-40B4-BE49-F238E27FC236}">
                <a16:creationId xmlns:a16="http://schemas.microsoft.com/office/drawing/2014/main" id="{A0C51584-FC0B-4D10-AD5E-D428582DE975}"/>
              </a:ext>
            </a:extLst>
          </p:cNvPr>
          <p:cNvSpPr/>
          <p:nvPr/>
        </p:nvSpPr>
        <p:spPr>
          <a:xfrm>
            <a:off x="1605862" y="1814436"/>
            <a:ext cx="3578541" cy="325733"/>
          </a:xfrm>
          <a:prstGeom prst="rect">
            <a:avLst/>
          </a:prstGeom>
          <a:solidFill>
            <a:srgbClr val="5C8E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latin typeface="Montserrat" panose="00000500000000000000" pitchFamily="50" charset="0"/>
              </a:rPr>
              <a:t>Sample Task Description 2</a:t>
            </a:r>
          </a:p>
        </p:txBody>
      </p:sp>
      <p:sp>
        <p:nvSpPr>
          <p:cNvPr id="245" name="Rounded Rectangle 43">
            <a:extLst>
              <a:ext uri="{FF2B5EF4-FFF2-40B4-BE49-F238E27FC236}">
                <a16:creationId xmlns:a16="http://schemas.microsoft.com/office/drawing/2014/main" id="{D2683EDB-33E3-49C4-B4C4-4139D8257373}"/>
              </a:ext>
            </a:extLst>
          </p:cNvPr>
          <p:cNvSpPr/>
          <p:nvPr/>
        </p:nvSpPr>
        <p:spPr>
          <a:xfrm>
            <a:off x="2674932" y="2206967"/>
            <a:ext cx="2954907" cy="325733"/>
          </a:xfrm>
          <a:prstGeom prst="rect">
            <a:avLst/>
          </a:prstGeom>
          <a:solidFill>
            <a:srgbClr val="686C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latin typeface="Montserrat" panose="00000500000000000000" pitchFamily="50" charset="0"/>
              </a:rPr>
              <a:t>Sample Task Description 3</a:t>
            </a:r>
          </a:p>
        </p:txBody>
      </p:sp>
      <p:sp>
        <p:nvSpPr>
          <p:cNvPr id="246" name="Rounded Rectangle 44">
            <a:extLst>
              <a:ext uri="{FF2B5EF4-FFF2-40B4-BE49-F238E27FC236}">
                <a16:creationId xmlns:a16="http://schemas.microsoft.com/office/drawing/2014/main" id="{FB799B5D-4E26-4F97-87C3-9D0B8A3BC986}"/>
              </a:ext>
            </a:extLst>
          </p:cNvPr>
          <p:cNvSpPr/>
          <p:nvPr/>
        </p:nvSpPr>
        <p:spPr>
          <a:xfrm>
            <a:off x="3762327" y="2599499"/>
            <a:ext cx="3957149" cy="325733"/>
          </a:xfrm>
          <a:prstGeom prst="rect">
            <a:avLst/>
          </a:prstGeom>
          <a:solidFill>
            <a:srgbClr val="084A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latin typeface="Montserrat" panose="00000500000000000000" pitchFamily="50" charset="0"/>
              </a:rPr>
              <a:t>Sample Task Description 4</a:t>
            </a:r>
          </a:p>
        </p:txBody>
      </p:sp>
      <p:sp>
        <p:nvSpPr>
          <p:cNvPr id="247" name="Rounded Rectangle 45">
            <a:extLst>
              <a:ext uri="{FF2B5EF4-FFF2-40B4-BE49-F238E27FC236}">
                <a16:creationId xmlns:a16="http://schemas.microsoft.com/office/drawing/2014/main" id="{1E3BF35E-24D7-407D-93A5-166263AB5DDB}"/>
              </a:ext>
            </a:extLst>
          </p:cNvPr>
          <p:cNvSpPr/>
          <p:nvPr/>
        </p:nvSpPr>
        <p:spPr>
          <a:xfrm>
            <a:off x="6638651" y="2992028"/>
            <a:ext cx="3950924" cy="325733"/>
          </a:xfrm>
          <a:prstGeom prst="rect">
            <a:avLst/>
          </a:prstGeom>
          <a:solidFill>
            <a:srgbClr val="0E7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latin typeface="Montserrat" panose="00000500000000000000" pitchFamily="50" charset="0"/>
              </a:rPr>
              <a:t>Sample Task 5</a:t>
            </a: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90DBAEAC-CD74-46E1-A9E1-FFCD528C9AF8}"/>
              </a:ext>
            </a:extLst>
          </p:cNvPr>
          <p:cNvSpPr txBox="1"/>
          <p:nvPr/>
        </p:nvSpPr>
        <p:spPr>
          <a:xfrm>
            <a:off x="3505432" y="1507826"/>
            <a:ext cx="1391691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0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50" charset="0"/>
              </a:rPr>
              <a:t>Start / End</a:t>
            </a:r>
          </a:p>
        </p:txBody>
      </p:sp>
      <p:sp>
        <p:nvSpPr>
          <p:cNvPr id="249" name="TextBox 248">
            <a:extLst>
              <a:ext uri="{FF2B5EF4-FFF2-40B4-BE49-F238E27FC236}">
                <a16:creationId xmlns:a16="http://schemas.microsoft.com/office/drawing/2014/main" id="{E2DA59C5-4047-4FD8-BD7D-A6D9570A8547}"/>
              </a:ext>
            </a:extLst>
          </p:cNvPr>
          <p:cNvSpPr txBox="1"/>
          <p:nvPr/>
        </p:nvSpPr>
        <p:spPr>
          <a:xfrm>
            <a:off x="5273600" y="1900358"/>
            <a:ext cx="1391691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0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50" charset="0"/>
              </a:rPr>
              <a:t>Start / End</a:t>
            </a:r>
          </a:p>
        </p:txBody>
      </p:sp>
      <p:sp>
        <p:nvSpPr>
          <p:cNvPr id="250" name="TextBox 249">
            <a:extLst>
              <a:ext uri="{FF2B5EF4-FFF2-40B4-BE49-F238E27FC236}">
                <a16:creationId xmlns:a16="http://schemas.microsoft.com/office/drawing/2014/main" id="{5AFB23CC-493D-455F-9543-F3261FEEE24A}"/>
              </a:ext>
            </a:extLst>
          </p:cNvPr>
          <p:cNvSpPr txBox="1"/>
          <p:nvPr/>
        </p:nvSpPr>
        <p:spPr>
          <a:xfrm>
            <a:off x="5725173" y="2292889"/>
            <a:ext cx="1391691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0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50" charset="0"/>
              </a:rPr>
              <a:t>Start / End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1948E8F1-F411-46CE-AA41-953F77172302}"/>
              </a:ext>
            </a:extLst>
          </p:cNvPr>
          <p:cNvSpPr txBox="1"/>
          <p:nvPr/>
        </p:nvSpPr>
        <p:spPr>
          <a:xfrm>
            <a:off x="7816715" y="2685421"/>
            <a:ext cx="1391691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0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50" charset="0"/>
              </a:rPr>
              <a:t>Start / End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C65FA83A-54C3-4C4B-8B2A-1572530A3ADA}"/>
              </a:ext>
            </a:extLst>
          </p:cNvPr>
          <p:cNvSpPr txBox="1"/>
          <p:nvPr/>
        </p:nvSpPr>
        <p:spPr>
          <a:xfrm>
            <a:off x="10688320" y="3077950"/>
            <a:ext cx="1391691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0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50" charset="0"/>
              </a:rPr>
              <a:t>Start / End</a:t>
            </a: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0CFA2A80-4FEE-49A8-8202-6D639C2B4334}"/>
              </a:ext>
            </a:extLst>
          </p:cNvPr>
          <p:cNvSpPr txBox="1"/>
          <p:nvPr/>
        </p:nvSpPr>
        <p:spPr>
          <a:xfrm>
            <a:off x="2174265" y="4330234"/>
            <a:ext cx="1389539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b="1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50" charset="0"/>
              </a:rPr>
              <a:t>Milestone</a:t>
            </a:r>
          </a:p>
          <a:p>
            <a:pPr algn="ctr"/>
            <a:r>
              <a:rPr lang="en-US" sz="1200" b="1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50" charset="0"/>
              </a:rPr>
              <a:t>Date</a:t>
            </a:r>
          </a:p>
        </p:txBody>
      </p:sp>
      <p:sp>
        <p:nvSpPr>
          <p:cNvPr id="255" name="Isosceles Triangle 254">
            <a:extLst>
              <a:ext uri="{FF2B5EF4-FFF2-40B4-BE49-F238E27FC236}">
                <a16:creationId xmlns:a16="http://schemas.microsoft.com/office/drawing/2014/main" id="{B8CE9E4A-35F8-42E8-A0A1-DAF901BA4F7D}"/>
              </a:ext>
            </a:extLst>
          </p:cNvPr>
          <p:cNvSpPr/>
          <p:nvPr/>
        </p:nvSpPr>
        <p:spPr>
          <a:xfrm>
            <a:off x="2749780" y="4053052"/>
            <a:ext cx="238509" cy="208283"/>
          </a:xfrm>
          <a:prstGeom prst="triangle">
            <a:avLst/>
          </a:prstGeom>
          <a:solidFill>
            <a:srgbClr val="5C8E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0B014630-E8C4-487B-B946-6748C9E245BF}"/>
              </a:ext>
            </a:extLst>
          </p:cNvPr>
          <p:cNvSpPr txBox="1"/>
          <p:nvPr/>
        </p:nvSpPr>
        <p:spPr>
          <a:xfrm>
            <a:off x="4689021" y="4330234"/>
            <a:ext cx="1389539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b="1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50" charset="0"/>
              </a:rPr>
              <a:t>Milestone</a:t>
            </a:r>
          </a:p>
          <a:p>
            <a:pPr algn="ctr"/>
            <a:r>
              <a:rPr lang="en-US" sz="1200" b="1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50" charset="0"/>
              </a:rPr>
              <a:t>Date</a:t>
            </a:r>
          </a:p>
        </p:txBody>
      </p:sp>
      <p:sp>
        <p:nvSpPr>
          <p:cNvPr id="257" name="Isosceles Triangle 256">
            <a:extLst>
              <a:ext uri="{FF2B5EF4-FFF2-40B4-BE49-F238E27FC236}">
                <a16:creationId xmlns:a16="http://schemas.microsoft.com/office/drawing/2014/main" id="{DCCA2534-BBEE-4BE8-974F-CC70CAC388CE}"/>
              </a:ext>
            </a:extLst>
          </p:cNvPr>
          <p:cNvSpPr/>
          <p:nvPr/>
        </p:nvSpPr>
        <p:spPr>
          <a:xfrm>
            <a:off x="5264536" y="4053052"/>
            <a:ext cx="238509" cy="208283"/>
          </a:xfrm>
          <a:prstGeom prst="triangle">
            <a:avLst/>
          </a:prstGeom>
          <a:solidFill>
            <a:srgbClr val="686C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58" name="TextBox 257">
            <a:extLst>
              <a:ext uri="{FF2B5EF4-FFF2-40B4-BE49-F238E27FC236}">
                <a16:creationId xmlns:a16="http://schemas.microsoft.com/office/drawing/2014/main" id="{F574A12F-1824-4EDF-9C19-EA4FC1951380}"/>
              </a:ext>
            </a:extLst>
          </p:cNvPr>
          <p:cNvSpPr txBox="1"/>
          <p:nvPr/>
        </p:nvSpPr>
        <p:spPr>
          <a:xfrm>
            <a:off x="8639180" y="4330234"/>
            <a:ext cx="1389539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b="1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50" charset="0"/>
              </a:rPr>
              <a:t>Milestone</a:t>
            </a:r>
          </a:p>
          <a:p>
            <a:pPr algn="ctr"/>
            <a:r>
              <a:rPr lang="en-US" sz="1200" b="1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50" charset="0"/>
              </a:rPr>
              <a:t>Date</a:t>
            </a:r>
          </a:p>
        </p:txBody>
      </p:sp>
      <p:sp>
        <p:nvSpPr>
          <p:cNvPr id="259" name="Isosceles Triangle 258">
            <a:extLst>
              <a:ext uri="{FF2B5EF4-FFF2-40B4-BE49-F238E27FC236}">
                <a16:creationId xmlns:a16="http://schemas.microsoft.com/office/drawing/2014/main" id="{A9B44A5C-608A-4F1F-81E1-8C2DC40BBFF9}"/>
              </a:ext>
            </a:extLst>
          </p:cNvPr>
          <p:cNvSpPr/>
          <p:nvPr/>
        </p:nvSpPr>
        <p:spPr>
          <a:xfrm>
            <a:off x="9214695" y="4053052"/>
            <a:ext cx="238509" cy="208283"/>
          </a:xfrm>
          <a:prstGeom prst="triangle">
            <a:avLst/>
          </a:prstGeom>
          <a:solidFill>
            <a:srgbClr val="0E7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41699E6A-379E-467D-9667-BAB071212BF5}"/>
              </a:ext>
            </a:extLst>
          </p:cNvPr>
          <p:cNvGrpSpPr/>
          <p:nvPr/>
        </p:nvGrpSpPr>
        <p:grpSpPr>
          <a:xfrm>
            <a:off x="919645" y="4053054"/>
            <a:ext cx="1549016" cy="2171195"/>
            <a:chOff x="640325" y="2932426"/>
            <a:chExt cx="1161762" cy="1628396"/>
          </a:xfrm>
        </p:grpSpPr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F8D4B852-FE23-4CF4-B4D8-04E9C8686CA6}"/>
                </a:ext>
              </a:extLst>
            </p:cNvPr>
            <p:cNvCxnSpPr>
              <a:cxnSpLocks/>
            </p:cNvCxnSpPr>
            <p:nvPr/>
          </p:nvCxnSpPr>
          <p:spPr>
            <a:xfrm>
              <a:off x="729766" y="3083560"/>
              <a:ext cx="0" cy="1477262"/>
            </a:xfrm>
            <a:prstGeom prst="line">
              <a:avLst/>
            </a:prstGeom>
            <a:ln w="12700">
              <a:solidFill>
                <a:srgbClr val="06385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E91D27D1-2BD7-4B7D-8239-7EA0F616230B}"/>
                </a:ext>
              </a:extLst>
            </p:cNvPr>
            <p:cNvSpPr txBox="1"/>
            <p:nvPr/>
          </p:nvSpPr>
          <p:spPr>
            <a:xfrm>
              <a:off x="799628" y="4057650"/>
              <a:ext cx="1002459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US" sz="12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50" charset="0"/>
                </a:rPr>
                <a:t>Milestone</a:t>
              </a:r>
            </a:p>
            <a:p>
              <a:r>
                <a:rPr lang="en-US" sz="12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50" charset="0"/>
                </a:rPr>
                <a:t>Description</a:t>
              </a:r>
            </a:p>
            <a:p>
              <a:r>
                <a:rPr lang="en-US" sz="12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50" charset="0"/>
                </a:rPr>
                <a:t>Date</a:t>
              </a:r>
            </a:p>
          </p:txBody>
        </p:sp>
        <p:sp>
          <p:nvSpPr>
            <p:cNvPr id="263" name="Isosceles Triangle 262">
              <a:extLst>
                <a:ext uri="{FF2B5EF4-FFF2-40B4-BE49-F238E27FC236}">
                  <a16:creationId xmlns:a16="http://schemas.microsoft.com/office/drawing/2014/main" id="{73450C4F-8C44-44B8-A600-121751E5A0C2}"/>
                </a:ext>
              </a:extLst>
            </p:cNvPr>
            <p:cNvSpPr/>
            <p:nvPr/>
          </p:nvSpPr>
          <p:spPr>
            <a:xfrm>
              <a:off x="640325" y="2932426"/>
              <a:ext cx="178882" cy="156212"/>
            </a:xfrm>
            <a:prstGeom prst="triangle">
              <a:avLst/>
            </a:prstGeom>
            <a:solidFill>
              <a:srgbClr val="00D0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latin typeface="Montserrat" panose="00000500000000000000" pitchFamily="50" charset="0"/>
              </a:endParaRPr>
            </a:p>
          </p:txBody>
        </p:sp>
      </p:grpSp>
      <p:grpSp>
        <p:nvGrpSpPr>
          <p:cNvPr id="264" name="Group 263">
            <a:extLst>
              <a:ext uri="{FF2B5EF4-FFF2-40B4-BE49-F238E27FC236}">
                <a16:creationId xmlns:a16="http://schemas.microsoft.com/office/drawing/2014/main" id="{14D0F824-277B-4E09-80FA-D08285642DC9}"/>
              </a:ext>
            </a:extLst>
          </p:cNvPr>
          <p:cNvGrpSpPr/>
          <p:nvPr/>
        </p:nvGrpSpPr>
        <p:grpSpPr>
          <a:xfrm>
            <a:off x="6692879" y="4053054"/>
            <a:ext cx="1548560" cy="2171195"/>
            <a:chOff x="4829903" y="2932426"/>
            <a:chExt cx="1161420" cy="1628396"/>
          </a:xfrm>
        </p:grpSpPr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DB2992B7-0442-4947-B674-8528B961487B}"/>
                </a:ext>
              </a:extLst>
            </p:cNvPr>
            <p:cNvCxnSpPr>
              <a:cxnSpLocks/>
            </p:cNvCxnSpPr>
            <p:nvPr/>
          </p:nvCxnSpPr>
          <p:spPr>
            <a:xfrm>
              <a:off x="4919344" y="3083560"/>
              <a:ext cx="0" cy="1477262"/>
            </a:xfrm>
            <a:prstGeom prst="line">
              <a:avLst/>
            </a:prstGeom>
            <a:ln w="12700">
              <a:solidFill>
                <a:srgbClr val="06385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6" name="TextBox 265">
              <a:extLst>
                <a:ext uri="{FF2B5EF4-FFF2-40B4-BE49-F238E27FC236}">
                  <a16:creationId xmlns:a16="http://schemas.microsoft.com/office/drawing/2014/main" id="{21F2FDB9-9D11-4C34-B90E-75273A6E7DD1}"/>
                </a:ext>
              </a:extLst>
            </p:cNvPr>
            <p:cNvSpPr txBox="1"/>
            <p:nvPr/>
          </p:nvSpPr>
          <p:spPr>
            <a:xfrm>
              <a:off x="4988864" y="4057650"/>
              <a:ext cx="1002459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US" sz="12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50" charset="0"/>
                </a:rPr>
                <a:t>Milestone</a:t>
              </a:r>
            </a:p>
            <a:p>
              <a:r>
                <a:rPr lang="en-US" sz="12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50" charset="0"/>
                </a:rPr>
                <a:t>Description</a:t>
              </a:r>
            </a:p>
            <a:p>
              <a:r>
                <a:rPr lang="en-US" sz="12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anose="00000500000000000000" pitchFamily="50" charset="0"/>
                </a:rPr>
                <a:t>Date</a:t>
              </a:r>
            </a:p>
          </p:txBody>
        </p:sp>
        <p:sp>
          <p:nvSpPr>
            <p:cNvPr id="267" name="Isosceles Triangle 266">
              <a:extLst>
                <a:ext uri="{FF2B5EF4-FFF2-40B4-BE49-F238E27FC236}">
                  <a16:creationId xmlns:a16="http://schemas.microsoft.com/office/drawing/2014/main" id="{7EBB2C21-0CE0-4A1C-B44D-64A2AADF87A3}"/>
                </a:ext>
              </a:extLst>
            </p:cNvPr>
            <p:cNvSpPr/>
            <p:nvPr/>
          </p:nvSpPr>
          <p:spPr>
            <a:xfrm>
              <a:off x="4829903" y="2932426"/>
              <a:ext cx="178882" cy="156212"/>
            </a:xfrm>
            <a:prstGeom prst="triangle">
              <a:avLst/>
            </a:prstGeom>
            <a:solidFill>
              <a:srgbClr val="084A6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latin typeface="Montserrat" panose="00000500000000000000" pitchFamily="50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C54ACDF-DD49-B5AB-DBF9-7231EA6CF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>
                <a:solidFill>
                  <a:srgbClr val="063853"/>
                </a:solidFill>
                <a:latin typeface="Montserrat SemiBold" panose="00000700000000000000" pitchFamily="2" charset="0"/>
                <a:ea typeface="Roboto" panose="02000000000000000000" pitchFamily="2" charset="0"/>
              </a:rPr>
              <a:t>Project Timeline – 1 Month (30 Day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13695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ACFC463-24F6-238C-478E-EE6211EE29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4892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CFC463-24F6-238C-478E-EE6211EE29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11C44251-ED1A-7597-CEE9-78DBDB4BA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latin typeface="Montserrat SemiBold"/>
              </a:rPr>
              <a:t>Application Matix – which tools </a:t>
            </a:r>
            <a:r>
              <a:rPr lang="en-US" err="1">
                <a:latin typeface="Montserrat SemiBold"/>
              </a:rPr>
              <a:t>polarion</a:t>
            </a:r>
            <a:r>
              <a:rPr lang="en-US">
                <a:latin typeface="Montserrat SemiBold"/>
              </a:rPr>
              <a:t> works well/bad with in combination</a:t>
            </a:r>
            <a:endParaRPr lang="de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271497-B710-00CB-0C71-267701555E9E}"/>
              </a:ext>
            </a:extLst>
          </p:cNvPr>
          <p:cNvSpPr/>
          <p:nvPr/>
        </p:nvSpPr>
        <p:spPr>
          <a:xfrm>
            <a:off x="1607966" y="1311212"/>
            <a:ext cx="9401466" cy="305752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/>
              <a:t> </a:t>
            </a:r>
            <a:r>
              <a:rPr lang="de-DE" err="1"/>
              <a:t>focus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top 3 </a:t>
            </a:r>
            <a:r>
              <a:rPr lang="de-DE" err="1"/>
              <a:t>set-up</a:t>
            </a:r>
            <a:r>
              <a:rPr lang="de-DE"/>
              <a:t> </a:t>
            </a:r>
            <a:r>
              <a:rPr lang="de-DE" err="1"/>
              <a:t>combinations</a:t>
            </a:r>
            <a:r>
              <a:rPr lang="de-DE"/>
              <a:t> </a:t>
            </a:r>
            <a:r>
              <a:rPr lang="de-DE" err="1"/>
              <a:t>that</a:t>
            </a:r>
            <a:r>
              <a:rPr lang="de-DE"/>
              <a:t> </a:t>
            </a:r>
            <a:r>
              <a:rPr lang="de-DE" err="1"/>
              <a:t>polarion</a:t>
            </a:r>
            <a:r>
              <a:rPr lang="de-DE"/>
              <a:t> </a:t>
            </a:r>
            <a:r>
              <a:rPr lang="de-DE" err="1"/>
              <a:t>works</a:t>
            </a:r>
            <a:r>
              <a:rPr lang="de-DE"/>
              <a:t> </a:t>
            </a:r>
            <a:r>
              <a:rPr lang="de-DE" err="1"/>
              <a:t>well</a:t>
            </a:r>
            <a:r>
              <a:rPr lang="de-DE"/>
              <a:t> </a:t>
            </a:r>
            <a:endParaRPr lang="en-US"/>
          </a:p>
          <a:p>
            <a:pPr algn="ctr"/>
            <a:r>
              <a:rPr lang="de-DE"/>
              <a:t>with, e..g Polarion with Teamcenter, NX (and SAP) works well because of xyz,</a:t>
            </a:r>
          </a:p>
          <a:p>
            <a:pPr algn="ctr"/>
            <a:endParaRPr lang="de-DE"/>
          </a:p>
          <a:p>
            <a:pPr algn="ctr"/>
            <a:endParaRPr lang="de-DE"/>
          </a:p>
          <a:p>
            <a:pPr algn="ctr"/>
            <a:r>
              <a:rPr lang="de-DE"/>
              <a:t>Additionally, on the top 3 combinations with Polarion that dont work well e.g. Polarion, Windchill, CATIA (and SAP)</a:t>
            </a:r>
          </a:p>
          <a:p>
            <a:pPr algn="ctr"/>
            <a:endParaRPr lang="de-DE"/>
          </a:p>
          <a:p>
            <a:pPr algn="ctr"/>
            <a:r>
              <a:rPr lang="de-DE" err="1"/>
              <a:t>If</a:t>
            </a:r>
            <a:r>
              <a:rPr lang="de-DE"/>
              <a:t> ERP like SAP </a:t>
            </a:r>
            <a:r>
              <a:rPr lang="de-DE" err="1"/>
              <a:t>makes</a:t>
            </a:r>
            <a:r>
              <a:rPr lang="de-DE"/>
              <a:t> a </a:t>
            </a:r>
            <a:r>
              <a:rPr lang="de-DE" err="1"/>
              <a:t>difference</a:t>
            </a:r>
            <a:r>
              <a:rPr lang="de-DE"/>
              <a:t>, </a:t>
            </a:r>
            <a:r>
              <a:rPr lang="de-DE" err="1"/>
              <a:t>let's</a:t>
            </a:r>
            <a:r>
              <a:rPr lang="de-DE"/>
              <a:t> </a:t>
            </a:r>
            <a:r>
              <a:rPr lang="de-DE" err="1"/>
              <a:t>disucss</a:t>
            </a:r>
            <a:r>
              <a:rPr lang="de-DE"/>
              <a:t> </a:t>
            </a:r>
            <a:r>
              <a:rPr lang="de-DE" err="1"/>
              <a:t>why</a:t>
            </a:r>
            <a:r>
              <a:rPr lang="de-DE"/>
              <a:t> </a:t>
            </a:r>
            <a:r>
              <a:rPr lang="de-DE" err="1"/>
              <a:t>otherwise</a:t>
            </a:r>
            <a:r>
              <a:rPr lang="de-DE"/>
              <a:t> I </a:t>
            </a:r>
            <a:r>
              <a:rPr lang="de-DE" err="1"/>
              <a:t>would</a:t>
            </a:r>
            <a:r>
              <a:rPr lang="de-DE"/>
              <a:t> </a:t>
            </a:r>
            <a:r>
              <a:rPr lang="de-DE" err="1"/>
              <a:t>put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ERP </a:t>
            </a:r>
            <a:r>
              <a:rPr lang="de-DE" err="1"/>
              <a:t>as</a:t>
            </a:r>
            <a:r>
              <a:rPr lang="de-DE"/>
              <a:t> optional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1st </a:t>
            </a:r>
            <a:r>
              <a:rPr lang="de-DE" err="1"/>
              <a:t>iteration</a:t>
            </a:r>
          </a:p>
        </p:txBody>
      </p:sp>
    </p:spTree>
    <p:extLst>
      <p:ext uri="{BB962C8B-B14F-4D97-AF65-F5344CB8AC3E}">
        <p14:creationId xmlns:p14="http://schemas.microsoft.com/office/powerpoint/2010/main" val="26415361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19735E2-6580-98BB-C25E-60D66C21CB7F}"/>
              </a:ext>
            </a:extLst>
          </p:cNvPr>
          <p:cNvSpPr txBox="1">
            <a:spLocks/>
          </p:cNvSpPr>
          <p:nvPr/>
        </p:nvSpPr>
        <p:spPr>
          <a:xfrm>
            <a:off x="1872976" y="2142096"/>
            <a:ext cx="8452012" cy="948770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2"/>
                </a:solidFill>
                <a:latin typeface="Montserrat SemiBold" panose="00000700000000000000" pitchFamily="2" charset="0"/>
                <a:ea typeface="+mj-ea"/>
                <a:cs typeface="+mj-cs"/>
              </a:defRPr>
            </a:lvl1pPr>
          </a:lstStyle>
          <a:p>
            <a:pPr lvl="2">
              <a:lnSpc>
                <a:spcPct val="90000"/>
              </a:lnSpc>
              <a:spcBef>
                <a:spcPts val="500"/>
              </a:spcBef>
            </a:pPr>
            <a:r>
              <a:rPr lang="en-IN" sz="2800" err="1">
                <a:latin typeface="Montserrat SemiBold"/>
                <a:ea typeface="+mn-lt"/>
                <a:cs typeface="+mn-lt"/>
              </a:rPr>
              <a:t>Polarion</a:t>
            </a:r>
            <a:r>
              <a:rPr lang="en-IN" sz="2800">
                <a:latin typeface="Montserrat SemiBold"/>
                <a:ea typeface="+mn-lt"/>
                <a:cs typeface="+mn-lt"/>
              </a:rPr>
              <a:t> Implementation From </a:t>
            </a:r>
            <a:r>
              <a:rPr lang="en-US" sz="2800">
                <a:ea typeface="+mn-lt"/>
                <a:cs typeface="+mn-lt"/>
              </a:rPr>
              <a:t>scratch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935029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99C5AC0-2FC8-346E-5AC8-CD02AB050C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91763"/>
            <a:ext cx="10515600" cy="5436361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1300" b="1"/>
              <a:t>Assess Business Requirements</a:t>
            </a:r>
            <a:r>
              <a:rPr lang="en-US" sz="1300"/>
              <a:t>: </a:t>
            </a:r>
            <a:endParaRPr lang="en-US"/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/>
              <a:t>Engage with key stakeholders (e.g., product managers, engineers, QA teams) to understand their processes and identify how </a:t>
            </a:r>
            <a:r>
              <a:rPr lang="en-US" sz="1300" err="1"/>
              <a:t>Polarion</a:t>
            </a:r>
            <a:r>
              <a:rPr lang="en-US" sz="1300"/>
              <a:t> can improve efficiency, visibility, and traceability.</a:t>
            </a: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/>
              <a:t>Determine how </a:t>
            </a:r>
            <a:r>
              <a:rPr lang="en-US" sz="1300" err="1"/>
              <a:t>Polarion</a:t>
            </a:r>
            <a:r>
              <a:rPr lang="en-US" sz="1300"/>
              <a:t> will integrate with other tools like Jira, Git, and CI/CD systems.</a:t>
            </a:r>
          </a:p>
          <a:p>
            <a:pPr>
              <a:lnSpc>
                <a:spcPct val="150000"/>
              </a:lnSpc>
            </a:pPr>
            <a:r>
              <a:rPr lang="en-US" sz="1300" b="1"/>
              <a:t>Plan </a:t>
            </a:r>
            <a:r>
              <a:rPr lang="en-US" sz="1300" b="1" err="1"/>
              <a:t>Polarion</a:t>
            </a:r>
            <a:r>
              <a:rPr lang="en-US" sz="1300" b="1"/>
              <a:t> Configuration</a:t>
            </a:r>
            <a:r>
              <a:rPr lang="en-US" sz="1300"/>
              <a:t>: </a:t>
            </a: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/>
              <a:t>Decide on work item types (e.g., requirements, tasks, defects).</a:t>
            </a: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/>
              <a:t>Configure custom fields to capture relevant information.</a:t>
            </a: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/>
              <a:t>Define workflows for each item type, including approval processes, automated assignments, and notifications.</a:t>
            </a: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/>
              <a:t>Map out roles and permissions to ensure appropriate user access and control within the system.</a:t>
            </a:r>
          </a:p>
          <a:p>
            <a:pPr>
              <a:lnSpc>
                <a:spcPct val="150000"/>
              </a:lnSpc>
            </a:pPr>
            <a:r>
              <a:rPr lang="en-US" sz="1300" b="1"/>
              <a:t>Install and Set Up </a:t>
            </a:r>
            <a:r>
              <a:rPr lang="en-US" sz="1300" b="1" err="1"/>
              <a:t>Polarion</a:t>
            </a:r>
            <a:r>
              <a:rPr lang="en-US" sz="1300"/>
              <a:t>:</a:t>
            </a: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/>
              <a:t>Install </a:t>
            </a:r>
            <a:r>
              <a:rPr lang="en-US" sz="1300" err="1"/>
              <a:t>Polarion</a:t>
            </a:r>
            <a:r>
              <a:rPr lang="en-US" sz="1300"/>
              <a:t> on the chosen server environment (on-premises or cloud) according to technical specifications.</a:t>
            </a: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/>
              <a:t>Ensure the environment is stable, secure, and integrated with existing infrastructure, such as authentication systems (LDAP/Active Directory), databases, or version control tools.</a:t>
            </a: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/>
              <a:t>Properly size the system to handle the number of users and projects efficiently.</a:t>
            </a:r>
          </a:p>
          <a:p>
            <a:pPr>
              <a:lnSpc>
                <a:spcPct val="150000"/>
              </a:lnSpc>
            </a:pPr>
            <a:endParaRPr lang="en-US" sz="130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0B94B2-BE2B-DF78-C4E2-FF57B0702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err="1">
                <a:latin typeface="Montserrat SemiBold"/>
              </a:rPr>
              <a:t>Polarion</a:t>
            </a:r>
            <a:r>
              <a:rPr lang="en-IN">
                <a:latin typeface="Montserrat SemiBold"/>
              </a:rPr>
              <a:t> Implementation – Short</a:t>
            </a: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3ACC4CB-2FD2-8351-1B51-FA326DA78E73}"/>
              </a:ext>
            </a:extLst>
          </p:cNvPr>
          <p:cNvSpPr/>
          <p:nvPr/>
        </p:nvSpPr>
        <p:spPr>
          <a:xfrm>
            <a:off x="8517698" y="254635"/>
            <a:ext cx="3169085" cy="8705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Timeline 11-13</a:t>
            </a:r>
          </a:p>
        </p:txBody>
      </p:sp>
    </p:spTree>
    <p:extLst>
      <p:ext uri="{BB962C8B-B14F-4D97-AF65-F5344CB8AC3E}">
        <p14:creationId xmlns:p14="http://schemas.microsoft.com/office/powerpoint/2010/main" val="107822594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99C5AC0-2FC8-346E-5AC8-CD02AB050C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09404"/>
            <a:ext cx="10515600" cy="5445747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1300" b="1">
                <a:latin typeface="Montserrat"/>
              </a:rPr>
              <a:t>Configure Projects and Workflows</a:t>
            </a:r>
            <a:r>
              <a:rPr lang="en-US" sz="1300">
                <a:latin typeface="Montserrat"/>
              </a:rPr>
              <a:t>: </a:t>
            </a:r>
            <a:endParaRPr lang="en-US"/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/>
              <a:t>Set up project templates with standardized structures for managing tasks, requirements, and test cases across projects.</a:t>
            </a:r>
            <a:endParaRPr lang="en-US" sz="1300">
              <a:latin typeface="Montserrat"/>
            </a:endParaRPr>
          </a:p>
          <a:p>
            <a:pPr lvl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o"/>
            </a:pPr>
            <a:r>
              <a:rPr lang="en-US" sz="1300"/>
              <a:t>Define custom workflows for approval, review, and execution processes within projects.</a:t>
            </a:r>
          </a:p>
          <a:p>
            <a:pPr lvl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o"/>
            </a:pPr>
            <a:r>
              <a:rPr lang="en-US" sz="1300"/>
              <a:t>Implement document structures, traceability matrices, and dashboards for real-time insights into project progress, compliance, and risk management.</a:t>
            </a: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/>
              <a:t>Configure custom reports to visualize metrics such as project status, team productivity, and quality KPIs.</a:t>
            </a:r>
          </a:p>
          <a:p>
            <a:pPr>
              <a:lnSpc>
                <a:spcPct val="150000"/>
              </a:lnSpc>
            </a:pPr>
            <a:r>
              <a:rPr lang="en-US" sz="1300" b="1">
                <a:latin typeface="Montserrat"/>
              </a:rPr>
              <a:t>Train Users and Roll Out</a:t>
            </a:r>
            <a:r>
              <a:rPr lang="en-US" sz="1300">
                <a:latin typeface="Montserrat"/>
              </a:rPr>
              <a:t>:</a:t>
            </a: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/>
              <a:t>Provide training sessions for different user groups (e.g., project managers, developers, QA teams).</a:t>
            </a:r>
            <a:endParaRPr lang="en-US" sz="1300">
              <a:latin typeface="Montserrat"/>
            </a:endParaRP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/>
              <a:t>Focus on hands-on training for creating and managing work items, collaborating through </a:t>
            </a:r>
            <a:r>
              <a:rPr lang="en-US" sz="1300" err="1"/>
              <a:t>Polarion</a:t>
            </a:r>
            <a:r>
              <a:rPr lang="en-US" sz="1300"/>
              <a:t>, and using dashboards and reports.</a:t>
            </a: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/>
              <a:t>Plan a phased rollout to minimize disruption, starting with pilot teams and gradually expanding to the full organization.</a:t>
            </a:r>
          </a:p>
          <a:p>
            <a:pPr>
              <a:lnSpc>
                <a:spcPct val="150000"/>
              </a:lnSpc>
            </a:pPr>
            <a:endParaRPr lang="en-US" sz="1300">
              <a:latin typeface="Montserra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0B94B2-BE2B-DF78-C4E2-FF57B0702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err="1">
                <a:latin typeface="Montserrat SemiBold"/>
              </a:rPr>
              <a:t>Polarion</a:t>
            </a:r>
            <a:r>
              <a:rPr lang="en-IN">
                <a:latin typeface="Montserrat SemiBold"/>
              </a:rPr>
              <a:t> Implementation – Shor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532499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99C5AC0-2FC8-346E-5AC8-CD02AB050C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09404"/>
            <a:ext cx="10515600" cy="5445747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1300" b="1">
                <a:latin typeface="Montserrat"/>
              </a:rPr>
              <a:t>Ongoing Maintenance and Support</a:t>
            </a:r>
            <a:r>
              <a:rPr lang="en-US" sz="1300">
                <a:latin typeface="Montserrat"/>
              </a:rPr>
              <a:t>:</a:t>
            </a:r>
            <a:endParaRPr lang="en-US"/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/>
              <a:t>Schedule regular updates and patches to keep </a:t>
            </a:r>
            <a:r>
              <a:rPr lang="en-US" sz="1300" err="1"/>
              <a:t>Polarion</a:t>
            </a:r>
            <a:r>
              <a:rPr lang="en-US" sz="1300"/>
              <a:t> current with the latest features and security enhancements.</a:t>
            </a:r>
            <a:endParaRPr lang="en-US" sz="1300">
              <a:latin typeface="Montserrat"/>
            </a:endParaRP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/>
              <a:t>Monitor system performance and gather user feedback to identify improvement areas.</a:t>
            </a: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/>
              <a:t>Provide ongoing support for technical or process-related issues.</a:t>
            </a: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/>
              <a:t>Periodically review and optimize workflows, reports, and integrations to ensure alignment with evolving business goals.</a:t>
            </a:r>
          </a:p>
          <a:p>
            <a:pPr>
              <a:lnSpc>
                <a:spcPct val="150000"/>
              </a:lnSpc>
            </a:pPr>
            <a:endParaRPr lang="en-US" sz="1300">
              <a:latin typeface="Montserra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0B94B2-BE2B-DF78-C4E2-FF57B0702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err="1">
                <a:latin typeface="Montserrat SemiBold"/>
              </a:rPr>
              <a:t>Polarion</a:t>
            </a:r>
            <a:r>
              <a:rPr lang="en-IN">
                <a:latin typeface="Montserrat SemiBold"/>
              </a:rPr>
              <a:t> Implementation – Shor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056251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99C5AC0-2FC8-346E-5AC8-CD02AB050C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65861"/>
            <a:ext cx="10515600" cy="5445747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70000"/>
              </a:lnSpc>
            </a:pPr>
            <a:r>
              <a:rPr lang="en-US" sz="1300" b="1"/>
              <a:t>Pre-Implementation Planning:</a:t>
            </a:r>
          </a:p>
          <a:p>
            <a:pPr lvl="1">
              <a:lnSpc>
                <a:spcPct val="170000"/>
              </a:lnSpc>
              <a:buFont typeface="Courier New" panose="020B0604020202020204" pitchFamily="34" charset="0"/>
              <a:buChar char="o"/>
            </a:pPr>
            <a:r>
              <a:rPr lang="en-US" sz="1300" b="1"/>
              <a:t>Assess Requirements</a:t>
            </a:r>
            <a:r>
              <a:rPr lang="en-US" sz="1300"/>
              <a:t>: Understand the business processes and the features needed from </a:t>
            </a:r>
            <a:r>
              <a:rPr lang="en-US" sz="1300" err="1"/>
              <a:t>Polarion</a:t>
            </a:r>
            <a:r>
              <a:rPr lang="en-US" sz="1300"/>
              <a:t>, including ALM (Application Lifecycle Management), project management, or requirements tracking.</a:t>
            </a:r>
          </a:p>
          <a:p>
            <a:pPr lvl="1">
              <a:lnSpc>
                <a:spcPct val="170000"/>
              </a:lnSpc>
              <a:buFont typeface="Courier New" panose="020B0604020202020204" pitchFamily="34" charset="0"/>
              <a:buChar char="o"/>
            </a:pPr>
            <a:r>
              <a:rPr lang="en-US" sz="1300" b="1"/>
              <a:t>Define Use Cases</a:t>
            </a:r>
            <a:r>
              <a:rPr lang="en-US" sz="1300"/>
              <a:t>: Identify how different teams (development, testing, product management) will use the platform.</a:t>
            </a:r>
          </a:p>
          <a:p>
            <a:pPr lvl="1">
              <a:lnSpc>
                <a:spcPct val="170000"/>
              </a:lnSpc>
              <a:buFont typeface="Courier New" panose="020B0604020202020204" pitchFamily="34" charset="0"/>
              <a:buChar char="o"/>
            </a:pPr>
            <a:r>
              <a:rPr lang="en-US" sz="1300" b="1"/>
              <a:t>Infrastructure Planning</a:t>
            </a:r>
            <a:r>
              <a:rPr lang="en-US" sz="1300"/>
              <a:t>: Determine hardware, software, and licensing requirements, including the number of users, server specifications, storage needs, and high availability (HA) or disaster recovery requirements.</a:t>
            </a:r>
          </a:p>
          <a:p>
            <a:pPr>
              <a:lnSpc>
                <a:spcPct val="170000"/>
              </a:lnSpc>
            </a:pPr>
            <a:r>
              <a:rPr lang="en-US" sz="1300" b="1"/>
              <a:t>Installation</a:t>
            </a:r>
          </a:p>
          <a:p>
            <a:pPr lvl="1">
              <a:lnSpc>
                <a:spcPct val="170000"/>
              </a:lnSpc>
              <a:buFont typeface="Courier New" panose="020B0604020202020204" pitchFamily="34" charset="0"/>
              <a:buChar char="o"/>
            </a:pPr>
            <a:r>
              <a:rPr lang="en-US" sz="1300" b="1"/>
              <a:t>Install </a:t>
            </a:r>
            <a:r>
              <a:rPr lang="en-US" sz="1300" b="1" err="1"/>
              <a:t>Polarion</a:t>
            </a:r>
            <a:r>
              <a:rPr lang="en-US" sz="1300"/>
              <a:t>: Follow </a:t>
            </a:r>
            <a:r>
              <a:rPr lang="en-US" sz="1300" err="1"/>
              <a:t>Polarion</a:t>
            </a:r>
            <a:r>
              <a:rPr lang="en-US" sz="1300"/>
              <a:t> installation procedures to install the server. This typically involves:</a:t>
            </a:r>
          </a:p>
          <a:p>
            <a:pPr lvl="2">
              <a:lnSpc>
                <a:spcPct val="170000"/>
              </a:lnSpc>
              <a:buFont typeface="Wingdings" panose="020B0604020202020204" pitchFamily="34" charset="0"/>
              <a:buChar char="§"/>
            </a:pPr>
            <a:r>
              <a:rPr lang="en-US" sz="1300"/>
              <a:t>Downloading and deploying the </a:t>
            </a:r>
            <a:r>
              <a:rPr lang="en-US" sz="1300" err="1"/>
              <a:t>Polarion</a:t>
            </a:r>
            <a:r>
              <a:rPr lang="en-US" sz="1300"/>
              <a:t> WAR file.</a:t>
            </a:r>
          </a:p>
          <a:p>
            <a:pPr lvl="2">
              <a:lnSpc>
                <a:spcPct val="170000"/>
              </a:lnSpc>
              <a:buFont typeface="Wingdings" panose="020B0604020202020204" pitchFamily="34" charset="0"/>
              <a:buChar char="§"/>
            </a:pPr>
            <a:r>
              <a:rPr lang="en-US" sz="1300"/>
              <a:t>Setting up the database (e.g., PostgreSQL, Oracle).</a:t>
            </a:r>
          </a:p>
          <a:p>
            <a:pPr lvl="2">
              <a:lnSpc>
                <a:spcPct val="170000"/>
              </a:lnSpc>
              <a:buFont typeface="Wingdings" panose="020B0604020202020204" pitchFamily="34" charset="0"/>
              <a:buChar char="§"/>
            </a:pPr>
            <a:r>
              <a:rPr lang="en-US" sz="1300"/>
              <a:t>Configuring web server (Apache or Tomcat).</a:t>
            </a:r>
          </a:p>
          <a:p>
            <a:pPr>
              <a:lnSpc>
                <a:spcPct val="170000"/>
              </a:lnSpc>
            </a:pPr>
            <a:endParaRPr lang="en-US" sz="130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0B94B2-BE2B-DF78-C4E2-FF57B0702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err="1">
                <a:latin typeface="Montserrat SemiBold"/>
              </a:rPr>
              <a:t>Polarion</a:t>
            </a:r>
            <a:r>
              <a:rPr lang="en-IN">
                <a:latin typeface="Montserrat SemiBold"/>
              </a:rPr>
              <a:t> Implementation – Detailed</a:t>
            </a: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F82C321-31B9-2A13-E9FC-6237F78C1A11}"/>
              </a:ext>
            </a:extLst>
          </p:cNvPr>
          <p:cNvSpPr/>
          <p:nvPr/>
        </p:nvSpPr>
        <p:spPr>
          <a:xfrm>
            <a:off x="8517698" y="254635"/>
            <a:ext cx="3169085" cy="8705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Skip for now</a:t>
            </a:r>
          </a:p>
        </p:txBody>
      </p:sp>
    </p:spTree>
    <p:extLst>
      <p:ext uri="{BB962C8B-B14F-4D97-AF65-F5344CB8AC3E}">
        <p14:creationId xmlns:p14="http://schemas.microsoft.com/office/powerpoint/2010/main" val="35365223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99C5AC0-2FC8-346E-5AC8-CD02AB050C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79597"/>
            <a:ext cx="10515600" cy="5833935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1300" b="1">
                <a:latin typeface="Montserrat"/>
              </a:rPr>
              <a:t>Customization and Configuration:</a:t>
            </a:r>
            <a:endParaRPr lang="en-US" b="1"/>
          </a:p>
          <a:p>
            <a:pPr lvl="1">
              <a:lnSpc>
                <a:spcPct val="150000"/>
              </a:lnSpc>
              <a:buFont typeface="Courier New,monospace" panose="020B0604020202020204" pitchFamily="34" charset="0"/>
              <a:buChar char="o"/>
            </a:pPr>
            <a:r>
              <a:rPr lang="en-US" sz="1300" b="1">
                <a:latin typeface="Montserrat"/>
              </a:rPr>
              <a:t>Work Item Configuration</a:t>
            </a:r>
            <a:r>
              <a:rPr lang="en-US" sz="1300">
                <a:latin typeface="Montserrat"/>
              </a:rPr>
              <a:t>: Configure work item types, workflows, and custom fields to meet the specific project needs.</a:t>
            </a:r>
          </a:p>
          <a:p>
            <a:pPr lvl="1">
              <a:lnSpc>
                <a:spcPct val="150000"/>
              </a:lnSpc>
              <a:buFont typeface="Courier New,monospace" panose="020B0604020202020204" pitchFamily="34" charset="0"/>
              <a:buChar char="o"/>
            </a:pPr>
            <a:r>
              <a:rPr lang="en-US" sz="1300" b="1">
                <a:latin typeface="Montserrat"/>
              </a:rPr>
              <a:t>Document Management</a:t>
            </a:r>
            <a:r>
              <a:rPr lang="en-US" sz="1300">
                <a:latin typeface="Montserrat"/>
              </a:rPr>
              <a:t>: Define document types and templates for requirements, specifications, and other project documents.</a:t>
            </a:r>
          </a:p>
          <a:p>
            <a:pPr lvl="1">
              <a:lnSpc>
                <a:spcPct val="150000"/>
              </a:lnSpc>
              <a:buFont typeface="Courier New,monospace" panose="020B0604020202020204" pitchFamily="34" charset="0"/>
              <a:buChar char="o"/>
            </a:pPr>
            <a:r>
              <a:rPr lang="en-US" sz="1300" b="1">
                <a:latin typeface="Montserrat"/>
              </a:rPr>
              <a:t>Workflows</a:t>
            </a:r>
            <a:r>
              <a:rPr lang="en-US" sz="1300">
                <a:latin typeface="Montserrat"/>
              </a:rPr>
              <a:t>: Customize workflows to reflect the business processes (e.g., for requirements approval, issue tracking, etc.).</a:t>
            </a:r>
          </a:p>
          <a:p>
            <a:pPr lvl="1">
              <a:lnSpc>
                <a:spcPct val="150000"/>
              </a:lnSpc>
              <a:buFont typeface="Courier New,monospace" panose="020B0604020202020204" pitchFamily="34" charset="0"/>
              <a:buChar char="o"/>
            </a:pPr>
            <a:r>
              <a:rPr lang="en-US" sz="1300" b="1">
                <a:latin typeface="Montserrat"/>
              </a:rPr>
              <a:t>Form Configuration</a:t>
            </a:r>
            <a:r>
              <a:rPr lang="en-US" sz="1300">
                <a:latin typeface="Montserrat"/>
              </a:rPr>
              <a:t>: Customize forms (using fields, layouts, rules) to capture necessary information from users.</a:t>
            </a:r>
          </a:p>
          <a:p>
            <a:pPr lvl="1">
              <a:lnSpc>
                <a:spcPct val="150000"/>
              </a:lnSpc>
              <a:buFont typeface="Courier New,monospace" panose="020B0604020202020204" pitchFamily="34" charset="0"/>
              <a:buChar char="o"/>
            </a:pPr>
            <a:r>
              <a:rPr lang="en-US" sz="1100" b="1"/>
              <a:t>Standard Reports</a:t>
            </a:r>
            <a:r>
              <a:rPr lang="en-US" sz="1100"/>
              <a:t>: Utilize </a:t>
            </a:r>
            <a:r>
              <a:rPr lang="en-US" sz="1100" err="1"/>
              <a:t>Polarion’s</a:t>
            </a:r>
            <a:r>
              <a:rPr lang="en-US" sz="1100"/>
              <a:t> out-of-the-box reports for tracking progress, requirements coverage, test execution, </a:t>
            </a:r>
            <a:r>
              <a:rPr lang="en-US" sz="1100" err="1"/>
              <a:t>etc</a:t>
            </a:r>
            <a:endParaRPr lang="en-US" err="1"/>
          </a:p>
          <a:p>
            <a:pPr lvl="1">
              <a:lnSpc>
                <a:spcPct val="150000"/>
              </a:lnSpc>
              <a:buFont typeface="Courier New,monospace" panose="020B0604020202020204" pitchFamily="34" charset="0"/>
              <a:buChar char="o"/>
            </a:pPr>
            <a:r>
              <a:rPr lang="en-US" sz="1100" b="1"/>
              <a:t>Custom Reports</a:t>
            </a:r>
            <a:r>
              <a:rPr lang="en-US" sz="1100"/>
              <a:t>: Create or customize reports using Velocity scripting or other languages as required to meet specific needs.</a:t>
            </a:r>
            <a:endParaRPr lang="en-US"/>
          </a:p>
          <a:p>
            <a:pPr lvl="1">
              <a:lnSpc>
                <a:spcPct val="150000"/>
              </a:lnSpc>
              <a:buFont typeface="Courier New,monospace" panose="020B0604020202020204" pitchFamily="34" charset="0"/>
              <a:buChar char="o"/>
            </a:pPr>
            <a:r>
              <a:rPr lang="en-US" sz="1300" b="1"/>
              <a:t>Dashboard Configuration</a:t>
            </a:r>
            <a:r>
              <a:rPr lang="en-US" sz="1300"/>
              <a:t>: Set up dashboards with widgets to provide real-time insights into project status.</a:t>
            </a:r>
            <a:endParaRPr lang="en-US"/>
          </a:p>
          <a:p>
            <a:pPr>
              <a:lnSpc>
                <a:spcPct val="150000"/>
              </a:lnSpc>
            </a:pPr>
            <a:r>
              <a:rPr lang="en-US" sz="1500" b="1">
                <a:latin typeface="Montserrat"/>
              </a:rPr>
              <a:t>Integration with Other Tools:</a:t>
            </a:r>
            <a:endParaRPr lang="en-US" b="1"/>
          </a:p>
          <a:p>
            <a:pPr lvl="1">
              <a:lnSpc>
                <a:spcPct val="150000"/>
              </a:lnSpc>
              <a:buFont typeface="Courier New,monospace" panose="020B0604020202020204" pitchFamily="34" charset="0"/>
              <a:buChar char="o"/>
            </a:pPr>
            <a:r>
              <a:rPr lang="en-US" sz="1300" b="1">
                <a:latin typeface="Montserrat"/>
              </a:rPr>
              <a:t>Third-Party Tools</a:t>
            </a:r>
            <a:r>
              <a:rPr lang="en-US" sz="1300">
                <a:latin typeface="Montserrat"/>
              </a:rPr>
              <a:t>: Integrate </a:t>
            </a:r>
            <a:r>
              <a:rPr lang="en-US" sz="1300" err="1">
                <a:latin typeface="Montserrat"/>
              </a:rPr>
              <a:t>Polarion</a:t>
            </a:r>
            <a:r>
              <a:rPr lang="en-US" sz="1300">
                <a:latin typeface="Montserrat"/>
              </a:rPr>
              <a:t> with other tools like Jira, Jenkins, Git, or SVN for continuous integration (CI) and version control.</a:t>
            </a:r>
          </a:p>
          <a:p>
            <a:pPr lvl="1">
              <a:lnSpc>
                <a:spcPct val="150000"/>
              </a:lnSpc>
              <a:buFont typeface="Courier New,monospace" panose="020B0604020202020204" pitchFamily="34" charset="0"/>
              <a:buChar char="o"/>
            </a:pPr>
            <a:r>
              <a:rPr lang="en-US" sz="1300" b="1">
                <a:latin typeface="Montserrat"/>
              </a:rPr>
              <a:t>API Customization</a:t>
            </a:r>
            <a:r>
              <a:rPr lang="en-US" sz="1300">
                <a:latin typeface="Montserrat"/>
              </a:rPr>
              <a:t>: Use </a:t>
            </a:r>
            <a:r>
              <a:rPr lang="en-US" sz="1300" err="1">
                <a:latin typeface="Montserrat"/>
              </a:rPr>
              <a:t>Polarion's</a:t>
            </a:r>
            <a:r>
              <a:rPr lang="en-US" sz="1300">
                <a:latin typeface="Montserrat"/>
              </a:rPr>
              <a:t> REST API to create custom integrations with internal tools or other external systems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0B94B2-BE2B-DF78-C4E2-FF57B0702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err="1">
                <a:latin typeface="Montserrat SemiBold"/>
              </a:rPr>
              <a:t>Polarion</a:t>
            </a:r>
            <a:r>
              <a:rPr lang="en-IN">
                <a:latin typeface="Montserrat SemiBold"/>
              </a:rPr>
              <a:t> Implementation – Detailed</a:t>
            </a: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BE22FA9-4394-F59B-E7F1-C2CFC92BE87D}"/>
              </a:ext>
            </a:extLst>
          </p:cNvPr>
          <p:cNvSpPr/>
          <p:nvPr/>
        </p:nvSpPr>
        <p:spPr>
          <a:xfrm>
            <a:off x="8517698" y="254635"/>
            <a:ext cx="3169085" cy="8705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Skip for now</a:t>
            </a:r>
          </a:p>
        </p:txBody>
      </p:sp>
    </p:spTree>
    <p:extLst>
      <p:ext uri="{BB962C8B-B14F-4D97-AF65-F5344CB8AC3E}">
        <p14:creationId xmlns:p14="http://schemas.microsoft.com/office/powerpoint/2010/main" val="291976767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99C5AC0-2FC8-346E-5AC8-CD02AB050C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79597"/>
            <a:ext cx="10515600" cy="5833935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1300" b="1"/>
              <a:t>Training and Documentation:</a:t>
            </a:r>
          </a:p>
          <a:p>
            <a:pPr lvl="1">
              <a:lnSpc>
                <a:spcPct val="150000"/>
              </a:lnSpc>
              <a:buFont typeface="Courier New,monospace" panose="020B0604020202020204" pitchFamily="34" charset="0"/>
              <a:buChar char="o"/>
            </a:pPr>
            <a:r>
              <a:rPr lang="en-US" sz="1300" b="1"/>
              <a:t>End-User Training</a:t>
            </a:r>
            <a:r>
              <a:rPr lang="en-US" sz="1300"/>
              <a:t>: Provide training for users, administrators, and stakeholders on how to use </a:t>
            </a:r>
            <a:r>
              <a:rPr lang="en-US" sz="1300" err="1"/>
              <a:t>Polarion</a:t>
            </a:r>
            <a:r>
              <a:rPr lang="en-US" sz="1300"/>
              <a:t> effectively.</a:t>
            </a:r>
          </a:p>
          <a:p>
            <a:pPr lvl="1">
              <a:lnSpc>
                <a:spcPct val="150000"/>
              </a:lnSpc>
              <a:buFont typeface="Courier New,monospace" panose="020B0604020202020204" pitchFamily="34" charset="0"/>
              <a:buChar char="o"/>
            </a:pPr>
            <a:r>
              <a:rPr lang="en-US" sz="1300" b="1"/>
              <a:t>Documentation</a:t>
            </a:r>
            <a:r>
              <a:rPr lang="en-US" sz="1300"/>
              <a:t>: Create internal documentation covering processes, workflows, and system usage guidelines.</a:t>
            </a:r>
          </a:p>
          <a:p>
            <a:pPr>
              <a:lnSpc>
                <a:spcPct val="150000"/>
              </a:lnSpc>
            </a:pPr>
            <a:r>
              <a:rPr lang="en-US" sz="1300" b="1"/>
              <a:t>Ongoing Management:</a:t>
            </a:r>
            <a:endParaRPr lang="en-US" sz="1300"/>
          </a:p>
          <a:p>
            <a:pPr lvl="1">
              <a:lnSpc>
                <a:spcPct val="150000"/>
              </a:lnSpc>
              <a:buFont typeface="Courier New,monospace" panose="020B0604020202020204" pitchFamily="34" charset="0"/>
              <a:buChar char="o"/>
            </a:pPr>
            <a:r>
              <a:rPr lang="en-US" sz="1100" b="1"/>
              <a:t>Upgrade Management</a:t>
            </a:r>
            <a:r>
              <a:rPr lang="en-US" sz="1100"/>
              <a:t>: Keep </a:t>
            </a:r>
            <a:r>
              <a:rPr lang="en-US" sz="1100" err="1"/>
              <a:t>Polarion</a:t>
            </a:r>
            <a:r>
              <a:rPr lang="en-US" sz="1100"/>
              <a:t> up to date with patches and version upgrades.</a:t>
            </a:r>
          </a:p>
          <a:p>
            <a:pPr lvl="1">
              <a:lnSpc>
                <a:spcPct val="150000"/>
              </a:lnSpc>
              <a:buFont typeface="Courier New,monospace" panose="020B0604020202020204" pitchFamily="34" charset="0"/>
              <a:buChar char="o"/>
            </a:pPr>
            <a:r>
              <a:rPr lang="en-US" sz="1100" b="1"/>
              <a:t>Reindexing and Backup</a:t>
            </a:r>
            <a:r>
              <a:rPr lang="en-US" sz="1100"/>
              <a:t>: Regularly schedule reindexing of data and create backups of projects and system configuration to avoid data loss.</a:t>
            </a:r>
          </a:p>
          <a:p>
            <a:pPr lvl="1">
              <a:lnSpc>
                <a:spcPct val="150000"/>
              </a:lnSpc>
              <a:buFont typeface="Courier New,monospace" panose="020B0604020202020204" pitchFamily="34" charset="0"/>
              <a:buChar char="o"/>
            </a:pPr>
            <a:r>
              <a:rPr lang="en-US" sz="1100" b="1"/>
              <a:t>Performance Monitoring</a:t>
            </a:r>
            <a:r>
              <a:rPr lang="en-US" sz="1100"/>
              <a:t>: Continuously monitor system performance and make adjustments as needed for optimization.</a:t>
            </a:r>
          </a:p>
          <a:p>
            <a:pPr lvl="1">
              <a:lnSpc>
                <a:spcPct val="150000"/>
              </a:lnSpc>
              <a:buFont typeface="Courier New,monospace" panose="020B0604020202020204" pitchFamily="34" charset="0"/>
              <a:buChar char="o"/>
            </a:pPr>
            <a:endParaRPr lang="en-US" sz="130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0B94B2-BE2B-DF78-C4E2-FF57B0702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err="1">
                <a:latin typeface="Montserrat SemiBold"/>
              </a:rPr>
              <a:t>Polarion</a:t>
            </a:r>
            <a:r>
              <a:rPr lang="en-IN">
                <a:latin typeface="Montserrat SemiBold"/>
              </a:rPr>
              <a:t> Implementation – Detailed</a:t>
            </a: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326BED5-66DA-263E-44CA-1931CBEC471B}"/>
              </a:ext>
            </a:extLst>
          </p:cNvPr>
          <p:cNvSpPr/>
          <p:nvPr/>
        </p:nvSpPr>
        <p:spPr>
          <a:xfrm>
            <a:off x="8517698" y="254635"/>
            <a:ext cx="3169085" cy="8705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Skip for now</a:t>
            </a:r>
          </a:p>
        </p:txBody>
      </p:sp>
    </p:spTree>
    <p:extLst>
      <p:ext uri="{BB962C8B-B14F-4D97-AF65-F5344CB8AC3E}">
        <p14:creationId xmlns:p14="http://schemas.microsoft.com/office/powerpoint/2010/main" val="17710280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2D235B-0C54-5B27-E2E7-CAB50B061B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A335F45-010F-D422-43D9-68C69D35D9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7305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335F45-010F-D422-43D9-68C69D35D9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0" name="Group 69">
            <a:extLst>
              <a:ext uri="{FF2B5EF4-FFF2-40B4-BE49-F238E27FC236}">
                <a16:creationId xmlns:a16="http://schemas.microsoft.com/office/drawing/2014/main" id="{D54A0204-A85B-49DD-1A09-6AA8C75BDDA7}"/>
              </a:ext>
            </a:extLst>
          </p:cNvPr>
          <p:cNvGrpSpPr/>
          <p:nvPr/>
        </p:nvGrpSpPr>
        <p:grpSpPr>
          <a:xfrm>
            <a:off x="894757" y="3044390"/>
            <a:ext cx="4861117" cy="1193125"/>
            <a:chOff x="432435" y="1191057"/>
            <a:chExt cx="3834765" cy="927302"/>
          </a:xfrm>
          <a:effectLst/>
        </p:grpSpPr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C149FC52-D0B7-000D-238D-EA467BFF29E3}"/>
                </a:ext>
              </a:extLst>
            </p:cNvPr>
            <p:cNvGrpSpPr/>
            <p:nvPr/>
          </p:nvGrpSpPr>
          <p:grpSpPr>
            <a:xfrm>
              <a:off x="432435" y="1191057"/>
              <a:ext cx="477690" cy="927302"/>
              <a:chOff x="432435" y="1191057"/>
              <a:chExt cx="477690" cy="927302"/>
            </a:xfrm>
          </p:grpSpPr>
          <p:sp>
            <p:nvSpPr>
              <p:cNvPr id="74" name="Rectangle: Top Corners Rounded 73">
                <a:extLst>
                  <a:ext uri="{FF2B5EF4-FFF2-40B4-BE49-F238E27FC236}">
                    <a16:creationId xmlns:a16="http://schemas.microsoft.com/office/drawing/2014/main" id="{B456D2F6-CC37-C024-2EB6-949056936EB6}"/>
                  </a:ext>
                </a:extLst>
              </p:cNvPr>
              <p:cNvSpPr/>
              <p:nvPr/>
            </p:nvSpPr>
            <p:spPr>
              <a:xfrm rot="16200000">
                <a:off x="207629" y="1415863"/>
                <a:ext cx="927302" cy="477690"/>
              </a:xfrm>
              <a:prstGeom prst="round2SameRect">
                <a:avLst>
                  <a:gd name="adj1" fmla="val 8692"/>
                  <a:gd name="adj2" fmla="val 0"/>
                </a:avLst>
              </a:prstGeom>
              <a:solidFill>
                <a:srgbClr val="5C8EC0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/>
              <a:lstStyle/>
              <a:p>
                <a:pPr algn="ctr"/>
                <a:endParaRPr lang="en-US" sz="2400" b="1" dirty="0">
                  <a:latin typeface="Montserrat" panose="00000500000000000000" pitchFamily="50" charset="0"/>
                </a:endParaRPr>
              </a:p>
            </p:txBody>
          </p:sp>
          <p:sp>
            <p:nvSpPr>
              <p:cNvPr id="75" name="Inhaltsplatzhalter 4">
                <a:extLst>
                  <a:ext uri="{FF2B5EF4-FFF2-40B4-BE49-F238E27FC236}">
                    <a16:creationId xmlns:a16="http://schemas.microsoft.com/office/drawing/2014/main" id="{EF594AC0-4EF3-5DED-D131-F2221D7DB94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61181" y="1531622"/>
                <a:ext cx="420200" cy="246173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>
                <a:lvl1pPr marL="272967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Wingdings" panose="05000000000000000000" pitchFamily="2" charset="2"/>
                  <a:buChar char="§"/>
                  <a:defRPr sz="23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1pPr>
                <a:lvl2pPr marL="807798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20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2pPr>
                <a:lvl3pPr marL="1080764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9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3pPr>
                <a:lvl4pPr marL="1436256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4pPr>
                <a:lvl5pPr marL="1793335" indent="-179335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5pPr>
                <a:lvl6pPr marL="2513847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10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72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34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00000"/>
                  </a:lnSpc>
                  <a:spcAft>
                    <a:spcPts val="0"/>
                  </a:spcAft>
                  <a:buNone/>
                </a:pPr>
                <a:r>
                  <a:rPr lang="en-US" sz="2133" b="1" dirty="0">
                    <a:latin typeface="Montserrat" panose="00000500000000000000" pitchFamily="50" charset="0"/>
                  </a:rPr>
                  <a:t>02</a:t>
                </a:r>
                <a:endParaRPr lang="en-US" sz="1600" dirty="0">
                  <a:latin typeface="Montserrat" panose="00000500000000000000" pitchFamily="50" charset="0"/>
                </a:endParaRPr>
              </a:p>
            </p:txBody>
          </p:sp>
        </p:grp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7DEA3CDE-443A-778D-B714-B83D6FD4919B}"/>
                </a:ext>
              </a:extLst>
            </p:cNvPr>
            <p:cNvSpPr txBox="1"/>
            <p:nvPr/>
          </p:nvSpPr>
          <p:spPr>
            <a:xfrm>
              <a:off x="991809" y="1257140"/>
              <a:ext cx="3275391" cy="796952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sz="1400" b="1" dirty="0">
                  <a:solidFill>
                    <a:srgbClr val="5C8EC0"/>
                  </a:solidFill>
                  <a:latin typeface="Montserrat" panose="00000500000000000000" pitchFamily="50" charset="0"/>
                </a:rPr>
                <a:t>Data Migration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Importing existing data 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Mapping data from old to target system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Ensuring data integrity and quality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A04142E3-4441-C41F-792A-474AD7757F11}"/>
              </a:ext>
            </a:extLst>
          </p:cNvPr>
          <p:cNvGrpSpPr/>
          <p:nvPr/>
        </p:nvGrpSpPr>
        <p:grpSpPr>
          <a:xfrm>
            <a:off x="894757" y="1403972"/>
            <a:ext cx="4861117" cy="1364280"/>
            <a:chOff x="432435" y="1096892"/>
            <a:chExt cx="3834765" cy="1060327"/>
          </a:xfrm>
          <a:effectLst/>
        </p:grpSpPr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4F9C27C7-9655-0CE4-1CC4-FBA8AFC78646}"/>
                </a:ext>
              </a:extLst>
            </p:cNvPr>
            <p:cNvGrpSpPr/>
            <p:nvPr/>
          </p:nvGrpSpPr>
          <p:grpSpPr>
            <a:xfrm>
              <a:off x="432435" y="1191057"/>
              <a:ext cx="477690" cy="927302"/>
              <a:chOff x="432435" y="1191057"/>
              <a:chExt cx="477690" cy="927302"/>
            </a:xfrm>
          </p:grpSpPr>
          <p:sp>
            <p:nvSpPr>
              <p:cNvPr id="68" name="Rectangle: Top Corners Rounded 67">
                <a:extLst>
                  <a:ext uri="{FF2B5EF4-FFF2-40B4-BE49-F238E27FC236}">
                    <a16:creationId xmlns:a16="http://schemas.microsoft.com/office/drawing/2014/main" id="{5B86F158-BD27-3840-0DE6-EC91CC808933}"/>
                  </a:ext>
                </a:extLst>
              </p:cNvPr>
              <p:cNvSpPr/>
              <p:nvPr/>
            </p:nvSpPr>
            <p:spPr>
              <a:xfrm rot="16200000">
                <a:off x="207629" y="1415863"/>
                <a:ext cx="927302" cy="477690"/>
              </a:xfrm>
              <a:prstGeom prst="round2SameRect">
                <a:avLst>
                  <a:gd name="adj1" fmla="val 8692"/>
                  <a:gd name="adj2" fmla="val 0"/>
                </a:avLst>
              </a:prstGeom>
              <a:solidFill>
                <a:srgbClr val="00D0CB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/>
              <a:lstStyle/>
              <a:p>
                <a:pPr algn="ctr"/>
                <a:endParaRPr lang="en-US" sz="2400" b="1" dirty="0">
                  <a:latin typeface="Montserrat" panose="00000500000000000000" pitchFamily="50" charset="0"/>
                </a:endParaRPr>
              </a:p>
            </p:txBody>
          </p:sp>
          <p:sp>
            <p:nvSpPr>
              <p:cNvPr id="69" name="Inhaltsplatzhalter 4">
                <a:extLst>
                  <a:ext uri="{FF2B5EF4-FFF2-40B4-BE49-F238E27FC236}">
                    <a16:creationId xmlns:a16="http://schemas.microsoft.com/office/drawing/2014/main" id="{6AD37C15-664D-37C2-D355-E1252A1DE30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61181" y="1531622"/>
                <a:ext cx="420200" cy="246173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>
                <a:lvl1pPr marL="272967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Wingdings" panose="05000000000000000000" pitchFamily="2" charset="2"/>
                  <a:buChar char="§"/>
                  <a:defRPr sz="23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1pPr>
                <a:lvl2pPr marL="807798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20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2pPr>
                <a:lvl3pPr marL="1080764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9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3pPr>
                <a:lvl4pPr marL="1436256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4pPr>
                <a:lvl5pPr marL="1793335" indent="-179335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5pPr>
                <a:lvl6pPr marL="2513847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10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72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34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00000"/>
                  </a:lnSpc>
                  <a:spcAft>
                    <a:spcPts val="0"/>
                  </a:spcAft>
                  <a:buNone/>
                </a:pPr>
                <a:r>
                  <a:rPr lang="en-US" sz="2133" b="1" dirty="0">
                    <a:latin typeface="Montserrat" panose="00000500000000000000" pitchFamily="50" charset="0"/>
                  </a:rPr>
                  <a:t>01</a:t>
                </a:r>
                <a:endParaRPr lang="en-US" sz="1600" dirty="0">
                  <a:latin typeface="Montserrat" panose="00000500000000000000" pitchFamily="50" charset="0"/>
                </a:endParaRPr>
              </a:p>
            </p:txBody>
          </p:sp>
        </p:grp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3AFDF650-1167-5930-9AE5-6E80AA14EF21}"/>
                </a:ext>
              </a:extLst>
            </p:cNvPr>
            <p:cNvSpPr txBox="1"/>
            <p:nvPr/>
          </p:nvSpPr>
          <p:spPr>
            <a:xfrm>
              <a:off x="991809" y="1096892"/>
              <a:ext cx="3275391" cy="1060327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>
                <a:lnSpc>
                  <a:spcPct val="110000"/>
                </a:lnSpc>
              </a:pPr>
              <a:r>
                <a:rPr lang="en-US" sz="1400" b="1" dirty="0">
                  <a:solidFill>
                    <a:srgbClr val="00D0CB"/>
                  </a:solidFill>
                  <a:latin typeface="Montserrat" panose="00000500000000000000" pitchFamily="50" charset="0"/>
                </a:rPr>
                <a:t>Basic Configuration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Project management customer side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Permission and Access Management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Managing users and groups in </a:t>
              </a:r>
              <a:r>
                <a:rPr lang="en-US" sz="1400" dirty="0" err="1">
                  <a:solidFill>
                    <a:srgbClr val="063853"/>
                  </a:solidFill>
                  <a:latin typeface="Montserrat" panose="00000500000000000000" pitchFamily="50" charset="0"/>
                </a:rPr>
                <a:t>Polarion</a:t>
              </a:r>
              <a:endParaRPr lang="en-US" sz="1400" dirty="0">
                <a:solidFill>
                  <a:srgbClr val="063853"/>
                </a:solidFill>
                <a:latin typeface="Montserrat" panose="00000500000000000000" pitchFamily="50" charset="0"/>
              </a:endParaRPr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2974EC80-FE7C-D858-BB37-6D33D0B64FA1}"/>
              </a:ext>
            </a:extLst>
          </p:cNvPr>
          <p:cNvGrpSpPr/>
          <p:nvPr/>
        </p:nvGrpSpPr>
        <p:grpSpPr>
          <a:xfrm>
            <a:off x="6301151" y="3044388"/>
            <a:ext cx="4996093" cy="1193123"/>
            <a:chOff x="432435" y="1191057"/>
            <a:chExt cx="3941243" cy="927302"/>
          </a:xfrm>
          <a:effectLst/>
        </p:grpSpPr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F114F19F-9DB4-605E-11E6-2C7705A4EF52}"/>
                </a:ext>
              </a:extLst>
            </p:cNvPr>
            <p:cNvGrpSpPr/>
            <p:nvPr/>
          </p:nvGrpSpPr>
          <p:grpSpPr>
            <a:xfrm>
              <a:off x="432435" y="1191057"/>
              <a:ext cx="477690" cy="927302"/>
              <a:chOff x="432435" y="1191057"/>
              <a:chExt cx="477690" cy="927302"/>
            </a:xfrm>
          </p:grpSpPr>
          <p:sp>
            <p:nvSpPr>
              <p:cNvPr id="110" name="Rectangle: Top Corners Rounded 109">
                <a:extLst>
                  <a:ext uri="{FF2B5EF4-FFF2-40B4-BE49-F238E27FC236}">
                    <a16:creationId xmlns:a16="http://schemas.microsoft.com/office/drawing/2014/main" id="{0B9623F7-129D-9C0F-401B-85DC050D3C82}"/>
                  </a:ext>
                </a:extLst>
              </p:cNvPr>
              <p:cNvSpPr/>
              <p:nvPr/>
            </p:nvSpPr>
            <p:spPr>
              <a:xfrm rot="16200000">
                <a:off x="207629" y="1415863"/>
                <a:ext cx="927302" cy="477690"/>
              </a:xfrm>
              <a:prstGeom prst="round2SameRect">
                <a:avLst>
                  <a:gd name="adj1" fmla="val 8692"/>
                  <a:gd name="adj2" fmla="val 0"/>
                </a:avLst>
              </a:prstGeom>
              <a:solidFill>
                <a:srgbClr val="0E7FBE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/>
              <a:lstStyle/>
              <a:p>
                <a:pPr algn="ctr"/>
                <a:endParaRPr lang="en-US" sz="2400" b="1" dirty="0">
                  <a:latin typeface="Montserrat" panose="00000500000000000000" pitchFamily="50" charset="0"/>
                </a:endParaRPr>
              </a:p>
            </p:txBody>
          </p:sp>
          <p:sp>
            <p:nvSpPr>
              <p:cNvPr id="111" name="Inhaltsplatzhalter 4">
                <a:extLst>
                  <a:ext uri="{FF2B5EF4-FFF2-40B4-BE49-F238E27FC236}">
                    <a16:creationId xmlns:a16="http://schemas.microsoft.com/office/drawing/2014/main" id="{A77CD12E-EAC5-463A-2CEA-99FD4A542C2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61181" y="1527157"/>
                <a:ext cx="420200" cy="255103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>
                <a:lvl1pPr marL="272967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Wingdings" panose="05000000000000000000" pitchFamily="2" charset="2"/>
                  <a:buChar char="§"/>
                  <a:defRPr sz="23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1pPr>
                <a:lvl2pPr marL="807798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20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2pPr>
                <a:lvl3pPr marL="1080764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9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3pPr>
                <a:lvl4pPr marL="1436256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4pPr>
                <a:lvl5pPr marL="1793335" indent="-179335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5pPr>
                <a:lvl6pPr marL="2513847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10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72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34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00000"/>
                  </a:lnSpc>
                  <a:spcAft>
                    <a:spcPts val="0"/>
                  </a:spcAft>
                  <a:buNone/>
                </a:pPr>
                <a:r>
                  <a:rPr lang="en-US" sz="2133" b="1" dirty="0">
                    <a:latin typeface="Montserrat" panose="00000500000000000000" pitchFamily="50" charset="0"/>
                  </a:rPr>
                  <a:t>04</a:t>
                </a:r>
                <a:endParaRPr lang="en-US" sz="1600" dirty="0">
                  <a:latin typeface="Montserrat" panose="00000500000000000000" pitchFamily="50" charset="0"/>
                </a:endParaRPr>
              </a:p>
            </p:txBody>
          </p:sp>
        </p:grp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9F3F6880-D2E5-55B1-B729-60483272B457}"/>
                </a:ext>
              </a:extLst>
            </p:cNvPr>
            <p:cNvSpPr txBox="1"/>
            <p:nvPr/>
          </p:nvSpPr>
          <p:spPr>
            <a:xfrm>
              <a:off x="991809" y="1252268"/>
              <a:ext cx="3381869" cy="796954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sz="1400" b="1" dirty="0">
                  <a:solidFill>
                    <a:srgbClr val="0D73AB"/>
                  </a:solidFill>
                  <a:latin typeface="Montserrat" panose="00000500000000000000" pitchFamily="50" charset="0"/>
                </a:rPr>
                <a:t>System Maintenance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Regular updates and upgrades of </a:t>
              </a:r>
              <a:r>
                <a:rPr lang="en-US" sz="1400" dirty="0" err="1">
                  <a:solidFill>
                    <a:srgbClr val="063853"/>
                  </a:solidFill>
                  <a:latin typeface="Montserrat" panose="00000500000000000000" pitchFamily="50" charset="0"/>
                </a:rPr>
                <a:t>Polarion</a:t>
              </a:r>
              <a:endParaRPr lang="en-US" sz="1400" dirty="0">
                <a:solidFill>
                  <a:srgbClr val="063853"/>
                </a:solidFill>
                <a:latin typeface="Montserrat" panose="00000500000000000000" pitchFamily="50" charset="0"/>
              </a:endParaRP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Monitoring System performance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Addressing minor technical issues</a:t>
              </a:r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46192E2B-EC8C-EDEB-6285-B5A431464FE9}"/>
              </a:ext>
            </a:extLst>
          </p:cNvPr>
          <p:cNvGrpSpPr/>
          <p:nvPr/>
        </p:nvGrpSpPr>
        <p:grpSpPr>
          <a:xfrm>
            <a:off x="6301151" y="1485393"/>
            <a:ext cx="5072481" cy="1262397"/>
            <a:chOff x="432435" y="1160171"/>
            <a:chExt cx="4001503" cy="981142"/>
          </a:xfrm>
          <a:effectLst/>
        </p:grpSpPr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ADA53483-1210-E792-4400-BDA869B7B3D1}"/>
                </a:ext>
              </a:extLst>
            </p:cNvPr>
            <p:cNvGrpSpPr/>
            <p:nvPr/>
          </p:nvGrpSpPr>
          <p:grpSpPr>
            <a:xfrm>
              <a:off x="432435" y="1191057"/>
              <a:ext cx="477690" cy="927302"/>
              <a:chOff x="432435" y="1191057"/>
              <a:chExt cx="477690" cy="927302"/>
            </a:xfrm>
          </p:grpSpPr>
          <p:sp>
            <p:nvSpPr>
              <p:cNvPr id="116" name="Rectangle: Top Corners Rounded 115">
                <a:extLst>
                  <a:ext uri="{FF2B5EF4-FFF2-40B4-BE49-F238E27FC236}">
                    <a16:creationId xmlns:a16="http://schemas.microsoft.com/office/drawing/2014/main" id="{2264FDB0-9643-D5ED-DBA6-FF8220728BBE}"/>
                  </a:ext>
                </a:extLst>
              </p:cNvPr>
              <p:cNvSpPr/>
              <p:nvPr/>
            </p:nvSpPr>
            <p:spPr>
              <a:xfrm rot="16200000">
                <a:off x="207629" y="1415863"/>
                <a:ext cx="927302" cy="477690"/>
              </a:xfrm>
              <a:prstGeom prst="round2SameRect">
                <a:avLst>
                  <a:gd name="adj1" fmla="val 8692"/>
                  <a:gd name="adj2" fmla="val 0"/>
                </a:avLst>
              </a:prstGeom>
              <a:solidFill>
                <a:srgbClr val="084A6E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/>
              <a:lstStyle/>
              <a:p>
                <a:pPr algn="ctr"/>
                <a:endParaRPr lang="en-US" sz="2400" b="1" dirty="0">
                  <a:latin typeface="Montserrat" panose="00000500000000000000" pitchFamily="50" charset="0"/>
                </a:endParaRPr>
              </a:p>
            </p:txBody>
          </p:sp>
          <p:sp>
            <p:nvSpPr>
              <p:cNvPr id="117" name="Inhaltsplatzhalter 4">
                <a:extLst>
                  <a:ext uri="{FF2B5EF4-FFF2-40B4-BE49-F238E27FC236}">
                    <a16:creationId xmlns:a16="http://schemas.microsoft.com/office/drawing/2014/main" id="{9726FF8C-F89A-C1B8-E12A-822B48A4A76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61181" y="1527157"/>
                <a:ext cx="420200" cy="255103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>
                <a:lvl1pPr marL="272967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Wingdings" panose="05000000000000000000" pitchFamily="2" charset="2"/>
                  <a:buChar char="§"/>
                  <a:defRPr sz="23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1pPr>
                <a:lvl2pPr marL="807798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20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2pPr>
                <a:lvl3pPr marL="1080764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9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3pPr>
                <a:lvl4pPr marL="1436256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4pPr>
                <a:lvl5pPr marL="1793335" indent="-179335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5pPr>
                <a:lvl6pPr marL="2513847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10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72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34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00000"/>
                  </a:lnSpc>
                  <a:spcAft>
                    <a:spcPts val="0"/>
                  </a:spcAft>
                  <a:buNone/>
                </a:pPr>
                <a:r>
                  <a:rPr lang="en-US" sz="2133" b="1" dirty="0">
                    <a:latin typeface="Montserrat" panose="00000500000000000000" pitchFamily="50" charset="0"/>
                  </a:rPr>
                  <a:t>03</a:t>
                </a:r>
                <a:endParaRPr lang="en-US" sz="1600" dirty="0">
                  <a:latin typeface="Montserrat" panose="00000500000000000000" pitchFamily="50" charset="0"/>
                </a:endParaRPr>
              </a:p>
            </p:txBody>
          </p:sp>
        </p:grp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A5C6A995-791A-3BB7-A6EA-DB64EF85DBE0}"/>
                </a:ext>
              </a:extLst>
            </p:cNvPr>
            <p:cNvSpPr txBox="1"/>
            <p:nvPr/>
          </p:nvSpPr>
          <p:spPr>
            <a:xfrm>
              <a:off x="991808" y="1160171"/>
              <a:ext cx="3442130" cy="981142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sz="1400" b="1" dirty="0">
                  <a:solidFill>
                    <a:srgbClr val="084A6E"/>
                  </a:solidFill>
                  <a:latin typeface="Montserrat" panose="00000500000000000000" pitchFamily="50" charset="0"/>
                </a:rPr>
                <a:t>User Training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Provide training and Train the Trainer 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Hire and unblock trainers early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Refine internal processes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Produce user manuals and documentation</a:t>
              </a: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36F99657-90C5-5949-507A-7848C0250D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 dirty="0">
                <a:solidFill>
                  <a:srgbClr val="063853"/>
                </a:solidFill>
                <a:latin typeface="Montserrat SemiBold" panose="00000700000000000000" pitchFamily="2" charset="0"/>
                <a:ea typeface="Roboto" panose="02000000000000000000" pitchFamily="2" charset="0"/>
              </a:rPr>
              <a:t>Tasks for Internal IT Team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3BEFBEE-3F0A-CF44-0BD8-629735713092}"/>
              </a:ext>
            </a:extLst>
          </p:cNvPr>
          <p:cNvSpPr txBox="1"/>
          <p:nvPr/>
        </p:nvSpPr>
        <p:spPr>
          <a:xfrm>
            <a:off x="862729" y="5197776"/>
            <a:ext cx="10510903" cy="8765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800" dirty="0"/>
              <a:t>Typically handles basic configuration, data migration, user management, system maintenance, and training. They can address everyday needs and minor customization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726766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19735E2-6580-98BB-C25E-60D66C21CB7F}"/>
              </a:ext>
            </a:extLst>
          </p:cNvPr>
          <p:cNvSpPr txBox="1">
            <a:spLocks/>
          </p:cNvSpPr>
          <p:nvPr/>
        </p:nvSpPr>
        <p:spPr>
          <a:xfrm>
            <a:off x="2653444" y="2142096"/>
            <a:ext cx="6890334" cy="948770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2"/>
                </a:solidFill>
                <a:latin typeface="Montserrat SemiBold" panose="00000700000000000000" pitchFamily="2" charset="0"/>
                <a:ea typeface="+mj-ea"/>
                <a:cs typeface="+mj-cs"/>
              </a:defRPr>
            </a:lvl1pPr>
          </a:lstStyle>
          <a:p>
            <a:pPr lvl="2">
              <a:lnSpc>
                <a:spcPct val="90000"/>
              </a:lnSpc>
              <a:spcBef>
                <a:spcPts val="500"/>
              </a:spcBef>
            </a:pPr>
            <a:r>
              <a:rPr lang="en-US" sz="2800" b="1">
                <a:ea typeface="+mn-lt"/>
                <a:cs typeface="+mn-lt"/>
              </a:rPr>
              <a:t>What challenges will occur ?</a:t>
            </a:r>
            <a:endParaRPr lang="en-US" sz="2800" b="1">
              <a:latin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14617043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99C5AC0-2FC8-346E-5AC8-CD02AB050C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79597"/>
            <a:ext cx="10515600" cy="5833935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1300" b="1" dirty="0"/>
              <a:t>Server Requirements</a:t>
            </a:r>
            <a:r>
              <a:rPr lang="en-US" sz="1300" dirty="0"/>
              <a:t>:</a:t>
            </a:r>
            <a:endParaRPr lang="en-US" sz="1300" b="1" dirty="0"/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 b="1" dirty="0"/>
              <a:t>Operating System</a:t>
            </a:r>
            <a:r>
              <a:rPr lang="en-US" sz="1300" dirty="0"/>
              <a:t>: Choose between Linux (RHEL, Ubuntu) or Windows Server.</a:t>
            </a: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 b="1" dirty="0"/>
              <a:t>CPU</a:t>
            </a:r>
            <a:r>
              <a:rPr lang="en-US" sz="1300" dirty="0"/>
              <a:t>: For small to medium deployments (up to 50 users), use 4–8 CPU cores; for larger setups (50+ users), 8+ cores are recommended.</a:t>
            </a: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 b="1" dirty="0"/>
              <a:t>RAM</a:t>
            </a:r>
            <a:r>
              <a:rPr lang="en-US" sz="1300" dirty="0"/>
              <a:t>: Small to medium deployments need 16–32 GB of RAM, while larger ones require 64+ GB for optimal performance.</a:t>
            </a: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 b="1" dirty="0"/>
              <a:t>Disk Space</a:t>
            </a:r>
            <a:r>
              <a:rPr lang="en-US" sz="1300" dirty="0"/>
              <a:t>: Start with at least 100+ GB of SSD storage for fast access, especially for documents and attachments.</a:t>
            </a:r>
          </a:p>
          <a:p>
            <a:pPr>
              <a:lnSpc>
                <a:spcPct val="150000"/>
              </a:lnSpc>
            </a:pPr>
            <a:r>
              <a:rPr lang="en-US" sz="1300" b="1" dirty="0"/>
              <a:t>Database</a:t>
            </a:r>
            <a:r>
              <a:rPr lang="en-US" sz="1300" dirty="0"/>
              <a:t>: Use Microsoft SQL Server, Oracle, or PostgreSQL. The database should have enough CPU, RAM, and storage to handle your data load, especially in large environments.</a:t>
            </a:r>
            <a:endParaRPr lang="en-US" sz="1300" b="1" dirty="0"/>
          </a:p>
          <a:p>
            <a:pPr>
              <a:lnSpc>
                <a:spcPct val="150000"/>
              </a:lnSpc>
            </a:pPr>
            <a:r>
              <a:rPr lang="en-US" sz="1300" b="1" dirty="0"/>
              <a:t>Java</a:t>
            </a:r>
            <a:r>
              <a:rPr lang="en-US" sz="1300" dirty="0"/>
              <a:t>: </a:t>
            </a:r>
            <a:r>
              <a:rPr lang="en-US" sz="1300" dirty="0" err="1"/>
              <a:t>Polarion</a:t>
            </a:r>
            <a:r>
              <a:rPr lang="en-US" sz="1300" dirty="0"/>
              <a:t> requires Or</a:t>
            </a:r>
            <a:r>
              <a:rPr lang="en-US" sz="1300" dirty="0">
                <a:solidFill>
                  <a:schemeClr val="tx1"/>
                </a:solidFill>
              </a:rPr>
              <a:t>acle JDK or OpenJDK (typically version 11 or later) to run its Java-based environment.</a:t>
            </a:r>
          </a:p>
          <a:p>
            <a:pPr>
              <a:lnSpc>
                <a:spcPct val="150000"/>
              </a:lnSpc>
            </a:pPr>
            <a:r>
              <a:rPr lang="en-US" sz="1300" b="1" dirty="0">
                <a:solidFill>
                  <a:schemeClr val="tx1"/>
                </a:solidFill>
              </a:rPr>
              <a:t>Web Server</a:t>
            </a:r>
            <a:r>
              <a:rPr lang="en-US" sz="1300" dirty="0">
                <a:solidFill>
                  <a:schemeClr val="tx1"/>
                </a:solidFill>
              </a:rPr>
              <a:t>: </a:t>
            </a:r>
            <a:r>
              <a:rPr lang="en-US" sz="1300" dirty="0" err="1">
                <a:solidFill>
                  <a:schemeClr val="tx1"/>
                </a:solidFill>
              </a:rPr>
              <a:t>Polarion</a:t>
            </a:r>
            <a:r>
              <a:rPr lang="en-US" sz="1300" dirty="0">
                <a:solidFill>
                  <a:schemeClr val="tx1"/>
                </a:solidFill>
              </a:rPr>
              <a:t> uses Apache Tomcat (bundled with install</a:t>
            </a:r>
            <a:r>
              <a:rPr lang="en-US" sz="1300" dirty="0"/>
              <a:t>ation). You can add reverse proxies like NGINX or Apache HTTP for SSL, load balancing, and better security.</a:t>
            </a:r>
          </a:p>
          <a:p>
            <a:pPr>
              <a:lnSpc>
                <a:spcPct val="150000"/>
              </a:lnSpc>
            </a:pPr>
            <a:r>
              <a:rPr lang="en-US" sz="1300" b="1" dirty="0"/>
              <a:t>Storage and Backup</a:t>
            </a:r>
            <a:r>
              <a:rPr lang="en-US" sz="1300" dirty="0"/>
              <a:t>: Plan for dedicated storage for </a:t>
            </a:r>
            <a:r>
              <a:rPr lang="en-US" sz="1300" dirty="0" err="1"/>
              <a:t>Polarion’s</a:t>
            </a:r>
            <a:r>
              <a:rPr lang="en-US" sz="1300" dirty="0"/>
              <a:t> Subversion (SVN) repository. Ensure regular backups of both the repository and database for disaster recovery.</a:t>
            </a:r>
          </a:p>
          <a:p>
            <a:pPr>
              <a:lnSpc>
                <a:spcPct val="150000"/>
              </a:lnSpc>
            </a:pPr>
            <a:r>
              <a:rPr lang="en-US" sz="1300" b="1" dirty="0"/>
              <a:t>Network</a:t>
            </a:r>
            <a:r>
              <a:rPr lang="en-US" sz="1300" dirty="0"/>
              <a:t>: Ensure enough bandwidth and low latency for remote or distributed teams. Use HTTPS for secure data transmission and protect access with firewalls or VPNs.</a:t>
            </a:r>
          </a:p>
          <a:p>
            <a:pPr>
              <a:lnSpc>
                <a:spcPct val="150000"/>
              </a:lnSpc>
            </a:pPr>
            <a:endParaRPr lang="en-US" sz="1300" b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0B94B2-BE2B-DF78-C4E2-FF57B0702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err="1">
                <a:latin typeface="Montserrat SemiBold"/>
              </a:rPr>
              <a:t>Polarion</a:t>
            </a:r>
            <a:r>
              <a:rPr lang="en-US">
                <a:latin typeface="Montserrat SemiBold"/>
              </a:rPr>
              <a:t> Infrastructure</a:t>
            </a:r>
            <a:endParaRPr lang="en-IN">
              <a:solidFill>
                <a:srgbClr val="000000"/>
              </a:solidFill>
              <a:latin typeface="Montserrat SemiBold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5FF9408-AF23-3C4F-07AB-99D34D0FC964}"/>
              </a:ext>
            </a:extLst>
          </p:cNvPr>
          <p:cNvSpPr/>
          <p:nvPr/>
        </p:nvSpPr>
        <p:spPr>
          <a:xfrm>
            <a:off x="8517698" y="254635"/>
            <a:ext cx="3169085" cy="8705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Info grafics &amp; bundle / 8 bullets ggf.</a:t>
            </a:r>
          </a:p>
        </p:txBody>
      </p:sp>
    </p:spTree>
    <p:extLst>
      <p:ext uri="{BB962C8B-B14F-4D97-AF65-F5344CB8AC3E}">
        <p14:creationId xmlns:p14="http://schemas.microsoft.com/office/powerpoint/2010/main" val="356823566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99C5AC0-2FC8-346E-5AC8-CD02AB050C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79597"/>
            <a:ext cx="10515600" cy="5833935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50000"/>
              </a:lnSpc>
            </a:pPr>
            <a:endParaRPr lang="en-US" sz="1300"/>
          </a:p>
          <a:p>
            <a:pPr>
              <a:lnSpc>
                <a:spcPct val="150000"/>
              </a:lnSpc>
            </a:pPr>
            <a:r>
              <a:rPr lang="en-US" sz="1300" b="1"/>
              <a:t>High Availability (Optional)</a:t>
            </a:r>
            <a:r>
              <a:rPr lang="en-US" sz="1300"/>
              <a:t>: For large deployments, you can implement a high-availability setup with clustering and load balancing across multiple servers for better scalability and fault tolerance.</a:t>
            </a:r>
          </a:p>
          <a:p>
            <a:pPr>
              <a:lnSpc>
                <a:spcPct val="150000"/>
              </a:lnSpc>
            </a:pPr>
            <a:r>
              <a:rPr lang="en-US" sz="1300" b="1"/>
              <a:t>Cloud vs. On-Premise</a:t>
            </a:r>
            <a:r>
              <a:rPr lang="en-US" sz="1300"/>
              <a:t>:</a:t>
            </a: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 b="1"/>
              <a:t>Cloud</a:t>
            </a:r>
            <a:r>
              <a:rPr lang="en-US" sz="1300"/>
              <a:t> (AWS, Azure): Offers flexibility, scalability, and lower maintenance, with automated backups and easier scaling.</a:t>
            </a: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 b="1"/>
              <a:t>On-premise</a:t>
            </a:r>
            <a:r>
              <a:rPr lang="en-US" sz="1300"/>
              <a:t>: Offers more control over security and customization but requires dedicated IT resources to manage.</a:t>
            </a:r>
          </a:p>
          <a:p>
            <a:pPr>
              <a:lnSpc>
                <a:spcPct val="150000"/>
              </a:lnSpc>
            </a:pPr>
            <a:endParaRPr lang="en-US" sz="130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0B94B2-BE2B-DF78-C4E2-FF57B0702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err="1">
                <a:latin typeface="Montserrat SemiBold"/>
              </a:rPr>
              <a:t>Polarion</a:t>
            </a:r>
            <a:r>
              <a:rPr lang="en-US">
                <a:latin typeface="Montserrat SemiBold"/>
              </a:rPr>
              <a:t> Infrastructure</a:t>
            </a:r>
            <a:endParaRPr lang="en-IN">
              <a:solidFill>
                <a:srgbClr val="000000"/>
              </a:solidFill>
              <a:latin typeface="Montserrat SemiBold"/>
            </a:endParaRPr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BA9942DB-49F3-8930-979E-F1ABCA12E5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0827" y="3431875"/>
            <a:ext cx="11075276" cy="255614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0C071F1-6520-48FC-6FBB-D17A5C328CA4}"/>
              </a:ext>
            </a:extLst>
          </p:cNvPr>
          <p:cNvSpPr/>
          <p:nvPr/>
        </p:nvSpPr>
        <p:spPr>
          <a:xfrm>
            <a:off x="8893479" y="212284"/>
            <a:ext cx="3169085" cy="8705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Matrix in schön / Table</a:t>
            </a:r>
          </a:p>
        </p:txBody>
      </p:sp>
    </p:spTree>
    <p:extLst>
      <p:ext uri="{BB962C8B-B14F-4D97-AF65-F5344CB8AC3E}">
        <p14:creationId xmlns:p14="http://schemas.microsoft.com/office/powerpoint/2010/main" val="68828534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99C5AC0-2FC8-346E-5AC8-CD02AB050C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79597"/>
            <a:ext cx="10515600" cy="5833935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sz="1400" b="1"/>
              <a:t>Configuration in </a:t>
            </a:r>
            <a:r>
              <a:rPr lang="en-US" sz="1400" b="1" err="1"/>
              <a:t>Polarion</a:t>
            </a:r>
            <a:r>
              <a:rPr lang="en-US" sz="1400" b="1"/>
              <a:t> (No coding required)</a:t>
            </a:r>
          </a:p>
          <a:p>
            <a:pPr>
              <a:lnSpc>
                <a:spcPct val="150000"/>
              </a:lnSpc>
            </a:pPr>
            <a:r>
              <a:rPr lang="en-US" sz="1300" b="1"/>
              <a:t>Work Item Configuration</a:t>
            </a:r>
            <a:r>
              <a:rPr lang="en-US" sz="1300"/>
              <a:t>:</a:t>
            </a:r>
            <a:endParaRPr lang="en-US" sz="1300" b="1"/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 b="1"/>
              <a:t>Custom Fields</a:t>
            </a:r>
            <a:r>
              <a:rPr lang="en-US" sz="1300"/>
              <a:t>: Add custom fields to work items (e.g., requirements, tasks, defects) to capture specific information relevant to your business process.</a:t>
            </a: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 b="1"/>
              <a:t>Form Configuration</a:t>
            </a:r>
            <a:r>
              <a:rPr lang="en-US" sz="1300"/>
              <a:t>: Modify the layout and structure of work item forms, deciding which fields are mandatory, optional, or hidden based on user roles.</a:t>
            </a: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 b="1"/>
              <a:t>Workflows</a:t>
            </a:r>
            <a:r>
              <a:rPr lang="en-US" sz="1300"/>
              <a:t>: Define workflows for each work item type. This includes setting up statuses, transitions, approvals, and automated notifications (e.g., for review and approval processes).</a:t>
            </a: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 b="1"/>
              <a:t>Role-based Permissions</a:t>
            </a:r>
            <a:r>
              <a:rPr lang="en-US" sz="1300"/>
              <a:t>: Assign permissions to roles and users, specifying who can view, edit, create, or delete work items and documents.</a:t>
            </a:r>
          </a:p>
          <a:p>
            <a:pPr>
              <a:lnSpc>
                <a:spcPct val="150000"/>
              </a:lnSpc>
            </a:pPr>
            <a:r>
              <a:rPr lang="en-US" sz="1300" b="1"/>
              <a:t>Project and Template Setup</a:t>
            </a:r>
            <a:r>
              <a:rPr lang="en-US" sz="1300"/>
              <a:t>:</a:t>
            </a: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 b="1"/>
              <a:t>Project Templates</a:t>
            </a:r>
            <a:r>
              <a:rPr lang="en-US" sz="1300"/>
              <a:t>: Configure reusable project templates with predefined work item types, workflows, and document structures, streamlining project setup for similar use cases.</a:t>
            </a: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 b="1"/>
              <a:t>Project Roles and Permissions</a:t>
            </a:r>
            <a:r>
              <a:rPr lang="en-US" sz="1300"/>
              <a:t>: Set up user roles within projects, such as project managers, developers, and quality assurance, each with appropriate permissions.</a:t>
            </a:r>
          </a:p>
          <a:p>
            <a:pPr>
              <a:lnSpc>
                <a:spcPct val="150000"/>
              </a:lnSpc>
            </a:pPr>
            <a:endParaRPr lang="en-US" sz="1300"/>
          </a:p>
          <a:p>
            <a:pPr>
              <a:lnSpc>
                <a:spcPct val="150000"/>
              </a:lnSpc>
            </a:pPr>
            <a:endParaRPr lang="en-US" sz="1300" b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0B94B2-BE2B-DF78-C4E2-FF57B0702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err="1">
                <a:latin typeface="Montserrat SemiBold"/>
              </a:rPr>
              <a:t>Polarion</a:t>
            </a:r>
            <a:r>
              <a:rPr lang="en-US">
                <a:latin typeface="Montserrat SemiBold"/>
              </a:rPr>
              <a:t> Customization and Configuration</a:t>
            </a:r>
            <a:endParaRPr lang="en-IN">
              <a:solidFill>
                <a:srgbClr val="000000"/>
              </a:solidFill>
              <a:latin typeface="Montserrat SemiBold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41DB438-B1FA-4281-1461-F7B7507E613D}"/>
              </a:ext>
            </a:extLst>
          </p:cNvPr>
          <p:cNvSpPr/>
          <p:nvPr/>
        </p:nvSpPr>
        <p:spPr>
          <a:xfrm>
            <a:off x="9101172" y="-320130"/>
            <a:ext cx="3169085" cy="8705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Info grafics &amp; bundle / 8 bullets ggf.</a:t>
            </a:r>
          </a:p>
        </p:txBody>
      </p:sp>
    </p:spTree>
    <p:extLst>
      <p:ext uri="{BB962C8B-B14F-4D97-AF65-F5344CB8AC3E}">
        <p14:creationId xmlns:p14="http://schemas.microsoft.com/office/powerpoint/2010/main" val="372707652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99C5AC0-2FC8-346E-5AC8-CD02AB050C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79597"/>
            <a:ext cx="10515600" cy="5833935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pPr>
              <a:lnSpc>
                <a:spcPct val="150000"/>
              </a:lnSpc>
            </a:pPr>
            <a:r>
              <a:rPr lang="en-US" sz="1300" b="1"/>
              <a:t>Document Management</a:t>
            </a:r>
            <a:r>
              <a:rPr lang="en-US" sz="1300"/>
              <a:t>:</a:t>
            </a:r>
            <a:endParaRPr lang="en-US" sz="1300" b="1"/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 b="1"/>
              <a:t>Live Documents</a:t>
            </a:r>
            <a:r>
              <a:rPr lang="en-US" sz="1300"/>
              <a:t>: Organize and configure live documents (e.g., requirements, specifications) to manage content collaboratively with real-time tracking and version control.</a:t>
            </a: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 b="1"/>
              <a:t>Traceability</a:t>
            </a:r>
            <a:r>
              <a:rPr lang="en-US" sz="1300"/>
              <a:t>: Configure traceability views and matrices to track relationships between requirements, test cases, and defects for compliance and auditing purposes.</a:t>
            </a:r>
          </a:p>
          <a:p>
            <a:pPr>
              <a:lnSpc>
                <a:spcPct val="150000"/>
              </a:lnSpc>
            </a:pPr>
            <a:r>
              <a:rPr lang="en-US" sz="1300" b="1"/>
              <a:t>Reporting and Dashboards</a:t>
            </a:r>
            <a:r>
              <a:rPr lang="en-US" sz="1300"/>
              <a:t>:</a:t>
            </a:r>
            <a:endParaRPr lang="en-US" sz="1300" b="1"/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 b="1"/>
              <a:t>Predefined Reports</a:t>
            </a:r>
            <a:r>
              <a:rPr lang="en-US" sz="1300"/>
              <a:t>: Use built-in reports to visualize project data, progress, and KPIs. Reports can be scheduled for automatic generation.</a:t>
            </a: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 b="1"/>
              <a:t>Dashboards</a:t>
            </a:r>
            <a:r>
              <a:rPr lang="en-US" sz="1300"/>
              <a:t>: Configure project or user dashboards to show key metrics and data in real time, including charts, tables, and progress trackers.</a:t>
            </a:r>
          </a:p>
          <a:p>
            <a:pPr>
              <a:lnSpc>
                <a:spcPct val="150000"/>
              </a:lnSpc>
            </a:pPr>
            <a:r>
              <a:rPr lang="en-US" sz="1300" b="1"/>
              <a:t>Notifications and Alerts</a:t>
            </a:r>
            <a:r>
              <a:rPr lang="en-US" sz="1300"/>
              <a:t>:</a:t>
            </a:r>
            <a:endParaRPr lang="en-US" sz="1300" b="1"/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100"/>
              <a:t>Set up email notifications for events such as work item status changes, workflow transitions, and task assignments. Notifications can be configured based on user preferences or roles.</a:t>
            </a:r>
            <a:endParaRPr lang="en-US"/>
          </a:p>
          <a:p>
            <a:pPr>
              <a:lnSpc>
                <a:spcPct val="150000"/>
              </a:lnSpc>
            </a:pPr>
            <a:r>
              <a:rPr lang="en-US" sz="1300" b="1"/>
              <a:t>Integration Setup</a:t>
            </a:r>
            <a:r>
              <a:rPr lang="en-US" sz="1300"/>
              <a:t>:</a:t>
            </a:r>
            <a:endParaRPr lang="en-US"/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100"/>
              <a:t>Configure integrations with third-party tools (e.g., Jira, Git, Jenkins) using built-in connectors or APIs. This includes synchronizing work items, test results, and source code.</a:t>
            </a:r>
            <a:endParaRPr lang="en-US"/>
          </a:p>
          <a:p>
            <a:pPr>
              <a:lnSpc>
                <a:spcPct val="150000"/>
              </a:lnSpc>
            </a:pPr>
            <a:r>
              <a:rPr lang="en-US" sz="1300" b="1"/>
              <a:t>User and License Management</a:t>
            </a:r>
            <a:r>
              <a:rPr lang="en-US" sz="1300"/>
              <a:t>:</a:t>
            </a:r>
            <a:endParaRPr lang="en-US"/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100"/>
              <a:t>Manage users, roles, and licenses from the administration panel, ensuring proper access control and license allocation.</a:t>
            </a:r>
            <a:endParaRPr lang="en-US"/>
          </a:p>
          <a:p>
            <a:pPr>
              <a:lnSpc>
                <a:spcPct val="150000"/>
              </a:lnSpc>
            </a:pPr>
            <a:endParaRPr lang="en-US" sz="1300" b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0B94B2-BE2B-DF78-C4E2-FF57B0702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err="1">
                <a:latin typeface="Montserrat SemiBold"/>
              </a:rPr>
              <a:t>Polarion</a:t>
            </a:r>
            <a:r>
              <a:rPr lang="en-US">
                <a:latin typeface="Montserrat SemiBold"/>
              </a:rPr>
              <a:t> Customization and Configuration</a:t>
            </a:r>
            <a:endParaRPr lang="en-IN">
              <a:solidFill>
                <a:srgbClr val="000000"/>
              </a:solidFill>
              <a:latin typeface="Montserrat SemiBold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C493217-1400-D611-44D3-D0E29D62EF46}"/>
              </a:ext>
            </a:extLst>
          </p:cNvPr>
          <p:cNvSpPr/>
          <p:nvPr/>
        </p:nvSpPr>
        <p:spPr>
          <a:xfrm>
            <a:off x="8826456" y="-435280"/>
            <a:ext cx="3169085" cy="8705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Info grafics &amp; bundle / 8 bullets ggf.</a:t>
            </a:r>
          </a:p>
        </p:txBody>
      </p:sp>
    </p:spTree>
    <p:extLst>
      <p:ext uri="{BB962C8B-B14F-4D97-AF65-F5344CB8AC3E}">
        <p14:creationId xmlns:p14="http://schemas.microsoft.com/office/powerpoint/2010/main" val="175776147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99C5AC0-2FC8-346E-5AC8-CD02AB050C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79597"/>
            <a:ext cx="10515600" cy="5833935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sz="1400" b="1"/>
              <a:t>Customization in </a:t>
            </a:r>
            <a:r>
              <a:rPr lang="en-US" sz="1400" b="1" err="1"/>
              <a:t>Polarion</a:t>
            </a:r>
            <a:r>
              <a:rPr lang="en-US" sz="1400" b="1"/>
              <a:t> (Requires scripting or development)</a:t>
            </a:r>
            <a:endParaRPr lang="en-US" sz="1400"/>
          </a:p>
          <a:p>
            <a:pPr>
              <a:lnSpc>
                <a:spcPct val="150000"/>
              </a:lnSpc>
            </a:pPr>
            <a:r>
              <a:rPr lang="en-US" sz="1300" b="1"/>
              <a:t>Custom Widgets</a:t>
            </a:r>
            <a:r>
              <a:rPr lang="en-US" sz="1300"/>
              <a:t>:</a:t>
            </a:r>
            <a:endParaRPr lang="en-US" sz="1300" b="1"/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/>
              <a:t>Develop custom widgets to extend </a:t>
            </a:r>
            <a:r>
              <a:rPr lang="en-US" sz="1300" err="1"/>
              <a:t>Polarion’s</a:t>
            </a:r>
            <a:r>
              <a:rPr lang="en-US" sz="1300"/>
              <a:t> dashboards, enabling advanced data visualization or unique project views that are not available out of the box. These can be written using Velocity templates, JavaScript, and </a:t>
            </a:r>
            <a:r>
              <a:rPr lang="en-US" sz="1300" err="1"/>
              <a:t>Polarion’s</a:t>
            </a:r>
            <a:r>
              <a:rPr lang="en-US" sz="1300"/>
              <a:t> APIs.</a:t>
            </a:r>
          </a:p>
          <a:p>
            <a:pPr>
              <a:lnSpc>
                <a:spcPct val="150000"/>
              </a:lnSpc>
            </a:pPr>
            <a:r>
              <a:rPr lang="en-US" sz="1300" b="1"/>
              <a:t>Custom Reports</a:t>
            </a:r>
            <a:r>
              <a:rPr lang="en-US" sz="1300"/>
              <a:t>:</a:t>
            </a: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/>
              <a:t>Build custom reports using Velocity scripting and data queries to generate advanced or tailored reports based on specific project or business needs.</a:t>
            </a:r>
          </a:p>
          <a:p>
            <a:pPr>
              <a:lnSpc>
                <a:spcPct val="150000"/>
              </a:lnSpc>
            </a:pPr>
            <a:r>
              <a:rPr lang="en-US" sz="1300" b="1"/>
              <a:t>Scripting and Automation</a:t>
            </a:r>
            <a:r>
              <a:rPr lang="en-US" sz="1300"/>
              <a:t>:</a:t>
            </a: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 b="1"/>
              <a:t>Workflow Automation</a:t>
            </a:r>
            <a:r>
              <a:rPr lang="en-US" sz="1300"/>
              <a:t>: Use scripting (e.g., Velocity or JavaScript) to automate complex workflow logic, such as auto-assigning tasks, enforcing specific rules, or triggering actions based on work item events.</a:t>
            </a: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 b="1"/>
              <a:t>Document Generation</a:t>
            </a:r>
            <a:r>
              <a:rPr lang="en-US" sz="1300"/>
              <a:t>: Create automated document templates or custom report generators, such as exporting requirements, test results, or project summaries into PDF or Word formats.</a:t>
            </a:r>
          </a:p>
          <a:p>
            <a:pPr>
              <a:lnSpc>
                <a:spcPct val="150000"/>
              </a:lnSpc>
              <a:buFont typeface="Arial"/>
              <a:buChar char="•"/>
            </a:pPr>
            <a:r>
              <a:rPr lang="en-US" sz="1300" b="1"/>
              <a:t>Custom Extensions</a:t>
            </a:r>
            <a:r>
              <a:rPr lang="en-US" sz="1300"/>
              <a:t>:</a:t>
            </a:r>
          </a:p>
          <a:p>
            <a:pPr lvl="1">
              <a:lnSpc>
                <a:spcPct val="150000"/>
              </a:lnSpc>
              <a:buFont typeface="Courier New"/>
              <a:buChar char="o"/>
            </a:pPr>
            <a:r>
              <a:rPr lang="en-US" sz="1300"/>
              <a:t>Develop </a:t>
            </a:r>
            <a:r>
              <a:rPr lang="en-US" sz="1300" err="1"/>
              <a:t>Polarion</a:t>
            </a:r>
            <a:r>
              <a:rPr lang="en-US" sz="1300"/>
              <a:t> extensions using the SDK to add entirely new features or integrate with external systems. This could include new UI components, data connectors, or custom integrations.</a:t>
            </a:r>
          </a:p>
          <a:p>
            <a:pPr>
              <a:lnSpc>
                <a:spcPct val="150000"/>
              </a:lnSpc>
            </a:pPr>
            <a:endParaRPr lang="en-US" sz="1300" b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0B94B2-BE2B-DF78-C4E2-FF57B0702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err="1">
                <a:latin typeface="Montserrat SemiBold"/>
              </a:rPr>
              <a:t>Polarion</a:t>
            </a:r>
            <a:r>
              <a:rPr lang="en-US">
                <a:latin typeface="Montserrat SemiBold"/>
              </a:rPr>
              <a:t> Customization and Configuration</a:t>
            </a:r>
            <a:endParaRPr lang="en-IN">
              <a:solidFill>
                <a:srgbClr val="000000"/>
              </a:solidFill>
              <a:latin typeface="Montserrat SemiBold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B4C630B-FB5E-8BBD-8454-28EEF7431566}"/>
              </a:ext>
            </a:extLst>
          </p:cNvPr>
          <p:cNvSpPr/>
          <p:nvPr/>
        </p:nvSpPr>
        <p:spPr>
          <a:xfrm>
            <a:off x="8517698" y="254635"/>
            <a:ext cx="3169085" cy="8705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Info grafics &amp; bundle / 8 bullets ggf.</a:t>
            </a:r>
          </a:p>
        </p:txBody>
      </p:sp>
    </p:spTree>
    <p:extLst>
      <p:ext uri="{BB962C8B-B14F-4D97-AF65-F5344CB8AC3E}">
        <p14:creationId xmlns:p14="http://schemas.microsoft.com/office/powerpoint/2010/main" val="183287028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99C5AC0-2FC8-346E-5AC8-CD02AB050C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79597"/>
            <a:ext cx="10515600" cy="5833935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50000"/>
              </a:lnSpc>
              <a:buFont typeface="Arial,Sans-Serif"/>
              <a:buChar char="•"/>
            </a:pPr>
            <a:r>
              <a:rPr lang="en-US" sz="1300" b="1"/>
              <a:t>API Integrations</a:t>
            </a:r>
            <a:r>
              <a:rPr lang="en-US" sz="1300"/>
              <a:t>:</a:t>
            </a:r>
          </a:p>
          <a:p>
            <a:pPr marL="971550" lvl="1" indent="-285750">
              <a:lnSpc>
                <a:spcPct val="150000"/>
              </a:lnSpc>
              <a:buFont typeface="Courier New,monospace"/>
              <a:buChar char="o"/>
            </a:pPr>
            <a:r>
              <a:rPr lang="en-US" sz="1300"/>
              <a:t>Leverage </a:t>
            </a:r>
            <a:r>
              <a:rPr lang="en-US" sz="1300" err="1"/>
              <a:t>Polarion’s</a:t>
            </a:r>
            <a:r>
              <a:rPr lang="en-US" sz="1300"/>
              <a:t> REST APIs to build custom integrations with other tools in your development and lifecycle environment. For example, you can automate data flow between </a:t>
            </a:r>
            <a:r>
              <a:rPr lang="en-US" sz="1300" err="1"/>
              <a:t>Polarion</a:t>
            </a:r>
            <a:r>
              <a:rPr lang="en-US" sz="1300"/>
              <a:t> and tools like Jira, Git, or Jenkins.</a:t>
            </a:r>
          </a:p>
          <a:p>
            <a:pPr>
              <a:lnSpc>
                <a:spcPct val="150000"/>
              </a:lnSpc>
              <a:buFont typeface="Arial"/>
              <a:buChar char="•"/>
            </a:pPr>
            <a:r>
              <a:rPr lang="en-US" sz="1300" b="1"/>
              <a:t>Branding</a:t>
            </a:r>
            <a:r>
              <a:rPr lang="en-US" sz="1300"/>
              <a:t>:</a:t>
            </a:r>
          </a:p>
          <a:p>
            <a:pPr lvl="1">
              <a:lnSpc>
                <a:spcPct val="150000"/>
              </a:lnSpc>
              <a:buFont typeface="Courier New"/>
              <a:buChar char="o"/>
            </a:pPr>
            <a:r>
              <a:rPr lang="en-US" sz="1300"/>
              <a:t>Customize </a:t>
            </a:r>
            <a:r>
              <a:rPr lang="en-US" sz="1300" err="1"/>
              <a:t>Polarion’s</a:t>
            </a:r>
            <a:r>
              <a:rPr lang="en-US" sz="1300"/>
              <a:t> UI to reflect your company’s branding, such as adding logos, changing color schemes, and modifying visual elements of the interface.</a:t>
            </a:r>
          </a:p>
          <a:p>
            <a:pPr>
              <a:lnSpc>
                <a:spcPct val="150000"/>
              </a:lnSpc>
              <a:buFont typeface="Arial"/>
              <a:buChar char="•"/>
            </a:pPr>
            <a:r>
              <a:rPr lang="en-US" sz="1300" b="1"/>
              <a:t>Advanced Permission Models</a:t>
            </a:r>
            <a:r>
              <a:rPr lang="en-US" sz="1300"/>
              <a:t>:</a:t>
            </a:r>
          </a:p>
          <a:p>
            <a:pPr lvl="1">
              <a:lnSpc>
                <a:spcPct val="150000"/>
              </a:lnSpc>
              <a:buFont typeface="Courier New"/>
              <a:buChar char="o"/>
            </a:pPr>
            <a:r>
              <a:rPr lang="en-US" sz="1300"/>
              <a:t>Implement custom permission models that go beyond basic role-based access control, scripting specific rules for data visibility and editing based on project conditions, user types, or work item states.</a:t>
            </a:r>
          </a:p>
          <a:p>
            <a:pPr>
              <a:lnSpc>
                <a:spcPct val="150000"/>
              </a:lnSpc>
              <a:buFont typeface="Arial"/>
              <a:buChar char="•"/>
            </a:pPr>
            <a:r>
              <a:rPr lang="en-US" sz="1300" b="1"/>
              <a:t>Custom Data Validation</a:t>
            </a:r>
            <a:r>
              <a:rPr lang="en-US" sz="1300"/>
              <a:t>:</a:t>
            </a:r>
          </a:p>
          <a:p>
            <a:pPr lvl="1">
              <a:lnSpc>
                <a:spcPct val="150000"/>
              </a:lnSpc>
              <a:buFont typeface="Courier New"/>
              <a:buChar char="o"/>
            </a:pPr>
            <a:r>
              <a:rPr lang="en-US" sz="1300"/>
              <a:t>Write scripts to enforce advanced validation rules on work item fields or documents. For example, you can create custom validators that prevent a work item from being moved to the next workflow state until certain criteria are met.</a:t>
            </a:r>
          </a:p>
          <a:p>
            <a:pPr marL="0" indent="0">
              <a:lnSpc>
                <a:spcPct val="150000"/>
              </a:lnSpc>
              <a:buNone/>
            </a:pPr>
            <a:endParaRPr lang="en-US" sz="1300" b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0B94B2-BE2B-DF78-C4E2-FF57B0702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err="1">
                <a:latin typeface="Montserrat SemiBold"/>
              </a:rPr>
              <a:t>Polarion</a:t>
            </a:r>
            <a:r>
              <a:rPr lang="en-US">
                <a:latin typeface="Montserrat SemiBold"/>
              </a:rPr>
              <a:t> Customization and Configuration</a:t>
            </a:r>
            <a:endParaRPr lang="en-IN">
              <a:solidFill>
                <a:srgbClr val="000000"/>
              </a:solidFill>
              <a:latin typeface="Montserrat SemiBold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80CE177-F4AB-AB78-4AA2-31C6677A2FA7}"/>
              </a:ext>
            </a:extLst>
          </p:cNvPr>
          <p:cNvSpPr/>
          <p:nvPr/>
        </p:nvSpPr>
        <p:spPr>
          <a:xfrm>
            <a:off x="8517698" y="254635"/>
            <a:ext cx="3169085" cy="8705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Info grafics &amp; bundle / 8 bullets ggf.</a:t>
            </a:r>
          </a:p>
        </p:txBody>
      </p:sp>
    </p:spTree>
    <p:extLst>
      <p:ext uri="{BB962C8B-B14F-4D97-AF65-F5344CB8AC3E}">
        <p14:creationId xmlns:p14="http://schemas.microsoft.com/office/powerpoint/2010/main" val="176850834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99C5AC0-2FC8-346E-5AC8-CD02AB050C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79597"/>
            <a:ext cx="10515600" cy="5833935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50000"/>
              </a:lnSpc>
              <a:buFont typeface="Arial"/>
              <a:buChar char="•"/>
            </a:pPr>
            <a:r>
              <a:rPr lang="en-US" sz="1300" b="1" err="1"/>
              <a:t>Polarion</a:t>
            </a:r>
            <a:r>
              <a:rPr lang="en-US" sz="1300" b="1"/>
              <a:t> &lt;-&gt; JIRA</a:t>
            </a:r>
            <a:endParaRPr lang="en-US" sz="1300"/>
          </a:p>
          <a:p>
            <a:pPr lvl="1">
              <a:lnSpc>
                <a:spcPct val="150000"/>
              </a:lnSpc>
              <a:buFont typeface="Courier New"/>
              <a:buChar char="o"/>
            </a:pPr>
            <a:r>
              <a:rPr lang="en-US" sz="1300" b="1"/>
              <a:t>Effectiveness</a:t>
            </a:r>
            <a:r>
              <a:rPr lang="en-US" sz="1300"/>
              <a:t>: Works well for syncing requirements and tasks.</a:t>
            </a:r>
          </a:p>
          <a:p>
            <a:pPr lvl="1">
              <a:lnSpc>
                <a:spcPct val="150000"/>
              </a:lnSpc>
              <a:buFont typeface="Courier New"/>
              <a:buChar char="o"/>
            </a:pPr>
            <a:r>
              <a:rPr lang="en-US" sz="1300" b="1"/>
              <a:t>Additional Efforts Required</a:t>
            </a:r>
            <a:r>
              <a:rPr lang="en-US" sz="1300"/>
              <a:t>: Customization for field mapping and specific workflows may be needed.</a:t>
            </a:r>
          </a:p>
          <a:p>
            <a:pPr lvl="1">
              <a:lnSpc>
                <a:spcPct val="150000"/>
              </a:lnSpc>
              <a:buFont typeface="Courier New"/>
              <a:buChar char="o"/>
            </a:pPr>
            <a:r>
              <a:rPr lang="en-US" sz="1300" b="1"/>
              <a:t>Challenges</a:t>
            </a:r>
            <a:r>
              <a:rPr lang="en-US" sz="1300"/>
              <a:t>: Minor sync delays can occur.</a:t>
            </a:r>
          </a:p>
          <a:p>
            <a:pPr marL="457200" lvl="1" indent="0">
              <a:lnSpc>
                <a:spcPct val="150000"/>
              </a:lnSpc>
              <a:buNone/>
            </a:pPr>
            <a:endParaRPr lang="en-US" sz="1300"/>
          </a:p>
          <a:p>
            <a:pPr>
              <a:lnSpc>
                <a:spcPct val="150000"/>
              </a:lnSpc>
              <a:buFont typeface="Arial"/>
              <a:buChar char="•"/>
            </a:pPr>
            <a:r>
              <a:rPr lang="en-US" sz="1300" b="1" err="1"/>
              <a:t>Polarion</a:t>
            </a:r>
            <a:r>
              <a:rPr lang="en-US" sz="1300" b="1"/>
              <a:t> &lt;-&gt; Teamcenter</a:t>
            </a:r>
            <a:endParaRPr lang="en-US" sz="1300"/>
          </a:p>
          <a:p>
            <a:pPr lvl="1">
              <a:lnSpc>
                <a:spcPct val="150000"/>
              </a:lnSpc>
              <a:buFont typeface="Courier New"/>
              <a:buChar char="o"/>
            </a:pPr>
            <a:r>
              <a:rPr lang="en-US" sz="1300" b="1"/>
              <a:t>Effectiveness</a:t>
            </a:r>
            <a:r>
              <a:rPr lang="en-US" sz="1300"/>
              <a:t>: Requires additional effort for effective integration.</a:t>
            </a:r>
          </a:p>
          <a:p>
            <a:pPr lvl="1">
              <a:lnSpc>
                <a:spcPct val="150000"/>
              </a:lnSpc>
              <a:buFont typeface="Courier New"/>
              <a:buChar char="o"/>
            </a:pPr>
            <a:r>
              <a:rPr lang="en-US" sz="1300" b="1"/>
              <a:t>Additional Efforts Required</a:t>
            </a:r>
            <a:r>
              <a:rPr lang="en-US" sz="1300"/>
              <a:t>: Custom development needed for data synchronization.</a:t>
            </a:r>
          </a:p>
          <a:p>
            <a:pPr lvl="1">
              <a:lnSpc>
                <a:spcPct val="150000"/>
              </a:lnSpc>
              <a:buFont typeface="Courier New"/>
              <a:buChar char="o"/>
            </a:pPr>
            <a:r>
              <a:rPr lang="en-US" sz="1300" b="1"/>
              <a:t>Challenges</a:t>
            </a:r>
            <a:r>
              <a:rPr lang="en-US" sz="1300"/>
              <a:t>: Complex data mapping and version control issues.</a:t>
            </a:r>
          </a:p>
          <a:p>
            <a:pPr marL="457200" lvl="1" indent="0">
              <a:lnSpc>
                <a:spcPct val="150000"/>
              </a:lnSpc>
              <a:buNone/>
            </a:pPr>
            <a:endParaRPr lang="en-US" sz="1300"/>
          </a:p>
          <a:p>
            <a:pPr>
              <a:lnSpc>
                <a:spcPct val="150000"/>
              </a:lnSpc>
              <a:buFont typeface="Arial"/>
              <a:buChar char="•"/>
            </a:pPr>
            <a:r>
              <a:rPr lang="en-US" sz="1300" b="1" err="1"/>
              <a:t>Polarion</a:t>
            </a:r>
            <a:r>
              <a:rPr lang="en-US" sz="1300" b="1"/>
              <a:t> &lt;-&gt; CATIA</a:t>
            </a:r>
            <a:endParaRPr lang="en-US" sz="1300"/>
          </a:p>
          <a:p>
            <a:pPr lvl="1">
              <a:lnSpc>
                <a:spcPct val="150000"/>
              </a:lnSpc>
              <a:buFont typeface="Courier New"/>
              <a:buChar char="o"/>
            </a:pPr>
            <a:r>
              <a:rPr lang="en-US" sz="1300" b="1"/>
              <a:t>Effectiveness</a:t>
            </a:r>
            <a:r>
              <a:rPr lang="en-US" sz="1300"/>
              <a:t>: Generally effective for design traceability.</a:t>
            </a:r>
          </a:p>
          <a:p>
            <a:pPr lvl="1">
              <a:lnSpc>
                <a:spcPct val="150000"/>
              </a:lnSpc>
              <a:buFont typeface="Courier New"/>
              <a:buChar char="o"/>
            </a:pPr>
            <a:r>
              <a:rPr lang="en-US" sz="1300" b="1"/>
              <a:t>Additional Efforts Required</a:t>
            </a:r>
            <a:r>
              <a:rPr lang="en-US" sz="1300"/>
              <a:t>: Custom scripts may be necessary for automation.</a:t>
            </a:r>
          </a:p>
          <a:p>
            <a:pPr lvl="1">
              <a:lnSpc>
                <a:spcPct val="150000"/>
              </a:lnSpc>
              <a:buFont typeface="Courier New"/>
              <a:buChar char="o"/>
            </a:pPr>
            <a:r>
              <a:rPr lang="en-US" sz="1300" b="1"/>
              <a:t>Challenges</a:t>
            </a:r>
            <a:r>
              <a:rPr lang="en-US" sz="1300"/>
              <a:t>: Initial setup complexity.</a:t>
            </a:r>
          </a:p>
          <a:p>
            <a:pPr>
              <a:lnSpc>
                <a:spcPct val="150000"/>
              </a:lnSpc>
              <a:buFont typeface="Arial,Sans-Serif"/>
              <a:buChar char="•"/>
            </a:pPr>
            <a:endParaRPr lang="en-US" sz="130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0B94B2-BE2B-DF78-C4E2-FF57B0702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err="1">
                <a:latin typeface="Montserrat SemiBold"/>
              </a:rPr>
              <a:t>Polarion</a:t>
            </a:r>
            <a:r>
              <a:rPr lang="en-US">
                <a:latin typeface="Montserrat SemiBold"/>
              </a:rPr>
              <a:t> Integration With Other Application</a:t>
            </a:r>
            <a:endParaRPr lang="en-IN">
              <a:solidFill>
                <a:srgbClr val="000000"/>
              </a:solidFill>
              <a:latin typeface="Montserrat SemiBold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B182079-2901-42BB-9911-8BCFFD923651}"/>
              </a:ext>
            </a:extLst>
          </p:cNvPr>
          <p:cNvSpPr/>
          <p:nvPr/>
        </p:nvSpPr>
        <p:spPr>
          <a:xfrm>
            <a:off x="8826456" y="-548469"/>
            <a:ext cx="3169085" cy="8705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matrix</a:t>
            </a:r>
          </a:p>
        </p:txBody>
      </p:sp>
    </p:spTree>
    <p:extLst>
      <p:ext uri="{BB962C8B-B14F-4D97-AF65-F5344CB8AC3E}">
        <p14:creationId xmlns:p14="http://schemas.microsoft.com/office/powerpoint/2010/main" val="386443268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99C5AC0-2FC8-346E-5AC8-CD02AB050C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79597"/>
            <a:ext cx="10515600" cy="5833935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50000"/>
              </a:lnSpc>
              <a:buFont typeface="Arial"/>
              <a:buChar char="•"/>
            </a:pPr>
            <a:r>
              <a:rPr lang="en-US" sz="1300" b="1" err="1"/>
              <a:t>Polarion</a:t>
            </a:r>
            <a:r>
              <a:rPr lang="en-US" sz="1300" b="1"/>
              <a:t> &lt;-&gt; Windchill</a:t>
            </a:r>
            <a:endParaRPr lang="en-US" sz="1300"/>
          </a:p>
          <a:p>
            <a:pPr lvl="1">
              <a:lnSpc>
                <a:spcPct val="150000"/>
              </a:lnSpc>
              <a:buFont typeface="Courier New"/>
              <a:buChar char="o"/>
            </a:pPr>
            <a:r>
              <a:rPr lang="en-US" sz="1300" b="1"/>
              <a:t>Effectiveness</a:t>
            </a:r>
            <a:r>
              <a:rPr lang="en-US" sz="1300"/>
              <a:t>: Works well for managing requirements and documentation.</a:t>
            </a:r>
          </a:p>
          <a:p>
            <a:pPr lvl="1">
              <a:lnSpc>
                <a:spcPct val="150000"/>
              </a:lnSpc>
              <a:buFont typeface="Courier New"/>
              <a:buChar char="o"/>
            </a:pPr>
            <a:r>
              <a:rPr lang="en-US" sz="1300" b="1"/>
              <a:t>Additional Efforts Required</a:t>
            </a:r>
            <a:r>
              <a:rPr lang="en-US" sz="1300"/>
              <a:t>: Customization needed for syncing documents and requirements.</a:t>
            </a:r>
          </a:p>
          <a:p>
            <a:pPr lvl="1">
              <a:lnSpc>
                <a:spcPct val="150000"/>
              </a:lnSpc>
              <a:buFont typeface="Courier New"/>
              <a:buChar char="o"/>
            </a:pPr>
            <a:r>
              <a:rPr lang="en-US" sz="1300" b="1"/>
              <a:t>Challenges</a:t>
            </a:r>
            <a:r>
              <a:rPr lang="en-US" sz="1300"/>
              <a:t>: Change management complexities.</a:t>
            </a:r>
          </a:p>
          <a:p>
            <a:pPr>
              <a:lnSpc>
                <a:spcPct val="150000"/>
              </a:lnSpc>
              <a:buFont typeface="Arial"/>
              <a:buChar char="•"/>
            </a:pPr>
            <a:r>
              <a:rPr lang="en-US" sz="1300" b="1" err="1"/>
              <a:t>Polarion</a:t>
            </a:r>
            <a:r>
              <a:rPr lang="en-US" sz="1300" b="1"/>
              <a:t> &lt;-&gt; ERP Systems (e.g., SAP)</a:t>
            </a:r>
          </a:p>
          <a:p>
            <a:pPr lvl="1">
              <a:lnSpc>
                <a:spcPct val="150000"/>
              </a:lnSpc>
              <a:buFont typeface="Courier New"/>
              <a:buChar char="o"/>
            </a:pPr>
            <a:r>
              <a:rPr lang="en-US" sz="1300" b="1"/>
              <a:t>Effectiveness</a:t>
            </a:r>
            <a:r>
              <a:rPr lang="en-US" sz="1300"/>
              <a:t>: Requires significant effort due to integration complexity.</a:t>
            </a:r>
          </a:p>
          <a:p>
            <a:pPr lvl="1">
              <a:lnSpc>
                <a:spcPct val="150000"/>
              </a:lnSpc>
              <a:buFont typeface="Courier New"/>
              <a:buChar char="o"/>
            </a:pPr>
            <a:r>
              <a:rPr lang="en-US" sz="1300" b="1"/>
              <a:t>Additional Efforts Required</a:t>
            </a:r>
            <a:r>
              <a:rPr lang="en-US" sz="1300"/>
              <a:t>: Extensive customization and middleware solutions needed.</a:t>
            </a:r>
          </a:p>
          <a:p>
            <a:pPr lvl="1">
              <a:lnSpc>
                <a:spcPct val="150000"/>
              </a:lnSpc>
              <a:buFont typeface="Courier New"/>
              <a:buChar char="o"/>
            </a:pPr>
            <a:r>
              <a:rPr lang="en-US" sz="1300" b="1"/>
              <a:t>Challenges</a:t>
            </a:r>
            <a:r>
              <a:rPr lang="en-US" sz="1300"/>
              <a:t>: Complex integration due to differing data structures.</a:t>
            </a:r>
          </a:p>
          <a:p>
            <a:pPr>
              <a:lnSpc>
                <a:spcPct val="150000"/>
              </a:lnSpc>
              <a:buFont typeface="Arial,Sans-Serif"/>
              <a:buChar char="•"/>
            </a:pPr>
            <a:r>
              <a:rPr lang="en-US" sz="1300" b="1" err="1">
                <a:latin typeface="Montserrat"/>
              </a:rPr>
              <a:t>Polarion</a:t>
            </a:r>
            <a:r>
              <a:rPr lang="en-US" sz="1300" b="1">
                <a:latin typeface="Montserrat"/>
              </a:rPr>
              <a:t> &lt;-&gt; </a:t>
            </a:r>
            <a:r>
              <a:rPr lang="en-US" sz="1300" b="1"/>
              <a:t>MATLAB</a:t>
            </a:r>
            <a:endParaRPr lang="en-US" sz="1300" b="1">
              <a:latin typeface="Montserrat"/>
            </a:endParaRPr>
          </a:p>
          <a:p>
            <a:pPr lvl="1">
              <a:lnSpc>
                <a:spcPct val="150000"/>
              </a:lnSpc>
              <a:buFont typeface="Courier New,monospace"/>
              <a:buChar char="o"/>
            </a:pPr>
            <a:r>
              <a:rPr lang="en-US" sz="1300" b="1">
                <a:latin typeface="Montserrat"/>
              </a:rPr>
              <a:t>Effectiveness</a:t>
            </a:r>
            <a:r>
              <a:rPr lang="en-US" sz="1300">
                <a:latin typeface="Montserrat"/>
              </a:rPr>
              <a:t>: </a:t>
            </a:r>
            <a:r>
              <a:rPr lang="en-US" sz="1300"/>
              <a:t>Enhances traceability and collaboration while streamlining workflows.</a:t>
            </a:r>
          </a:p>
          <a:p>
            <a:pPr lvl="1">
              <a:lnSpc>
                <a:spcPct val="150000"/>
              </a:lnSpc>
              <a:buFont typeface="Courier New,monospace"/>
              <a:buChar char="o"/>
            </a:pPr>
            <a:r>
              <a:rPr lang="en-US" sz="1300" b="1">
                <a:latin typeface="Montserrat"/>
              </a:rPr>
              <a:t>Additional Efforts Required</a:t>
            </a:r>
            <a:r>
              <a:rPr lang="en-US" sz="1300">
                <a:latin typeface="Montserrat"/>
              </a:rPr>
              <a:t>: </a:t>
            </a:r>
            <a:r>
              <a:rPr lang="en-US" sz="1300"/>
              <a:t>Requires API development, maintenance, and user training.</a:t>
            </a:r>
          </a:p>
          <a:p>
            <a:pPr lvl="1">
              <a:lnSpc>
                <a:spcPct val="150000"/>
              </a:lnSpc>
              <a:buFont typeface="Courier New,monospace"/>
              <a:buChar char="o"/>
            </a:pPr>
            <a:r>
              <a:rPr lang="en-US" sz="1300" b="1">
                <a:latin typeface="Montserrat"/>
              </a:rPr>
              <a:t>Challenges</a:t>
            </a:r>
            <a:r>
              <a:rPr lang="en-US" sz="1300">
                <a:latin typeface="Montserrat"/>
              </a:rPr>
              <a:t>: I</a:t>
            </a:r>
            <a:r>
              <a:rPr lang="en-US" sz="1300"/>
              <a:t>nvolves compatibility issues, data security concerns, and ongoing maintenance.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0B94B2-BE2B-DF78-C4E2-FF57B0702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err="1">
                <a:latin typeface="Montserrat SemiBold"/>
              </a:rPr>
              <a:t>Polarion</a:t>
            </a:r>
            <a:r>
              <a:rPr lang="en-US">
                <a:latin typeface="Montserrat SemiBold"/>
              </a:rPr>
              <a:t> Integration With Other Application</a:t>
            </a:r>
            <a:endParaRPr lang="en-IN">
              <a:solidFill>
                <a:srgbClr val="000000"/>
              </a:solidFill>
              <a:latin typeface="Montserrat SemiBold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09C658-B479-425C-1A18-1D3AAC4D446B}"/>
              </a:ext>
            </a:extLst>
          </p:cNvPr>
          <p:cNvSpPr/>
          <p:nvPr/>
        </p:nvSpPr>
        <p:spPr>
          <a:xfrm>
            <a:off x="8826456" y="293741"/>
            <a:ext cx="3169085" cy="8705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matrix</a:t>
            </a:r>
          </a:p>
        </p:txBody>
      </p:sp>
    </p:spTree>
    <p:extLst>
      <p:ext uri="{BB962C8B-B14F-4D97-AF65-F5344CB8AC3E}">
        <p14:creationId xmlns:p14="http://schemas.microsoft.com/office/powerpoint/2010/main" val="197261793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34FC08A6-E48D-8D11-7898-51A8854DD7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E12B269-3EA0-3233-27C5-297817F555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79597"/>
            <a:ext cx="10515600" cy="5833935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sz="1300" b="1"/>
              <a:t>Overall Summary Table -</a:t>
            </a:r>
          </a:p>
          <a:p>
            <a:pPr marL="0" indent="0">
              <a:lnSpc>
                <a:spcPct val="150000"/>
              </a:lnSpc>
              <a:buNone/>
            </a:pPr>
            <a:endParaRPr lang="en-US" sz="1300" b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A0C7885-D757-43CD-EA8A-D97B3326E4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err="1">
                <a:latin typeface="Montserrat SemiBold"/>
              </a:rPr>
              <a:t>Polarion</a:t>
            </a:r>
            <a:r>
              <a:rPr lang="en-US">
                <a:latin typeface="Montserrat SemiBold"/>
              </a:rPr>
              <a:t> Integration With Other Application</a:t>
            </a:r>
            <a:endParaRPr lang="en-IN">
              <a:solidFill>
                <a:srgbClr val="000000"/>
              </a:solidFill>
              <a:latin typeface="Montserrat SemiBold"/>
            </a:endParaRPr>
          </a:p>
        </p:txBody>
      </p:sp>
      <p:pic>
        <p:nvPicPr>
          <p:cNvPr id="4" name="Picture 3" descr="A table with text on it&#10;&#10;Description automatically generated">
            <a:extLst>
              <a:ext uri="{FF2B5EF4-FFF2-40B4-BE49-F238E27FC236}">
                <a16:creationId xmlns:a16="http://schemas.microsoft.com/office/drawing/2014/main" id="{B5BD0CB6-6001-FEA0-FF6C-953DEB8915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6218" y="1517755"/>
            <a:ext cx="9589697" cy="4588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2937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5E976F-4CAA-B27A-89C5-6104035F30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1DA1BC0-9F8C-EA75-7159-F4D7310FC9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4881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DA1BC0-9F8C-EA75-7159-F4D7310FC9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6" name="Group 75">
            <a:extLst>
              <a:ext uri="{FF2B5EF4-FFF2-40B4-BE49-F238E27FC236}">
                <a16:creationId xmlns:a16="http://schemas.microsoft.com/office/drawing/2014/main" id="{24C0F6AB-6B32-160E-EBBB-5D4E93FBF4E0}"/>
              </a:ext>
            </a:extLst>
          </p:cNvPr>
          <p:cNvGrpSpPr/>
          <p:nvPr/>
        </p:nvGrpSpPr>
        <p:grpSpPr>
          <a:xfrm>
            <a:off x="894757" y="4563646"/>
            <a:ext cx="4861117" cy="1193123"/>
            <a:chOff x="432435" y="1191057"/>
            <a:chExt cx="3834765" cy="927302"/>
          </a:xfrm>
          <a:effectLst/>
        </p:grpSpPr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1D407C40-90BA-8749-E955-CF02B241E534}"/>
                </a:ext>
              </a:extLst>
            </p:cNvPr>
            <p:cNvGrpSpPr/>
            <p:nvPr/>
          </p:nvGrpSpPr>
          <p:grpSpPr>
            <a:xfrm>
              <a:off x="432435" y="1191057"/>
              <a:ext cx="477690" cy="927302"/>
              <a:chOff x="432435" y="1191057"/>
              <a:chExt cx="477690" cy="927302"/>
            </a:xfrm>
          </p:grpSpPr>
          <p:sp>
            <p:nvSpPr>
              <p:cNvPr id="80" name="Rectangle: Top Corners Rounded 79">
                <a:extLst>
                  <a:ext uri="{FF2B5EF4-FFF2-40B4-BE49-F238E27FC236}">
                    <a16:creationId xmlns:a16="http://schemas.microsoft.com/office/drawing/2014/main" id="{50E88279-5DC0-C83A-D3BF-C4D318816FF0}"/>
                  </a:ext>
                </a:extLst>
              </p:cNvPr>
              <p:cNvSpPr/>
              <p:nvPr/>
            </p:nvSpPr>
            <p:spPr>
              <a:xfrm rot="16200000">
                <a:off x="207629" y="1415863"/>
                <a:ext cx="927302" cy="477690"/>
              </a:xfrm>
              <a:prstGeom prst="round2SameRect">
                <a:avLst>
                  <a:gd name="adj1" fmla="val 8692"/>
                  <a:gd name="adj2" fmla="val 0"/>
                </a:avLst>
              </a:prstGeom>
              <a:solidFill>
                <a:srgbClr val="686C86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/>
              <a:lstStyle/>
              <a:p>
                <a:pPr algn="ctr"/>
                <a:endParaRPr lang="en-US" sz="2400" b="1" dirty="0">
                  <a:latin typeface="Montserrat" panose="00000500000000000000" pitchFamily="50" charset="0"/>
                </a:endParaRPr>
              </a:p>
            </p:txBody>
          </p:sp>
          <p:sp>
            <p:nvSpPr>
              <p:cNvPr id="81" name="Inhaltsplatzhalter 4">
                <a:extLst>
                  <a:ext uri="{FF2B5EF4-FFF2-40B4-BE49-F238E27FC236}">
                    <a16:creationId xmlns:a16="http://schemas.microsoft.com/office/drawing/2014/main" id="{BE84F71B-9478-9DD7-9F95-0D5D9EC9213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61181" y="1531622"/>
                <a:ext cx="420200" cy="246173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>
                <a:lvl1pPr marL="272967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Wingdings" panose="05000000000000000000" pitchFamily="2" charset="2"/>
                  <a:buChar char="§"/>
                  <a:defRPr sz="23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1pPr>
                <a:lvl2pPr marL="807798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20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2pPr>
                <a:lvl3pPr marL="1080764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9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3pPr>
                <a:lvl4pPr marL="1436256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4pPr>
                <a:lvl5pPr marL="1793335" indent="-179335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5pPr>
                <a:lvl6pPr marL="2513847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10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72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34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00000"/>
                  </a:lnSpc>
                  <a:spcAft>
                    <a:spcPts val="0"/>
                  </a:spcAft>
                  <a:buNone/>
                </a:pPr>
                <a:r>
                  <a:rPr lang="en-US" sz="2133" b="1" dirty="0">
                    <a:latin typeface="Montserrat" panose="00000500000000000000" pitchFamily="50" charset="0"/>
                  </a:rPr>
                  <a:t>03</a:t>
                </a:r>
                <a:endParaRPr lang="en-US" sz="1600" dirty="0">
                  <a:latin typeface="Montserrat" panose="00000500000000000000" pitchFamily="50" charset="0"/>
                </a:endParaRPr>
              </a:p>
            </p:txBody>
          </p:sp>
        </p:grp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0B61C25D-9A85-770F-737F-240F9B3F7F4D}"/>
                </a:ext>
              </a:extLst>
            </p:cNvPr>
            <p:cNvSpPr txBox="1"/>
            <p:nvPr/>
          </p:nvSpPr>
          <p:spPr>
            <a:xfrm>
              <a:off x="991809" y="1266871"/>
              <a:ext cx="3275391" cy="796954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sz="1400" b="1" dirty="0">
                  <a:solidFill>
                    <a:srgbClr val="686C86"/>
                  </a:solidFill>
                  <a:latin typeface="Montserrat" panose="00000500000000000000" pitchFamily="50" charset="0"/>
                </a:rPr>
                <a:t>Upgrading </a:t>
              </a:r>
              <a:r>
                <a:rPr lang="en-US" sz="1400" b="1" dirty="0" err="1">
                  <a:solidFill>
                    <a:srgbClr val="686C86"/>
                  </a:solidFill>
                  <a:latin typeface="Montserrat" panose="00000500000000000000" pitchFamily="50" charset="0"/>
                </a:rPr>
                <a:t>Polarion</a:t>
              </a:r>
              <a:endParaRPr lang="en-US" sz="1400" b="1" dirty="0">
                <a:solidFill>
                  <a:srgbClr val="686C86"/>
                </a:solidFill>
                <a:latin typeface="Montserrat" panose="00000500000000000000" pitchFamily="50" charset="0"/>
              </a:endParaRP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Upgrade, test and validate </a:t>
              </a:r>
              <a:r>
                <a:rPr lang="en-US" sz="1400" dirty="0" err="1">
                  <a:solidFill>
                    <a:srgbClr val="063853"/>
                  </a:solidFill>
                  <a:latin typeface="Montserrat" panose="00000500000000000000" pitchFamily="50" charset="0"/>
                </a:rPr>
                <a:t>Polarion</a:t>
              </a:r>
              <a:endParaRPr lang="en-US" sz="1400" dirty="0">
                <a:solidFill>
                  <a:srgbClr val="063853"/>
                </a:solidFill>
                <a:latin typeface="Montserrat" panose="00000500000000000000" pitchFamily="50" charset="0"/>
              </a:endParaRP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Resolve compatibility issues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Update custom configs and integrations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3C24E275-925F-9A4F-608C-27EB06387D5C}"/>
              </a:ext>
            </a:extLst>
          </p:cNvPr>
          <p:cNvGrpSpPr/>
          <p:nvPr/>
        </p:nvGrpSpPr>
        <p:grpSpPr>
          <a:xfrm>
            <a:off x="894757" y="3010923"/>
            <a:ext cx="4861117" cy="1262398"/>
            <a:chOff x="432435" y="1165046"/>
            <a:chExt cx="3834765" cy="981141"/>
          </a:xfrm>
          <a:effectLst/>
        </p:grpSpPr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2C67A6FC-3044-C600-0FE9-D3B42F786AD6}"/>
                </a:ext>
              </a:extLst>
            </p:cNvPr>
            <p:cNvGrpSpPr/>
            <p:nvPr/>
          </p:nvGrpSpPr>
          <p:grpSpPr>
            <a:xfrm>
              <a:off x="432435" y="1191057"/>
              <a:ext cx="477690" cy="927302"/>
              <a:chOff x="432435" y="1191057"/>
              <a:chExt cx="477690" cy="927302"/>
            </a:xfrm>
          </p:grpSpPr>
          <p:sp>
            <p:nvSpPr>
              <p:cNvPr id="74" name="Rectangle: Top Corners Rounded 73">
                <a:extLst>
                  <a:ext uri="{FF2B5EF4-FFF2-40B4-BE49-F238E27FC236}">
                    <a16:creationId xmlns:a16="http://schemas.microsoft.com/office/drawing/2014/main" id="{121F535B-77F7-E450-D41C-B451D9629B11}"/>
                  </a:ext>
                </a:extLst>
              </p:cNvPr>
              <p:cNvSpPr/>
              <p:nvPr/>
            </p:nvSpPr>
            <p:spPr>
              <a:xfrm rot="16200000">
                <a:off x="207629" y="1415863"/>
                <a:ext cx="927302" cy="477690"/>
              </a:xfrm>
              <a:prstGeom prst="round2SameRect">
                <a:avLst>
                  <a:gd name="adj1" fmla="val 8692"/>
                  <a:gd name="adj2" fmla="val 0"/>
                </a:avLst>
              </a:prstGeom>
              <a:solidFill>
                <a:srgbClr val="5C8EC0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/>
              <a:lstStyle/>
              <a:p>
                <a:pPr algn="ctr"/>
                <a:endParaRPr lang="en-US" sz="2400" b="1" dirty="0">
                  <a:latin typeface="Montserrat" panose="00000500000000000000" pitchFamily="50" charset="0"/>
                </a:endParaRPr>
              </a:p>
            </p:txBody>
          </p:sp>
          <p:sp>
            <p:nvSpPr>
              <p:cNvPr id="75" name="Inhaltsplatzhalter 4">
                <a:extLst>
                  <a:ext uri="{FF2B5EF4-FFF2-40B4-BE49-F238E27FC236}">
                    <a16:creationId xmlns:a16="http://schemas.microsoft.com/office/drawing/2014/main" id="{BF90853E-5532-8626-B3A1-15501EDDF35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61181" y="1531622"/>
                <a:ext cx="420200" cy="246173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>
                <a:lvl1pPr marL="272967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Wingdings" panose="05000000000000000000" pitchFamily="2" charset="2"/>
                  <a:buChar char="§"/>
                  <a:defRPr sz="23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1pPr>
                <a:lvl2pPr marL="807798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20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2pPr>
                <a:lvl3pPr marL="1080764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9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3pPr>
                <a:lvl4pPr marL="1436256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4pPr>
                <a:lvl5pPr marL="1793335" indent="-179335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5pPr>
                <a:lvl6pPr marL="2513847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10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72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34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00000"/>
                  </a:lnSpc>
                  <a:spcAft>
                    <a:spcPts val="0"/>
                  </a:spcAft>
                  <a:buNone/>
                </a:pPr>
                <a:r>
                  <a:rPr lang="en-US" sz="2133" b="1" dirty="0">
                    <a:latin typeface="Montserrat" panose="00000500000000000000" pitchFamily="50" charset="0"/>
                  </a:rPr>
                  <a:t>02</a:t>
                </a:r>
                <a:endParaRPr lang="en-US" sz="1600" dirty="0">
                  <a:latin typeface="Montserrat" panose="00000500000000000000" pitchFamily="50" charset="0"/>
                </a:endParaRPr>
              </a:p>
            </p:txBody>
          </p:sp>
        </p:grp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E326F0AD-07A8-5C82-E9C3-C71503D8B55F}"/>
                </a:ext>
              </a:extLst>
            </p:cNvPr>
            <p:cNvSpPr txBox="1"/>
            <p:nvPr/>
          </p:nvSpPr>
          <p:spPr>
            <a:xfrm>
              <a:off x="991809" y="1165046"/>
              <a:ext cx="3275391" cy="981141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sz="1400" b="1" dirty="0">
                  <a:solidFill>
                    <a:srgbClr val="5C8EC0"/>
                  </a:solidFill>
                  <a:latin typeface="Montserrat" panose="00000500000000000000" pitchFamily="50" charset="0"/>
                </a:rPr>
                <a:t>Performance </a:t>
              </a:r>
              <a:r>
                <a:rPr lang="en-US" sz="1400" b="1" dirty="0" err="1">
                  <a:solidFill>
                    <a:srgbClr val="5C8EC0"/>
                  </a:solidFill>
                  <a:latin typeface="Montserrat" panose="00000500000000000000" pitchFamily="50" charset="0"/>
                </a:rPr>
                <a:t>Optimisation</a:t>
              </a:r>
              <a:endParaRPr lang="en-US" sz="1400" b="1" dirty="0">
                <a:solidFill>
                  <a:srgbClr val="5C8EC0"/>
                </a:solidFill>
                <a:latin typeface="Montserrat" panose="00000500000000000000" pitchFamily="50" charset="0"/>
              </a:endParaRP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System analysis and optimization for large-scale deployments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Advanced configurations 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rgbClr val="063853"/>
                  </a:solidFill>
                  <a:latin typeface="Montserrat" panose="00000500000000000000" pitchFamily="50" charset="0"/>
                </a:rPr>
                <a:t>Optimisation</a:t>
              </a: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 for performance and UX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B3C463E9-F77F-3E02-C4A5-5794B01612AB}"/>
              </a:ext>
            </a:extLst>
          </p:cNvPr>
          <p:cNvGrpSpPr/>
          <p:nvPr/>
        </p:nvGrpSpPr>
        <p:grpSpPr>
          <a:xfrm>
            <a:off x="894757" y="1403972"/>
            <a:ext cx="4861117" cy="1364280"/>
            <a:chOff x="432435" y="1096892"/>
            <a:chExt cx="3834765" cy="1060327"/>
          </a:xfrm>
          <a:effectLst/>
        </p:grpSpPr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B63EFCC-5717-85EE-30AE-25F3BC9C4DD3}"/>
                </a:ext>
              </a:extLst>
            </p:cNvPr>
            <p:cNvGrpSpPr/>
            <p:nvPr/>
          </p:nvGrpSpPr>
          <p:grpSpPr>
            <a:xfrm>
              <a:off x="432435" y="1191057"/>
              <a:ext cx="477690" cy="927302"/>
              <a:chOff x="432435" y="1191057"/>
              <a:chExt cx="477690" cy="927302"/>
            </a:xfrm>
          </p:grpSpPr>
          <p:sp>
            <p:nvSpPr>
              <p:cNvPr id="68" name="Rectangle: Top Corners Rounded 67">
                <a:extLst>
                  <a:ext uri="{FF2B5EF4-FFF2-40B4-BE49-F238E27FC236}">
                    <a16:creationId xmlns:a16="http://schemas.microsoft.com/office/drawing/2014/main" id="{F78CF593-2D8D-2961-C664-D95A451F30DF}"/>
                  </a:ext>
                </a:extLst>
              </p:cNvPr>
              <p:cNvSpPr/>
              <p:nvPr/>
            </p:nvSpPr>
            <p:spPr>
              <a:xfrm rot="16200000">
                <a:off x="207629" y="1415863"/>
                <a:ext cx="927302" cy="477690"/>
              </a:xfrm>
              <a:prstGeom prst="round2SameRect">
                <a:avLst>
                  <a:gd name="adj1" fmla="val 8692"/>
                  <a:gd name="adj2" fmla="val 0"/>
                </a:avLst>
              </a:prstGeom>
              <a:solidFill>
                <a:srgbClr val="00D0CB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/>
              <a:lstStyle/>
              <a:p>
                <a:pPr algn="ctr"/>
                <a:endParaRPr lang="en-US" sz="2400" b="1" dirty="0">
                  <a:latin typeface="Montserrat" panose="00000500000000000000" pitchFamily="50" charset="0"/>
                </a:endParaRPr>
              </a:p>
            </p:txBody>
          </p:sp>
          <p:sp>
            <p:nvSpPr>
              <p:cNvPr id="69" name="Inhaltsplatzhalter 4">
                <a:extLst>
                  <a:ext uri="{FF2B5EF4-FFF2-40B4-BE49-F238E27FC236}">
                    <a16:creationId xmlns:a16="http://schemas.microsoft.com/office/drawing/2014/main" id="{6842BDC0-2CAB-E7EC-29BF-C8F3A290D65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61181" y="1531622"/>
                <a:ext cx="420200" cy="246173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>
                <a:lvl1pPr marL="272967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Wingdings" panose="05000000000000000000" pitchFamily="2" charset="2"/>
                  <a:buChar char="§"/>
                  <a:defRPr sz="23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1pPr>
                <a:lvl2pPr marL="807798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20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2pPr>
                <a:lvl3pPr marL="1080764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9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3pPr>
                <a:lvl4pPr marL="1436256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4pPr>
                <a:lvl5pPr marL="1793335" indent="-179335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5pPr>
                <a:lvl6pPr marL="2513847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10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72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34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00000"/>
                  </a:lnSpc>
                  <a:spcAft>
                    <a:spcPts val="0"/>
                  </a:spcAft>
                  <a:buNone/>
                </a:pPr>
                <a:r>
                  <a:rPr lang="en-US" sz="2133" b="1" dirty="0">
                    <a:latin typeface="Montserrat" panose="00000500000000000000" pitchFamily="50" charset="0"/>
                  </a:rPr>
                  <a:t>01</a:t>
                </a:r>
                <a:endParaRPr lang="en-US" sz="1600" dirty="0">
                  <a:latin typeface="Montserrat" panose="00000500000000000000" pitchFamily="50" charset="0"/>
                </a:endParaRPr>
              </a:p>
            </p:txBody>
          </p:sp>
        </p:grp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91D664E3-7200-C902-A12B-F42110B67925}"/>
                </a:ext>
              </a:extLst>
            </p:cNvPr>
            <p:cNvSpPr txBox="1"/>
            <p:nvPr/>
          </p:nvSpPr>
          <p:spPr>
            <a:xfrm>
              <a:off x="991809" y="1096892"/>
              <a:ext cx="3275391" cy="1060327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>
                <a:lnSpc>
                  <a:spcPct val="110000"/>
                </a:lnSpc>
              </a:pPr>
              <a:r>
                <a:rPr lang="en-US" sz="1400" b="1" dirty="0">
                  <a:solidFill>
                    <a:srgbClr val="00D0CB"/>
                  </a:solidFill>
                  <a:latin typeface="Montserrat" panose="00000500000000000000" pitchFamily="50" charset="0"/>
                </a:rPr>
                <a:t>Advanced </a:t>
              </a:r>
              <a:r>
                <a:rPr lang="en-US" sz="1400" b="1" dirty="0" err="1">
                  <a:solidFill>
                    <a:srgbClr val="00D0CB"/>
                  </a:solidFill>
                  <a:latin typeface="Montserrat" panose="00000500000000000000" pitchFamily="50" charset="0"/>
                </a:rPr>
                <a:t>Customisation</a:t>
              </a:r>
              <a:endParaRPr lang="en-US" sz="1400" b="1" dirty="0">
                <a:solidFill>
                  <a:srgbClr val="00D0CB"/>
                </a:solidFill>
                <a:latin typeface="Montserrat" panose="00000500000000000000" pitchFamily="50" charset="0"/>
              </a:endParaRP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Developing custom plugins or widgets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Implementing advances scripts using Velocity or Java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endParaRPr lang="en-US" sz="1400" dirty="0">
                <a:solidFill>
                  <a:srgbClr val="063853"/>
                </a:solidFill>
                <a:latin typeface="Montserrat" panose="00000500000000000000" pitchFamily="50" charset="0"/>
              </a:endParaRP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88807B41-F027-A6E2-FBB0-D0A171249419}"/>
              </a:ext>
            </a:extLst>
          </p:cNvPr>
          <p:cNvGrpSpPr/>
          <p:nvPr/>
        </p:nvGrpSpPr>
        <p:grpSpPr>
          <a:xfrm>
            <a:off x="6301151" y="4563645"/>
            <a:ext cx="5410685" cy="1193123"/>
            <a:chOff x="432435" y="1191057"/>
            <a:chExt cx="4268300" cy="927302"/>
          </a:xfrm>
          <a:effectLst/>
        </p:grpSpPr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09ECE6AE-6520-E8F1-E9B0-120237E210B6}"/>
                </a:ext>
              </a:extLst>
            </p:cNvPr>
            <p:cNvGrpSpPr/>
            <p:nvPr/>
          </p:nvGrpSpPr>
          <p:grpSpPr>
            <a:xfrm>
              <a:off x="432435" y="1191057"/>
              <a:ext cx="477690" cy="927302"/>
              <a:chOff x="432435" y="1191057"/>
              <a:chExt cx="477690" cy="927302"/>
            </a:xfrm>
          </p:grpSpPr>
          <p:sp>
            <p:nvSpPr>
              <p:cNvPr id="104" name="Rectangle: Top Corners Rounded 103">
                <a:extLst>
                  <a:ext uri="{FF2B5EF4-FFF2-40B4-BE49-F238E27FC236}">
                    <a16:creationId xmlns:a16="http://schemas.microsoft.com/office/drawing/2014/main" id="{8B6D1240-D213-D756-28F3-EC9A2ABC5757}"/>
                  </a:ext>
                </a:extLst>
              </p:cNvPr>
              <p:cNvSpPr/>
              <p:nvPr/>
            </p:nvSpPr>
            <p:spPr>
              <a:xfrm rot="16200000">
                <a:off x="207629" y="1415863"/>
                <a:ext cx="927302" cy="477690"/>
              </a:xfrm>
              <a:prstGeom prst="round2SameRect">
                <a:avLst>
                  <a:gd name="adj1" fmla="val 8692"/>
                  <a:gd name="adj2" fmla="val 0"/>
                </a:avLst>
              </a:prstGeom>
              <a:solidFill>
                <a:srgbClr val="345E88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/>
              <a:lstStyle/>
              <a:p>
                <a:pPr algn="ctr"/>
                <a:endParaRPr lang="en-US" sz="2400" b="1" dirty="0">
                  <a:latin typeface="Montserrat" panose="00000500000000000000" pitchFamily="50" charset="0"/>
                </a:endParaRPr>
              </a:p>
            </p:txBody>
          </p:sp>
          <p:sp>
            <p:nvSpPr>
              <p:cNvPr id="105" name="Inhaltsplatzhalter 4">
                <a:extLst>
                  <a:ext uri="{FF2B5EF4-FFF2-40B4-BE49-F238E27FC236}">
                    <a16:creationId xmlns:a16="http://schemas.microsoft.com/office/drawing/2014/main" id="{73834B8E-81EB-5806-25E5-30F760D0789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61181" y="1531622"/>
                <a:ext cx="420200" cy="246173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>
                <a:lvl1pPr marL="272967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Wingdings" panose="05000000000000000000" pitchFamily="2" charset="2"/>
                  <a:buChar char="§"/>
                  <a:defRPr sz="23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1pPr>
                <a:lvl2pPr marL="807798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20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2pPr>
                <a:lvl3pPr marL="1080764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9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3pPr>
                <a:lvl4pPr marL="1436256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4pPr>
                <a:lvl5pPr marL="1793335" indent="-179335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5pPr>
                <a:lvl6pPr marL="2513847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10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72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34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00000"/>
                  </a:lnSpc>
                  <a:spcAft>
                    <a:spcPts val="0"/>
                  </a:spcAft>
                  <a:buNone/>
                </a:pPr>
                <a:r>
                  <a:rPr lang="en-US" sz="2133" b="1" dirty="0">
                    <a:latin typeface="Montserrat" panose="00000500000000000000" pitchFamily="50" charset="0"/>
                  </a:rPr>
                  <a:t>06</a:t>
                </a:r>
                <a:endParaRPr lang="en-US" sz="1600" dirty="0">
                  <a:latin typeface="Montserrat" panose="00000500000000000000" pitchFamily="50" charset="0"/>
                </a:endParaRPr>
              </a:p>
            </p:txBody>
          </p:sp>
        </p:grp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78CB27E9-5EB7-E76F-CFB2-69DD6956B21E}"/>
                </a:ext>
              </a:extLst>
            </p:cNvPr>
            <p:cNvSpPr txBox="1"/>
            <p:nvPr/>
          </p:nvSpPr>
          <p:spPr>
            <a:xfrm>
              <a:off x="991809" y="1262002"/>
              <a:ext cx="3708926" cy="796954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sz="1400" b="1" dirty="0">
                  <a:solidFill>
                    <a:srgbClr val="345E88"/>
                  </a:solidFill>
                  <a:latin typeface="Montserrat" panose="00000500000000000000" pitchFamily="50" charset="0"/>
                </a:rPr>
                <a:t>Compliance and Governance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Ensure compliance requirements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Test for security issues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Implement best practices </a:t>
              </a:r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535B4A22-5688-A4E3-3C67-5E4178BF593A}"/>
              </a:ext>
            </a:extLst>
          </p:cNvPr>
          <p:cNvGrpSpPr/>
          <p:nvPr/>
        </p:nvGrpSpPr>
        <p:grpSpPr>
          <a:xfrm>
            <a:off x="6301151" y="3044388"/>
            <a:ext cx="4996093" cy="1193123"/>
            <a:chOff x="432435" y="1191057"/>
            <a:chExt cx="3941243" cy="927302"/>
          </a:xfrm>
          <a:effectLst/>
        </p:grpSpPr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4DFA36B6-E5C3-E845-C90C-0AD0A4197E8F}"/>
                </a:ext>
              </a:extLst>
            </p:cNvPr>
            <p:cNvGrpSpPr/>
            <p:nvPr/>
          </p:nvGrpSpPr>
          <p:grpSpPr>
            <a:xfrm>
              <a:off x="432435" y="1191057"/>
              <a:ext cx="477690" cy="927302"/>
              <a:chOff x="432435" y="1191057"/>
              <a:chExt cx="477690" cy="927302"/>
            </a:xfrm>
          </p:grpSpPr>
          <p:sp>
            <p:nvSpPr>
              <p:cNvPr id="110" name="Rectangle: Top Corners Rounded 109">
                <a:extLst>
                  <a:ext uri="{FF2B5EF4-FFF2-40B4-BE49-F238E27FC236}">
                    <a16:creationId xmlns:a16="http://schemas.microsoft.com/office/drawing/2014/main" id="{76DA37DE-6BFC-96E8-4DBA-A253B69811DB}"/>
                  </a:ext>
                </a:extLst>
              </p:cNvPr>
              <p:cNvSpPr/>
              <p:nvPr/>
            </p:nvSpPr>
            <p:spPr>
              <a:xfrm rot="16200000">
                <a:off x="207629" y="1415863"/>
                <a:ext cx="927302" cy="477690"/>
              </a:xfrm>
              <a:prstGeom prst="round2SameRect">
                <a:avLst>
                  <a:gd name="adj1" fmla="val 8692"/>
                  <a:gd name="adj2" fmla="val 0"/>
                </a:avLst>
              </a:prstGeom>
              <a:solidFill>
                <a:srgbClr val="0E7FBE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/>
              <a:lstStyle/>
              <a:p>
                <a:pPr algn="ctr"/>
                <a:endParaRPr lang="en-US" sz="2400" b="1" dirty="0">
                  <a:latin typeface="Montserrat" panose="00000500000000000000" pitchFamily="50" charset="0"/>
                </a:endParaRPr>
              </a:p>
            </p:txBody>
          </p:sp>
          <p:sp>
            <p:nvSpPr>
              <p:cNvPr id="111" name="Inhaltsplatzhalter 4">
                <a:extLst>
                  <a:ext uri="{FF2B5EF4-FFF2-40B4-BE49-F238E27FC236}">
                    <a16:creationId xmlns:a16="http://schemas.microsoft.com/office/drawing/2014/main" id="{E19EA14E-B5AE-4A7F-D35A-9044D5024BC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61181" y="1531622"/>
                <a:ext cx="420200" cy="246173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>
                <a:lvl1pPr marL="272967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Wingdings" panose="05000000000000000000" pitchFamily="2" charset="2"/>
                  <a:buChar char="§"/>
                  <a:defRPr sz="23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1pPr>
                <a:lvl2pPr marL="807798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20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2pPr>
                <a:lvl3pPr marL="1080764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9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3pPr>
                <a:lvl4pPr marL="1436256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4pPr>
                <a:lvl5pPr marL="1793335" indent="-179335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5pPr>
                <a:lvl6pPr marL="2513847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10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72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34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00000"/>
                  </a:lnSpc>
                  <a:spcAft>
                    <a:spcPts val="0"/>
                  </a:spcAft>
                  <a:buNone/>
                </a:pPr>
                <a:r>
                  <a:rPr lang="en-US" sz="2133" b="1" dirty="0">
                    <a:latin typeface="Montserrat" panose="00000500000000000000" pitchFamily="50" charset="0"/>
                  </a:rPr>
                  <a:t>05</a:t>
                </a:r>
                <a:endParaRPr lang="en-US" sz="1600" dirty="0">
                  <a:latin typeface="Montserrat" panose="00000500000000000000" pitchFamily="50" charset="0"/>
                </a:endParaRPr>
              </a:p>
            </p:txBody>
          </p:sp>
        </p:grp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CC876E13-DF50-BEF2-754D-8912019FB918}"/>
                </a:ext>
              </a:extLst>
            </p:cNvPr>
            <p:cNvSpPr txBox="1"/>
            <p:nvPr/>
          </p:nvSpPr>
          <p:spPr>
            <a:xfrm>
              <a:off x="991809" y="1252268"/>
              <a:ext cx="3381869" cy="796954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sz="1400" b="1" dirty="0">
                  <a:solidFill>
                    <a:srgbClr val="0D73AB"/>
                  </a:solidFill>
                  <a:latin typeface="Montserrat" panose="00000500000000000000" pitchFamily="50" charset="0"/>
                </a:rPr>
                <a:t>Complex Reporting Solutions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Design and implement custom reporting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Implement data manipulation solutions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Configure BI / 3</a:t>
              </a:r>
              <a:r>
                <a:rPr lang="en-US" sz="1400" baseline="300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rd</a:t>
              </a: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 party reporting systems</a:t>
              </a:r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A0EFFCDB-4F2E-1867-937D-A4AA7D84E8E2}"/>
              </a:ext>
            </a:extLst>
          </p:cNvPr>
          <p:cNvGrpSpPr/>
          <p:nvPr/>
        </p:nvGrpSpPr>
        <p:grpSpPr>
          <a:xfrm>
            <a:off x="6301151" y="1485394"/>
            <a:ext cx="5145645" cy="1262397"/>
            <a:chOff x="432435" y="1160172"/>
            <a:chExt cx="4059219" cy="981142"/>
          </a:xfrm>
          <a:effectLst/>
        </p:grpSpPr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0ECAF6EC-9861-5761-DD72-BFB2BDA0B9D2}"/>
                </a:ext>
              </a:extLst>
            </p:cNvPr>
            <p:cNvGrpSpPr/>
            <p:nvPr/>
          </p:nvGrpSpPr>
          <p:grpSpPr>
            <a:xfrm>
              <a:off x="432435" y="1191057"/>
              <a:ext cx="477690" cy="927302"/>
              <a:chOff x="432435" y="1191057"/>
              <a:chExt cx="477690" cy="927302"/>
            </a:xfrm>
          </p:grpSpPr>
          <p:sp>
            <p:nvSpPr>
              <p:cNvPr id="116" name="Rectangle: Top Corners Rounded 115">
                <a:extLst>
                  <a:ext uri="{FF2B5EF4-FFF2-40B4-BE49-F238E27FC236}">
                    <a16:creationId xmlns:a16="http://schemas.microsoft.com/office/drawing/2014/main" id="{8D8F286A-89B5-8777-B7FF-037A9F9ABE0C}"/>
                  </a:ext>
                </a:extLst>
              </p:cNvPr>
              <p:cNvSpPr/>
              <p:nvPr/>
            </p:nvSpPr>
            <p:spPr>
              <a:xfrm rot="16200000">
                <a:off x="207629" y="1415863"/>
                <a:ext cx="927302" cy="477690"/>
              </a:xfrm>
              <a:prstGeom prst="round2SameRect">
                <a:avLst>
                  <a:gd name="adj1" fmla="val 8692"/>
                  <a:gd name="adj2" fmla="val 0"/>
                </a:avLst>
              </a:prstGeom>
              <a:solidFill>
                <a:srgbClr val="084A6E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/>
              <a:lstStyle/>
              <a:p>
                <a:pPr algn="ctr"/>
                <a:endParaRPr lang="en-US" sz="2400" b="1" dirty="0">
                  <a:latin typeface="Montserrat" panose="00000500000000000000" pitchFamily="50" charset="0"/>
                </a:endParaRPr>
              </a:p>
            </p:txBody>
          </p:sp>
          <p:sp>
            <p:nvSpPr>
              <p:cNvPr id="117" name="Inhaltsplatzhalter 4">
                <a:extLst>
                  <a:ext uri="{FF2B5EF4-FFF2-40B4-BE49-F238E27FC236}">
                    <a16:creationId xmlns:a16="http://schemas.microsoft.com/office/drawing/2014/main" id="{2C67B5E0-DA6A-F8A4-60B1-3EA192F8952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61181" y="1531622"/>
                <a:ext cx="420200" cy="246173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>
                <a:lvl1pPr marL="272967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Wingdings" panose="05000000000000000000" pitchFamily="2" charset="2"/>
                  <a:buChar char="§"/>
                  <a:defRPr sz="23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1pPr>
                <a:lvl2pPr marL="807798" indent="-272967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20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2pPr>
                <a:lvl3pPr marL="1080764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9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3pPr>
                <a:lvl4pPr marL="1436256" indent="-177748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4pPr>
                <a:lvl5pPr marL="1793335" indent="-179335" algn="l" defTabSz="914127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Font typeface="Symbol" panose="05050102010706020507" pitchFamily="18" charset="2"/>
                  <a:buChar char="-"/>
                  <a:defRPr sz="1600" kern="120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+mn-cs"/>
                  </a:defRPr>
                </a:lvl5pPr>
                <a:lvl6pPr marL="2513847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0910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7972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034" indent="-228532" algn="l" defTabSz="914127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00000"/>
                  </a:lnSpc>
                  <a:spcAft>
                    <a:spcPts val="0"/>
                  </a:spcAft>
                  <a:buNone/>
                </a:pPr>
                <a:r>
                  <a:rPr lang="en-US" sz="2133" b="1" dirty="0">
                    <a:latin typeface="Montserrat" panose="00000500000000000000" pitchFamily="50" charset="0"/>
                  </a:rPr>
                  <a:t>04</a:t>
                </a:r>
                <a:endParaRPr lang="en-US" sz="1600" dirty="0">
                  <a:latin typeface="Montserrat" panose="00000500000000000000" pitchFamily="50" charset="0"/>
                </a:endParaRPr>
              </a:p>
            </p:txBody>
          </p:sp>
        </p:grp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39F8E91F-BECF-67F0-8947-A215889BAF12}"/>
                </a:ext>
              </a:extLst>
            </p:cNvPr>
            <p:cNvSpPr txBox="1"/>
            <p:nvPr/>
          </p:nvSpPr>
          <p:spPr>
            <a:xfrm>
              <a:off x="991808" y="1160172"/>
              <a:ext cx="3499846" cy="981142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sz="1400" b="1" dirty="0">
                  <a:solidFill>
                    <a:srgbClr val="084A6E"/>
                  </a:solidFill>
                  <a:latin typeface="Montserrat" panose="00000500000000000000" pitchFamily="50" charset="0"/>
                </a:rPr>
                <a:t>Integration with Other Tools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Setting up and implementing integrations (e.g. Teamcenter, JIRA, CAD / NX)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Middleware solutions for data exchange</a:t>
              </a:r>
            </a:p>
            <a:p>
              <a:pPr marL="228594" indent="-228594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63853"/>
                  </a:solidFill>
                  <a:latin typeface="Montserrat" panose="00000500000000000000" pitchFamily="50" charset="0"/>
                </a:rPr>
                <a:t>Update and adapt existing APIs</a:t>
              </a: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D0FF95BE-11DC-5832-77AE-0BE66582A9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 dirty="0">
                <a:solidFill>
                  <a:srgbClr val="063853"/>
                </a:solidFill>
                <a:latin typeface="Montserrat SemiBold" panose="00000700000000000000" pitchFamily="2" charset="0"/>
                <a:ea typeface="Roboto" panose="02000000000000000000" pitchFamily="2" charset="0"/>
              </a:rPr>
              <a:t>Tasks for </a:t>
            </a:r>
            <a:r>
              <a:rPr lang="en-US" dirty="0">
                <a:solidFill>
                  <a:srgbClr val="063853"/>
                </a:solidFill>
                <a:ea typeface="Roboto" panose="02000000000000000000" pitchFamily="2" charset="0"/>
              </a:rPr>
              <a:t>E</a:t>
            </a:r>
            <a:r>
              <a:rPr lang="en-US" sz="2800" dirty="0">
                <a:solidFill>
                  <a:srgbClr val="063853"/>
                </a:solidFill>
                <a:latin typeface="Montserrat SemiBold" panose="00000700000000000000" pitchFamily="2" charset="0"/>
                <a:ea typeface="Roboto" panose="02000000000000000000" pitchFamily="2" charset="0"/>
              </a:rPr>
              <a:t>xternal Consultants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FBA67F6-0128-1264-1428-4E39332553AA}"/>
              </a:ext>
            </a:extLst>
          </p:cNvPr>
          <p:cNvSpPr txBox="1"/>
          <p:nvPr/>
        </p:nvSpPr>
        <p:spPr>
          <a:xfrm>
            <a:off x="0" y="6078149"/>
            <a:ext cx="12034652" cy="7022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400" dirty="0"/>
              <a:t>Needed for advanced </a:t>
            </a:r>
            <a:r>
              <a:rPr lang="en-US" sz="1400" dirty="0" err="1"/>
              <a:t>customisation</a:t>
            </a:r>
            <a:r>
              <a:rPr lang="en-US" sz="1400" dirty="0"/>
              <a:t>, complex integrations, performance optimization, and compliance-related tasks. </a:t>
            </a:r>
            <a:br>
              <a:rPr lang="en-US" sz="1400" dirty="0"/>
            </a:br>
            <a:r>
              <a:rPr lang="en-US" sz="1400" dirty="0"/>
              <a:t>Expertise is crucial for maximizing </a:t>
            </a:r>
            <a:r>
              <a:rPr lang="en-US" sz="1400" dirty="0" err="1"/>
              <a:t>Polarion’s</a:t>
            </a:r>
            <a:r>
              <a:rPr lang="en-US" sz="1400" dirty="0"/>
              <a:t> capabilities and ensuring seamless integration with existing workflows.</a:t>
            </a:r>
          </a:p>
        </p:txBody>
      </p:sp>
    </p:spTree>
    <p:extLst>
      <p:ext uri="{BB962C8B-B14F-4D97-AF65-F5344CB8AC3E}">
        <p14:creationId xmlns:p14="http://schemas.microsoft.com/office/powerpoint/2010/main" val="217876827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99C5AC0-2FC8-346E-5AC8-CD02AB050C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79597"/>
            <a:ext cx="10515600" cy="5833935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50000"/>
              </a:lnSpc>
              <a:buNone/>
            </a:pPr>
            <a:r>
              <a:rPr lang="en-US" sz="1400" b="1" dirty="0"/>
              <a:t>Tasks for the Internal IT Team</a:t>
            </a:r>
            <a:endParaRPr lang="en-US" sz="1400" dirty="0"/>
          </a:p>
          <a:p>
            <a:pPr>
              <a:lnSpc>
                <a:spcPct val="150000"/>
              </a:lnSpc>
              <a:buFont typeface="Arial"/>
              <a:buChar char="•"/>
            </a:pPr>
            <a:r>
              <a:rPr lang="en-US" sz="1300" b="1" dirty="0"/>
              <a:t>Basic Configuration</a:t>
            </a:r>
            <a:endParaRPr lang="en-US" sz="1300" dirty="0"/>
          </a:p>
          <a:p>
            <a:pPr marL="971550" lvl="1" indent="-285750">
              <a:lnSpc>
                <a:spcPct val="150000"/>
              </a:lnSpc>
              <a:buFont typeface="Arial"/>
              <a:buChar char="•"/>
            </a:pPr>
            <a:r>
              <a:rPr lang="en-US" sz="1300" dirty="0"/>
              <a:t>Project management.</a:t>
            </a:r>
            <a:endParaRPr lang="en-US" dirty="0"/>
          </a:p>
          <a:p>
            <a:pPr marL="971550" lvl="1" indent="-285750">
              <a:lnSpc>
                <a:spcPct val="150000"/>
              </a:lnSpc>
              <a:buFont typeface="Arial"/>
              <a:buChar char="•"/>
            </a:pPr>
            <a:r>
              <a:rPr lang="en-US" sz="1300" dirty="0"/>
              <a:t>Permission management</a:t>
            </a:r>
            <a:endParaRPr lang="en-US" dirty="0"/>
          </a:p>
          <a:p>
            <a:pPr marL="971550" lvl="1" indent="-285750">
              <a:lnSpc>
                <a:spcPct val="150000"/>
              </a:lnSpc>
              <a:buFont typeface="Arial"/>
              <a:buChar char="•"/>
            </a:pPr>
            <a:r>
              <a:rPr lang="en-US" sz="1300" dirty="0"/>
              <a:t>Managing users and groups within </a:t>
            </a:r>
            <a:r>
              <a:rPr lang="en-US" sz="1300" dirty="0" err="1"/>
              <a:t>Polarion</a:t>
            </a:r>
            <a:r>
              <a:rPr lang="en-US" sz="1300" dirty="0"/>
              <a:t>.</a:t>
            </a:r>
          </a:p>
          <a:p>
            <a:pPr>
              <a:lnSpc>
                <a:spcPct val="150000"/>
              </a:lnSpc>
              <a:buFont typeface="Arial"/>
              <a:buChar char="•"/>
            </a:pPr>
            <a:r>
              <a:rPr lang="en-US" sz="1300" b="1" dirty="0"/>
              <a:t>Data Migration</a:t>
            </a:r>
            <a:endParaRPr lang="en-US" sz="1300" dirty="0"/>
          </a:p>
          <a:p>
            <a:pPr marL="971550" lvl="1" indent="-285750">
              <a:lnSpc>
                <a:spcPct val="150000"/>
              </a:lnSpc>
              <a:buFont typeface="Arial"/>
              <a:buChar char="•"/>
            </a:pPr>
            <a:r>
              <a:rPr lang="en-US" sz="1300" dirty="0"/>
              <a:t>Importing existing data into </a:t>
            </a:r>
            <a:r>
              <a:rPr lang="en-US" sz="1300" dirty="0" err="1"/>
              <a:t>Polarion</a:t>
            </a:r>
            <a:r>
              <a:rPr lang="en-US" sz="1300" dirty="0"/>
              <a:t> from other systems using standard import tools.</a:t>
            </a:r>
          </a:p>
          <a:p>
            <a:pPr marL="971550" lvl="1" indent="-285750">
              <a:lnSpc>
                <a:spcPct val="150000"/>
              </a:lnSpc>
              <a:buFont typeface="Arial"/>
              <a:buChar char="•"/>
            </a:pPr>
            <a:r>
              <a:rPr lang="en-US" sz="1300" dirty="0"/>
              <a:t>Ensuring data integrity during migration.</a:t>
            </a:r>
          </a:p>
          <a:p>
            <a:pPr>
              <a:lnSpc>
                <a:spcPct val="150000"/>
              </a:lnSpc>
              <a:buFont typeface="Arial,Sans-Serif"/>
              <a:buChar char="•"/>
            </a:pPr>
            <a:r>
              <a:rPr lang="en-US" sz="1300" b="1" dirty="0">
                <a:latin typeface="Montserrat"/>
              </a:rPr>
              <a:t>User Training</a:t>
            </a:r>
            <a:endParaRPr lang="en-US" sz="1300" dirty="0">
              <a:latin typeface="Montserrat"/>
            </a:endParaRPr>
          </a:p>
          <a:p>
            <a:pPr lvl="1">
              <a:lnSpc>
                <a:spcPct val="150000"/>
              </a:lnSpc>
              <a:buFont typeface="Arial,Sans-Serif"/>
              <a:buChar char="•"/>
            </a:pPr>
            <a:r>
              <a:rPr lang="en-US" sz="1300" dirty="0">
                <a:latin typeface="Montserrat"/>
              </a:rPr>
              <a:t>Providing training and support for end-users on how to use </a:t>
            </a:r>
            <a:r>
              <a:rPr lang="en-US" sz="1300" dirty="0" err="1">
                <a:latin typeface="Montserrat"/>
              </a:rPr>
              <a:t>Polarion</a:t>
            </a:r>
            <a:r>
              <a:rPr lang="en-US" sz="1300" dirty="0">
                <a:latin typeface="Montserrat"/>
              </a:rPr>
              <a:t> effectively.</a:t>
            </a:r>
          </a:p>
          <a:p>
            <a:pPr lvl="1">
              <a:lnSpc>
                <a:spcPct val="150000"/>
              </a:lnSpc>
              <a:buFont typeface="Arial,Sans-Serif"/>
              <a:buChar char="•"/>
            </a:pPr>
            <a:r>
              <a:rPr lang="en-US" sz="1300" dirty="0">
                <a:latin typeface="Montserrat"/>
              </a:rPr>
              <a:t>Developing user manuals or documentation for internal processes.</a:t>
            </a:r>
          </a:p>
          <a:p>
            <a:pPr>
              <a:lnSpc>
                <a:spcPct val="150000"/>
              </a:lnSpc>
              <a:buFont typeface="Arial,Sans-Serif"/>
              <a:buChar char="•"/>
            </a:pPr>
            <a:r>
              <a:rPr lang="en-US" sz="1300" b="1" dirty="0">
                <a:latin typeface="Montserrat"/>
              </a:rPr>
              <a:t>System Maintenance</a:t>
            </a:r>
            <a:endParaRPr lang="en-US" sz="1300" dirty="0">
              <a:latin typeface="Montserrat"/>
            </a:endParaRPr>
          </a:p>
          <a:p>
            <a:pPr lvl="1">
              <a:lnSpc>
                <a:spcPct val="150000"/>
              </a:lnSpc>
              <a:buFont typeface="Arial,Sans-Serif"/>
              <a:buChar char="•"/>
            </a:pPr>
            <a:r>
              <a:rPr lang="en-US" sz="1300" dirty="0">
                <a:latin typeface="Montserrat"/>
              </a:rPr>
              <a:t>Regularly updating </a:t>
            </a:r>
            <a:r>
              <a:rPr lang="en-US" sz="1300" dirty="0" err="1">
                <a:latin typeface="Montserrat"/>
              </a:rPr>
              <a:t>Polarion</a:t>
            </a:r>
            <a:r>
              <a:rPr lang="en-US" sz="1300" dirty="0">
                <a:latin typeface="Montserrat"/>
              </a:rPr>
              <a:t> and managing backup procedures.</a:t>
            </a:r>
          </a:p>
          <a:p>
            <a:pPr lvl="1">
              <a:lnSpc>
                <a:spcPct val="150000"/>
              </a:lnSpc>
              <a:buFont typeface="Arial,Sans-Serif"/>
              <a:buChar char="•"/>
            </a:pPr>
            <a:r>
              <a:rPr lang="en-US" sz="1300" dirty="0">
                <a:latin typeface="Montserrat"/>
              </a:rPr>
              <a:t>Monitoring system performance and addressing minor technical issues.</a:t>
            </a:r>
            <a:endParaRPr lang="en-US" dirty="0"/>
          </a:p>
          <a:p>
            <a:pPr marL="0" indent="0">
              <a:lnSpc>
                <a:spcPct val="150000"/>
              </a:lnSpc>
              <a:buNone/>
            </a:pPr>
            <a:endParaRPr lang="en-US" sz="1300" b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0B94B2-BE2B-DF78-C4E2-FF57B07029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15530"/>
            <a:ext cx="8892754" cy="856806"/>
          </a:xfrm>
        </p:spPr>
        <p:txBody>
          <a:bodyPr>
            <a:normAutofit fontScale="90000"/>
          </a:bodyPr>
          <a:lstStyle/>
          <a:p>
            <a:r>
              <a:rPr lang="en-IN" err="1">
                <a:latin typeface="Montserrat SemiBold"/>
              </a:rPr>
              <a:t>Polarion</a:t>
            </a:r>
            <a:r>
              <a:rPr lang="en-IN">
                <a:latin typeface="Montserrat SemiBold"/>
              </a:rPr>
              <a:t> Configuration &amp; </a:t>
            </a:r>
            <a:r>
              <a:rPr lang="en-IN" err="1">
                <a:latin typeface="Montserrat SemiBold"/>
              </a:rPr>
              <a:t>Custamization</a:t>
            </a:r>
            <a:r>
              <a:rPr lang="en-IN">
                <a:latin typeface="Montserrat SemiBold"/>
              </a:rPr>
              <a:t> Management</a:t>
            </a: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19E51FB-D12F-E075-95D8-A7D3F9D47A32}"/>
              </a:ext>
            </a:extLst>
          </p:cNvPr>
          <p:cNvSpPr/>
          <p:nvPr/>
        </p:nvSpPr>
        <p:spPr>
          <a:xfrm>
            <a:off x="8517698" y="254635"/>
            <a:ext cx="3169085" cy="8705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Info grafics &amp; bundle / 8 bullets ggf.</a:t>
            </a:r>
          </a:p>
        </p:txBody>
      </p:sp>
    </p:spTree>
    <p:extLst>
      <p:ext uri="{BB962C8B-B14F-4D97-AF65-F5344CB8AC3E}">
        <p14:creationId xmlns:p14="http://schemas.microsoft.com/office/powerpoint/2010/main" val="262352778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99C5AC0-2FC8-346E-5AC8-CD02AB050C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79597"/>
            <a:ext cx="10515600" cy="5833935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50000"/>
              </a:lnSpc>
              <a:buNone/>
            </a:pPr>
            <a:r>
              <a:rPr lang="en-US" sz="1400" b="1" dirty="0"/>
              <a:t>Tasks for Experts or Consultants</a:t>
            </a:r>
            <a:endParaRPr lang="en-US" sz="1400" dirty="0"/>
          </a:p>
          <a:p>
            <a:pPr>
              <a:lnSpc>
                <a:spcPct val="150000"/>
              </a:lnSpc>
              <a:buFont typeface="Arial"/>
              <a:buChar char="•"/>
            </a:pPr>
            <a:r>
              <a:rPr lang="en-US" sz="1300" b="1" dirty="0"/>
              <a:t>Advanced Customization</a:t>
            </a:r>
            <a:endParaRPr lang="en-US" sz="1300" dirty="0"/>
          </a:p>
          <a:p>
            <a:pPr marL="971550" lvl="1" indent="-285750">
              <a:lnSpc>
                <a:spcPct val="150000"/>
              </a:lnSpc>
              <a:buFont typeface="Arial"/>
              <a:buChar char="•"/>
            </a:pPr>
            <a:r>
              <a:rPr lang="en-US" sz="1300" dirty="0"/>
              <a:t>Developing custom plugins or widgets to extend </a:t>
            </a:r>
            <a:r>
              <a:rPr lang="en-US" sz="1300" dirty="0" err="1"/>
              <a:t>Polarion's</a:t>
            </a:r>
            <a:r>
              <a:rPr lang="en-US" sz="1300" dirty="0"/>
              <a:t> functionality.</a:t>
            </a:r>
          </a:p>
          <a:p>
            <a:pPr marL="971550" lvl="1" indent="-285750">
              <a:lnSpc>
                <a:spcPct val="150000"/>
              </a:lnSpc>
              <a:buFont typeface="Arial"/>
              <a:buChar char="•"/>
            </a:pPr>
            <a:r>
              <a:rPr lang="en-US" sz="1300" dirty="0"/>
              <a:t>Implementing advanced scripting using Velocity or Java for complex requirements.</a:t>
            </a:r>
          </a:p>
          <a:p>
            <a:pPr>
              <a:lnSpc>
                <a:spcPct val="150000"/>
              </a:lnSpc>
              <a:buFont typeface="Arial"/>
              <a:buChar char="•"/>
            </a:pPr>
            <a:r>
              <a:rPr lang="en-US" sz="1300" b="1" dirty="0"/>
              <a:t>Integration with Other Tools</a:t>
            </a:r>
            <a:endParaRPr lang="en-US" sz="1300" dirty="0"/>
          </a:p>
          <a:p>
            <a:pPr marL="971550" lvl="1" indent="-285750">
              <a:lnSpc>
                <a:spcPct val="150000"/>
              </a:lnSpc>
              <a:buFont typeface="Arial"/>
              <a:buChar char="•"/>
            </a:pPr>
            <a:r>
              <a:rPr lang="en-US" sz="1300" dirty="0"/>
              <a:t>Setting up and customizing integrations with external systems (e.g., JIRA, Teamcenter, CAD tools).</a:t>
            </a:r>
          </a:p>
          <a:p>
            <a:pPr marL="971550" lvl="1" indent="-285750">
              <a:lnSpc>
                <a:spcPct val="150000"/>
              </a:lnSpc>
              <a:buFont typeface="Arial"/>
              <a:buChar char="•"/>
            </a:pPr>
            <a:r>
              <a:rPr lang="en-US" sz="1300" dirty="0"/>
              <a:t>Developing middleware solutions for seamless data exchange.</a:t>
            </a:r>
          </a:p>
          <a:p>
            <a:pPr>
              <a:lnSpc>
                <a:spcPct val="150000"/>
              </a:lnSpc>
              <a:buFont typeface="Arial"/>
              <a:buChar char="•"/>
            </a:pPr>
            <a:r>
              <a:rPr lang="en-US" sz="1300" b="1" dirty="0"/>
              <a:t>Performance Optimization</a:t>
            </a:r>
            <a:endParaRPr lang="en-US" sz="1300" dirty="0"/>
          </a:p>
          <a:p>
            <a:pPr marL="971550" lvl="1" indent="-285750">
              <a:lnSpc>
                <a:spcPct val="150000"/>
              </a:lnSpc>
              <a:buFont typeface="Arial"/>
              <a:buChar char="•"/>
            </a:pPr>
            <a:r>
              <a:rPr lang="en-US" sz="1300" dirty="0"/>
              <a:t>Conducting system performance analysis and optimization for large-scale deployments.</a:t>
            </a:r>
          </a:p>
          <a:p>
            <a:pPr marL="971550" lvl="1" indent="-285750">
              <a:lnSpc>
                <a:spcPct val="150000"/>
              </a:lnSpc>
              <a:buFont typeface="Arial"/>
              <a:buChar char="•"/>
            </a:pPr>
            <a:r>
              <a:rPr lang="en-US" sz="1300" dirty="0"/>
              <a:t>Configuring advanced settings for better performance and user experience.</a:t>
            </a:r>
          </a:p>
          <a:p>
            <a:pPr>
              <a:lnSpc>
                <a:spcPct val="150000"/>
              </a:lnSpc>
              <a:buFont typeface="Arial"/>
              <a:buChar char="•"/>
            </a:pPr>
            <a:r>
              <a:rPr lang="en-US" sz="1300" b="1" dirty="0"/>
              <a:t>Complex Reporting Solutions</a:t>
            </a:r>
            <a:endParaRPr lang="en-US" sz="1300" dirty="0"/>
          </a:p>
          <a:p>
            <a:pPr marL="971550" lvl="1" indent="-285750">
              <a:lnSpc>
                <a:spcPct val="150000"/>
              </a:lnSpc>
              <a:buFont typeface="Arial"/>
              <a:buChar char="•"/>
            </a:pPr>
            <a:r>
              <a:rPr lang="en-US" sz="1300" dirty="0"/>
              <a:t>Designing and implementing custom reporting solutions that require advanced data manipulation.</a:t>
            </a:r>
          </a:p>
          <a:p>
            <a:pPr marL="971550" lvl="1" indent="-285750">
              <a:lnSpc>
                <a:spcPct val="150000"/>
              </a:lnSpc>
              <a:buFont typeface="Arial"/>
              <a:buChar char="•"/>
            </a:pPr>
            <a:r>
              <a:rPr lang="en-US" sz="1300" dirty="0"/>
              <a:t>Utilizing BI tools or third-party reporting systems integrated with </a:t>
            </a:r>
            <a:r>
              <a:rPr lang="en-US" sz="1300" dirty="0" err="1"/>
              <a:t>Polarion</a:t>
            </a:r>
            <a:r>
              <a:rPr lang="en-US" sz="1300" dirty="0"/>
              <a:t>.</a:t>
            </a:r>
          </a:p>
          <a:p>
            <a:pPr>
              <a:lnSpc>
                <a:spcPct val="150000"/>
              </a:lnSpc>
              <a:buNone/>
            </a:pPr>
            <a:endParaRPr lang="en-US" sz="1300" b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0B94B2-BE2B-DF78-C4E2-FF57B07029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15530"/>
            <a:ext cx="8892754" cy="856806"/>
          </a:xfrm>
        </p:spPr>
        <p:txBody>
          <a:bodyPr>
            <a:normAutofit fontScale="90000"/>
          </a:bodyPr>
          <a:lstStyle/>
          <a:p>
            <a:r>
              <a:rPr lang="en-IN" err="1">
                <a:latin typeface="Montserrat SemiBold"/>
              </a:rPr>
              <a:t>Polarion</a:t>
            </a:r>
            <a:r>
              <a:rPr lang="en-IN">
                <a:latin typeface="Montserrat SemiBold"/>
              </a:rPr>
              <a:t> Configuration &amp; </a:t>
            </a:r>
            <a:r>
              <a:rPr lang="en-IN" err="1">
                <a:latin typeface="Montserrat SemiBold"/>
              </a:rPr>
              <a:t>Custamization</a:t>
            </a:r>
            <a:r>
              <a:rPr lang="en-IN">
                <a:latin typeface="Montserrat SemiBold"/>
              </a:rPr>
              <a:t> Management</a:t>
            </a: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1D496E2-8FCE-2ABB-ADFA-E4DB10F33609}"/>
              </a:ext>
            </a:extLst>
          </p:cNvPr>
          <p:cNvSpPr/>
          <p:nvPr/>
        </p:nvSpPr>
        <p:spPr>
          <a:xfrm>
            <a:off x="8517698" y="254635"/>
            <a:ext cx="3169085" cy="8705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Info grafics &amp; bundle / 8 bullets ggf.</a:t>
            </a:r>
          </a:p>
        </p:txBody>
      </p:sp>
    </p:spTree>
    <p:extLst>
      <p:ext uri="{BB962C8B-B14F-4D97-AF65-F5344CB8AC3E}">
        <p14:creationId xmlns:p14="http://schemas.microsoft.com/office/powerpoint/2010/main" val="233564791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99C5AC0-2FC8-346E-5AC8-CD02AB050C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79597"/>
            <a:ext cx="10515600" cy="5833935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50000"/>
              </a:lnSpc>
              <a:buNone/>
            </a:pPr>
            <a:r>
              <a:rPr lang="en-US" sz="1400" b="1" dirty="0"/>
              <a:t>Tasks for Experts or Consultants</a:t>
            </a:r>
            <a:endParaRPr lang="en-US" sz="1400" dirty="0"/>
          </a:p>
          <a:p>
            <a:pPr>
              <a:lnSpc>
                <a:spcPct val="150000"/>
              </a:lnSpc>
              <a:buFont typeface="Arial"/>
              <a:buChar char="•"/>
            </a:pPr>
            <a:r>
              <a:rPr lang="en-US" sz="1300" b="1" dirty="0"/>
              <a:t>Compliance and Governance</a:t>
            </a:r>
            <a:endParaRPr lang="en-US" sz="1300" dirty="0"/>
          </a:p>
          <a:p>
            <a:pPr lvl="1">
              <a:lnSpc>
                <a:spcPct val="150000"/>
              </a:lnSpc>
              <a:buFont typeface="Arial"/>
              <a:buChar char="•"/>
            </a:pPr>
            <a:r>
              <a:rPr lang="en-US" sz="1300" dirty="0"/>
              <a:t>Assisting with compliance requirements and ensuring that </a:t>
            </a:r>
            <a:r>
              <a:rPr lang="en-US" sz="1300" dirty="0" err="1"/>
              <a:t>Polarion</a:t>
            </a:r>
            <a:r>
              <a:rPr lang="en-US" sz="1300" dirty="0"/>
              <a:t> meets regulatory standards.</a:t>
            </a:r>
          </a:p>
          <a:p>
            <a:pPr lvl="1">
              <a:lnSpc>
                <a:spcPct val="150000"/>
              </a:lnSpc>
              <a:buFont typeface="Arial"/>
              <a:buChar char="•"/>
            </a:pPr>
            <a:r>
              <a:rPr lang="en-US" sz="1300" dirty="0"/>
              <a:t>Implementing best practices for documentation and traceability.</a:t>
            </a:r>
          </a:p>
          <a:p>
            <a:pPr>
              <a:lnSpc>
                <a:spcPct val="150000"/>
              </a:lnSpc>
              <a:buFont typeface="Arial"/>
              <a:buChar char="•"/>
            </a:pPr>
            <a:r>
              <a:rPr lang="en-US" sz="1300" b="1" dirty="0"/>
              <a:t>Upgrading </a:t>
            </a:r>
            <a:r>
              <a:rPr lang="en-US" sz="1300" b="1" dirty="0" err="1"/>
              <a:t>Polarion</a:t>
            </a:r>
            <a:endParaRPr lang="en-US" sz="1300" dirty="0"/>
          </a:p>
          <a:p>
            <a:pPr lvl="1">
              <a:lnSpc>
                <a:spcPct val="150000"/>
              </a:lnSpc>
              <a:buFont typeface="Arial"/>
              <a:buChar char="•"/>
            </a:pPr>
            <a:r>
              <a:rPr lang="en-US" sz="1300" dirty="0"/>
              <a:t>Managing the upgrade process for </a:t>
            </a:r>
            <a:r>
              <a:rPr lang="en-US" sz="1300" dirty="0" err="1"/>
              <a:t>Polarion</a:t>
            </a:r>
            <a:r>
              <a:rPr lang="en-US" sz="1300" dirty="0"/>
              <a:t>, including testing and validating new versions.</a:t>
            </a:r>
          </a:p>
          <a:p>
            <a:pPr lvl="1">
              <a:lnSpc>
                <a:spcPct val="150000"/>
              </a:lnSpc>
              <a:buFont typeface="Arial"/>
              <a:buChar char="•"/>
            </a:pPr>
            <a:r>
              <a:rPr lang="en-US" sz="1300" dirty="0"/>
              <a:t>Addressing potential compatibility issues with custom configurations and integrations.</a:t>
            </a:r>
          </a:p>
          <a:p>
            <a:pPr>
              <a:lnSpc>
                <a:spcPct val="150000"/>
              </a:lnSpc>
              <a:buFont typeface="Arial"/>
              <a:buChar char="•"/>
            </a:pPr>
            <a:endParaRPr lang="en-US" sz="1300" b="1" dirty="0"/>
          </a:p>
          <a:p>
            <a:pPr>
              <a:buNone/>
            </a:pPr>
            <a:r>
              <a:rPr lang="en-US" sz="1400" b="1" dirty="0"/>
              <a:t>Summary</a:t>
            </a:r>
          </a:p>
          <a:p>
            <a:pPr>
              <a:lnSpc>
                <a:spcPct val="150000"/>
              </a:lnSpc>
              <a:buFont typeface="Arial"/>
              <a:buChar char="•"/>
            </a:pPr>
            <a:r>
              <a:rPr lang="en-US" sz="1300" b="1" dirty="0"/>
              <a:t>Internal IT Team</a:t>
            </a:r>
            <a:r>
              <a:rPr lang="en-US" sz="1300" dirty="0"/>
              <a:t>: Typically handles basic configuration, data migration, user management, system maintenance, and training. They can address everyday needs and minor customizations.</a:t>
            </a:r>
            <a:endParaRPr lang="en-US" dirty="0"/>
          </a:p>
          <a:p>
            <a:pPr>
              <a:lnSpc>
                <a:spcPct val="150000"/>
              </a:lnSpc>
              <a:buFont typeface="Arial"/>
              <a:buChar char="•"/>
            </a:pPr>
            <a:r>
              <a:rPr lang="en-US" sz="1300" b="1" dirty="0"/>
              <a:t>Experts or Consultants</a:t>
            </a:r>
            <a:r>
              <a:rPr lang="en-US" sz="1300" dirty="0"/>
              <a:t>: Are often needed for advanced customization, complex integrations, performance optimization, and compliance-related tasks. Their expertise is crucial for maximizing </a:t>
            </a:r>
            <a:r>
              <a:rPr lang="en-US" sz="1300" dirty="0" err="1"/>
              <a:t>Polarion’s</a:t>
            </a:r>
            <a:r>
              <a:rPr lang="en-US" sz="1300" dirty="0"/>
              <a:t> capabilities and ensuring seamless integration with existing workflows.</a:t>
            </a:r>
            <a:endParaRPr lang="en-US" dirty="0"/>
          </a:p>
          <a:p>
            <a:pPr>
              <a:lnSpc>
                <a:spcPct val="150000"/>
              </a:lnSpc>
              <a:buNone/>
            </a:pPr>
            <a:endParaRPr lang="en-US" sz="1300" b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0B94B2-BE2B-DF78-C4E2-FF57B07029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15530"/>
            <a:ext cx="8892754" cy="856806"/>
          </a:xfrm>
        </p:spPr>
        <p:txBody>
          <a:bodyPr>
            <a:normAutofit fontScale="90000"/>
          </a:bodyPr>
          <a:lstStyle/>
          <a:p>
            <a:r>
              <a:rPr lang="en-IN" dirty="0" err="1">
                <a:latin typeface="Montserrat SemiBold"/>
              </a:rPr>
              <a:t>Polarion</a:t>
            </a:r>
            <a:r>
              <a:rPr lang="en-IN" dirty="0">
                <a:latin typeface="Montserrat SemiBold"/>
              </a:rPr>
              <a:t> Configuration &amp; </a:t>
            </a:r>
            <a:r>
              <a:rPr lang="en-IN" dirty="0" err="1">
                <a:latin typeface="Montserrat SemiBold"/>
              </a:rPr>
              <a:t>Custamization</a:t>
            </a:r>
            <a:r>
              <a:rPr lang="en-IN" dirty="0">
                <a:latin typeface="Montserrat SemiBold"/>
              </a:rPr>
              <a:t> Management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AF7DC56-E65B-CB52-EF7D-1F687D1B6AB9}"/>
              </a:ext>
            </a:extLst>
          </p:cNvPr>
          <p:cNvSpPr/>
          <p:nvPr/>
        </p:nvSpPr>
        <p:spPr>
          <a:xfrm>
            <a:off x="8517698" y="254635"/>
            <a:ext cx="3169085" cy="8705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Info grafics &amp; bundle / 8 bullets ggf.</a:t>
            </a:r>
          </a:p>
        </p:txBody>
      </p:sp>
    </p:spTree>
    <p:extLst>
      <p:ext uri="{BB962C8B-B14F-4D97-AF65-F5344CB8AC3E}">
        <p14:creationId xmlns:p14="http://schemas.microsoft.com/office/powerpoint/2010/main" val="411420016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19735E2-6580-98BB-C25E-60D66C21CB7F}"/>
              </a:ext>
            </a:extLst>
          </p:cNvPr>
          <p:cNvSpPr txBox="1">
            <a:spLocks/>
          </p:cNvSpPr>
          <p:nvPr/>
        </p:nvSpPr>
        <p:spPr>
          <a:xfrm>
            <a:off x="2523304" y="2181510"/>
            <a:ext cx="6850921" cy="948770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2"/>
                </a:solidFill>
                <a:latin typeface="Montserrat SemiBold" panose="00000700000000000000" pitchFamily="2" charset="0"/>
                <a:ea typeface="+mj-ea"/>
                <a:cs typeface="+mj-cs"/>
              </a:defRPr>
            </a:lvl1pPr>
          </a:lstStyle>
          <a:p>
            <a:pPr lvl="2">
              <a:lnSpc>
                <a:spcPct val="90000"/>
              </a:lnSpc>
              <a:spcBef>
                <a:spcPts val="500"/>
              </a:spcBef>
            </a:pPr>
            <a:r>
              <a:rPr lang="en-US" sz="2800">
                <a:ea typeface="+mn-lt"/>
                <a:cs typeface="+mn-lt"/>
              </a:rPr>
              <a:t>Timeline to implement </a:t>
            </a:r>
            <a:r>
              <a:rPr lang="en-US" sz="2800" err="1">
                <a:ea typeface="+mn-lt"/>
                <a:cs typeface="+mn-lt"/>
              </a:rPr>
              <a:t>Polarion</a:t>
            </a:r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61484922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99C5AC0-2FC8-346E-5AC8-CD02AB050C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79597"/>
            <a:ext cx="10515600" cy="5833935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1300" b="1" dirty="0"/>
              <a:t>Project Scope / User Management</a:t>
            </a:r>
            <a:endParaRPr lang="en-US" sz="1300" dirty="0"/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 b="1" dirty="0"/>
              <a:t>Description</a:t>
            </a:r>
            <a:r>
              <a:rPr lang="en-US" sz="1300" dirty="0"/>
              <a:t>: The size and complexity of the implementation.</a:t>
            </a: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 b="1" dirty="0"/>
              <a:t>Control</a:t>
            </a:r>
            <a:r>
              <a:rPr lang="en-US" sz="1300" dirty="0"/>
              <a:t>: Define clear objectives and start with a pilot project.</a:t>
            </a:r>
          </a:p>
          <a:p>
            <a:pPr>
              <a:lnSpc>
                <a:spcPct val="150000"/>
              </a:lnSpc>
              <a:buFont typeface="Arial"/>
              <a:buChar char="•"/>
            </a:pPr>
            <a:r>
              <a:rPr lang="en-US" sz="1300" b="1" dirty="0"/>
              <a:t>Customization and Configuration Needs</a:t>
            </a:r>
            <a:endParaRPr lang="en-US" sz="1300" dirty="0"/>
          </a:p>
          <a:p>
            <a:pPr lvl="1">
              <a:lnSpc>
                <a:spcPct val="150000"/>
              </a:lnSpc>
              <a:buFont typeface="Courier New"/>
              <a:buChar char="o"/>
            </a:pPr>
            <a:r>
              <a:rPr lang="en-US" sz="1300" b="1" dirty="0"/>
              <a:t>Description</a:t>
            </a:r>
            <a:r>
              <a:rPr lang="en-US" sz="1300" dirty="0"/>
              <a:t>: The extent of required custom features and settings.</a:t>
            </a:r>
          </a:p>
          <a:p>
            <a:pPr lvl="1">
              <a:lnSpc>
                <a:spcPct val="150000"/>
              </a:lnSpc>
              <a:buFont typeface="Courier New"/>
              <a:buChar char="o"/>
            </a:pPr>
            <a:r>
              <a:rPr lang="en-US" sz="1300" b="1" dirty="0"/>
              <a:t>Control</a:t>
            </a:r>
            <a:r>
              <a:rPr lang="en-US" sz="1300" dirty="0"/>
              <a:t>: Limit customizations to essential features and prioritize them.</a:t>
            </a:r>
          </a:p>
          <a:p>
            <a:pPr>
              <a:lnSpc>
                <a:spcPct val="150000"/>
              </a:lnSpc>
              <a:buFont typeface="Arial"/>
              <a:buChar char="•"/>
            </a:pPr>
            <a:r>
              <a:rPr lang="en-US" sz="1300" b="1" dirty="0"/>
              <a:t>Integration with Other Systems</a:t>
            </a:r>
            <a:endParaRPr lang="en-US" sz="1300" dirty="0"/>
          </a:p>
          <a:p>
            <a:pPr lvl="1">
              <a:lnSpc>
                <a:spcPct val="150000"/>
              </a:lnSpc>
              <a:buFont typeface="Courier New"/>
              <a:buChar char="o"/>
            </a:pPr>
            <a:r>
              <a:rPr lang="en-US" sz="1300" b="1" dirty="0"/>
              <a:t>Description</a:t>
            </a:r>
            <a:r>
              <a:rPr lang="en-US" sz="1300" dirty="0"/>
              <a:t>: Integrating with tools like PLM, ERP, or CAD systems.</a:t>
            </a:r>
          </a:p>
          <a:p>
            <a:pPr lvl="1">
              <a:lnSpc>
                <a:spcPct val="150000"/>
              </a:lnSpc>
              <a:buFont typeface="Courier New"/>
              <a:buChar char="o"/>
            </a:pPr>
            <a:r>
              <a:rPr lang="en-US" sz="1300" b="1" dirty="0"/>
              <a:t>Control</a:t>
            </a:r>
            <a:r>
              <a:rPr lang="en-US" sz="1300" dirty="0"/>
              <a:t>: Assess integration complexity early and use pre-built connectors.</a:t>
            </a:r>
          </a:p>
          <a:p>
            <a:pPr>
              <a:lnSpc>
                <a:spcPct val="150000"/>
              </a:lnSpc>
              <a:buFont typeface="Arial"/>
              <a:buChar char="•"/>
            </a:pPr>
            <a:r>
              <a:rPr lang="en-US" sz="1300" b="1" dirty="0"/>
              <a:t>Data Migration</a:t>
            </a:r>
            <a:endParaRPr lang="en-US" sz="1300" dirty="0"/>
          </a:p>
          <a:p>
            <a:pPr lvl="1">
              <a:lnSpc>
                <a:spcPct val="150000"/>
              </a:lnSpc>
              <a:buFont typeface="Courier New"/>
              <a:buChar char="o"/>
            </a:pPr>
            <a:r>
              <a:rPr lang="en-US" sz="1300" b="1" dirty="0"/>
              <a:t>Description</a:t>
            </a:r>
            <a:r>
              <a:rPr lang="en-US" sz="1300" dirty="0"/>
              <a:t>: Transferring and cleansing data from existing systems.</a:t>
            </a:r>
          </a:p>
          <a:p>
            <a:pPr lvl="1">
              <a:lnSpc>
                <a:spcPct val="150000"/>
              </a:lnSpc>
              <a:buFont typeface="Courier New"/>
              <a:buChar char="o"/>
            </a:pPr>
            <a:r>
              <a:rPr lang="en-US" sz="1300" b="1" dirty="0"/>
              <a:t>Control</a:t>
            </a:r>
            <a:r>
              <a:rPr lang="en-US" sz="1300" dirty="0"/>
              <a:t>: Plan data migration early and ensure data quality before migration.</a:t>
            </a:r>
          </a:p>
          <a:p>
            <a:pPr>
              <a:lnSpc>
                <a:spcPct val="150000"/>
              </a:lnSpc>
              <a:buFont typeface="Arial"/>
              <a:buChar char="•"/>
            </a:pPr>
            <a:r>
              <a:rPr lang="en-US" sz="1300" b="1" dirty="0"/>
              <a:t>User Training and Change Management</a:t>
            </a:r>
            <a:endParaRPr lang="en-US" sz="1300" dirty="0"/>
          </a:p>
          <a:p>
            <a:pPr lvl="1">
              <a:lnSpc>
                <a:spcPct val="150000"/>
              </a:lnSpc>
              <a:buFont typeface="Courier New"/>
              <a:buChar char="o"/>
            </a:pPr>
            <a:r>
              <a:rPr lang="en-US" sz="1300" b="1" dirty="0"/>
              <a:t>Description</a:t>
            </a:r>
            <a:r>
              <a:rPr lang="en-US" sz="1300" dirty="0"/>
              <a:t>: Training users and managing the transition to </a:t>
            </a:r>
            <a:r>
              <a:rPr lang="en-US" sz="1300" dirty="0" err="1"/>
              <a:t>Polarion</a:t>
            </a:r>
            <a:r>
              <a:rPr lang="en-US" sz="1300" dirty="0"/>
              <a:t>.</a:t>
            </a:r>
          </a:p>
          <a:p>
            <a:pPr lvl="1">
              <a:lnSpc>
                <a:spcPct val="150000"/>
              </a:lnSpc>
              <a:buFont typeface="Courier New"/>
              <a:buChar char="o"/>
            </a:pPr>
            <a:r>
              <a:rPr lang="en-US" sz="1300" b="1" dirty="0"/>
              <a:t>Control</a:t>
            </a:r>
            <a:r>
              <a:rPr lang="en-US" sz="1300" dirty="0"/>
              <a:t>: Start training early and engage key stakeholders.</a:t>
            </a:r>
          </a:p>
          <a:p>
            <a:pPr marL="0" indent="0">
              <a:lnSpc>
                <a:spcPct val="150000"/>
              </a:lnSpc>
              <a:buNone/>
            </a:pPr>
            <a:endParaRPr lang="en-US" sz="1300" b="1" dirty="0"/>
          </a:p>
          <a:p>
            <a:pPr>
              <a:lnSpc>
                <a:spcPct val="150000"/>
              </a:lnSpc>
            </a:pPr>
            <a:endParaRPr lang="en-US" sz="1300" b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0B94B2-BE2B-DF78-C4E2-FF57B07029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15530"/>
            <a:ext cx="8892754" cy="856806"/>
          </a:xfrm>
        </p:spPr>
        <p:txBody>
          <a:bodyPr>
            <a:normAutofit/>
          </a:bodyPr>
          <a:lstStyle/>
          <a:p>
            <a:r>
              <a:rPr lang="en-IN" dirty="0">
                <a:latin typeface="Montserrat SemiBold"/>
              </a:rPr>
              <a:t>Aspect to consider while Drafting timelin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B246A9C-BAC3-054C-416B-B77A0E80CE28}"/>
              </a:ext>
            </a:extLst>
          </p:cNvPr>
          <p:cNvSpPr/>
          <p:nvPr/>
        </p:nvSpPr>
        <p:spPr>
          <a:xfrm>
            <a:off x="8517698" y="254635"/>
            <a:ext cx="3169085" cy="8705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High lvl vor dem 1. topic</a:t>
            </a:r>
          </a:p>
        </p:txBody>
      </p:sp>
    </p:spTree>
    <p:extLst>
      <p:ext uri="{BB962C8B-B14F-4D97-AF65-F5344CB8AC3E}">
        <p14:creationId xmlns:p14="http://schemas.microsoft.com/office/powerpoint/2010/main" val="417343243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99C5AC0-2FC8-346E-5AC8-CD02AB050C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132" y="1079597"/>
            <a:ext cx="10712668" cy="5794522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50000"/>
              </a:lnSpc>
              <a:buFont typeface="Arial,Sans-Serif" panose="020B0604020202020204" pitchFamily="34" charset="0"/>
            </a:pPr>
            <a:r>
              <a:rPr lang="en-US" sz="1200" b="1" dirty="0">
                <a:latin typeface="Montserrat"/>
              </a:rPr>
              <a:t>Testing and Quality Assurance</a:t>
            </a:r>
            <a:endParaRPr lang="en-US" sz="1200" dirty="0">
              <a:latin typeface="Montserrat"/>
            </a:endParaRPr>
          </a:p>
          <a:p>
            <a:pPr lvl="1">
              <a:lnSpc>
                <a:spcPct val="150000"/>
              </a:lnSpc>
              <a:buFont typeface="Courier New,monospace" panose="020B0604020202020204" pitchFamily="34" charset="0"/>
              <a:buChar char="o"/>
            </a:pPr>
            <a:r>
              <a:rPr lang="en-US" sz="1200" b="1" dirty="0">
                <a:latin typeface="Montserrat"/>
              </a:rPr>
              <a:t>Description</a:t>
            </a:r>
            <a:r>
              <a:rPr lang="en-US" sz="1200" dirty="0">
                <a:latin typeface="Montserrat"/>
              </a:rPr>
              <a:t>: Ensuring workflows and customizations function correctly.</a:t>
            </a:r>
          </a:p>
          <a:p>
            <a:pPr lvl="1">
              <a:lnSpc>
                <a:spcPct val="150000"/>
              </a:lnSpc>
              <a:buFont typeface="Courier New,monospace" panose="020B0604020202020204" pitchFamily="34" charset="0"/>
              <a:buChar char="o"/>
            </a:pPr>
            <a:r>
              <a:rPr lang="en-US" sz="1200" b="1" dirty="0">
                <a:latin typeface="Montserrat"/>
              </a:rPr>
              <a:t>Control</a:t>
            </a:r>
            <a:r>
              <a:rPr lang="en-US" sz="1200" dirty="0">
                <a:latin typeface="Montserrat"/>
              </a:rPr>
              <a:t>: Implement continuous testing and use staging environments.</a:t>
            </a:r>
          </a:p>
          <a:p>
            <a:pPr marL="0" indent="0">
              <a:lnSpc>
                <a:spcPct val="150000"/>
              </a:lnSpc>
              <a:buNone/>
            </a:pPr>
            <a:endParaRPr lang="en-US" sz="1400" dirty="0">
              <a:latin typeface="Montserrat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sz="1300" b="1" dirty="0">
                <a:latin typeface="Montserrat"/>
              </a:rPr>
              <a:t>Summary Table</a:t>
            </a:r>
          </a:p>
          <a:p>
            <a:pPr marL="0" indent="0">
              <a:lnSpc>
                <a:spcPct val="150000"/>
              </a:lnSpc>
              <a:buNone/>
            </a:pPr>
            <a:endParaRPr lang="en-US" sz="1300" b="1" dirty="0">
              <a:latin typeface="Montserra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0B94B2-BE2B-DF78-C4E2-FF57B07029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15530"/>
            <a:ext cx="8892754" cy="856806"/>
          </a:xfrm>
        </p:spPr>
        <p:txBody>
          <a:bodyPr>
            <a:normAutofit/>
          </a:bodyPr>
          <a:lstStyle/>
          <a:p>
            <a:r>
              <a:rPr lang="en-IN">
                <a:latin typeface="Montserrat SemiBold"/>
              </a:rPr>
              <a:t>Timeline To </a:t>
            </a:r>
            <a:r>
              <a:rPr lang="en-IN" err="1">
                <a:latin typeface="Montserrat SemiBold"/>
              </a:rPr>
              <a:t>Polarion</a:t>
            </a:r>
            <a:endParaRPr lang="en-US" err="1"/>
          </a:p>
        </p:txBody>
      </p:sp>
      <p:pic>
        <p:nvPicPr>
          <p:cNvPr id="4" name="Picture 3" descr="A screenshot of a control measures&#10;&#10;Description automatically generated">
            <a:extLst>
              <a:ext uri="{FF2B5EF4-FFF2-40B4-BE49-F238E27FC236}">
                <a16:creationId xmlns:a16="http://schemas.microsoft.com/office/drawing/2014/main" id="{50C05642-CBD4-92A5-D29F-01022B0C57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0620" y="2909616"/>
            <a:ext cx="11351173" cy="216862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C94D149-D922-1396-C108-B7FA42738A7B}"/>
              </a:ext>
            </a:extLst>
          </p:cNvPr>
          <p:cNvSpPr/>
          <p:nvPr/>
        </p:nvSpPr>
        <p:spPr>
          <a:xfrm>
            <a:off x="8517698" y="254635"/>
            <a:ext cx="3169085" cy="8705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High lvl vor dem 1. topic</a:t>
            </a:r>
          </a:p>
        </p:txBody>
      </p:sp>
    </p:spTree>
    <p:extLst>
      <p:ext uri="{BB962C8B-B14F-4D97-AF65-F5344CB8AC3E}">
        <p14:creationId xmlns:p14="http://schemas.microsoft.com/office/powerpoint/2010/main" val="113085408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tangle 81">
            <a:extLst>
              <a:ext uri="{FF2B5EF4-FFF2-40B4-BE49-F238E27FC236}">
                <a16:creationId xmlns:a16="http://schemas.microsoft.com/office/drawing/2014/main" id="{E1AC7607-1A5A-44C3-8EB8-E349A8699716}"/>
              </a:ext>
            </a:extLst>
          </p:cNvPr>
          <p:cNvSpPr/>
          <p:nvPr/>
        </p:nvSpPr>
        <p:spPr>
          <a:xfrm>
            <a:off x="515821" y="1925659"/>
            <a:ext cx="11087427" cy="342086"/>
          </a:xfrm>
          <a:prstGeom prst="rect">
            <a:avLst/>
          </a:prstGeom>
          <a:solidFill>
            <a:srgbClr val="06385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67" b="1" dirty="0">
                <a:solidFill>
                  <a:schemeClr val="bg1"/>
                </a:solidFill>
              </a:rPr>
              <a:t>Time</a:t>
            </a:r>
          </a:p>
        </p:txBody>
      </p:sp>
      <p:sp>
        <p:nvSpPr>
          <p:cNvPr id="94" name="Rounded Rectangle 41">
            <a:extLst>
              <a:ext uri="{FF2B5EF4-FFF2-40B4-BE49-F238E27FC236}">
                <a16:creationId xmlns:a16="http://schemas.microsoft.com/office/drawing/2014/main" id="{568EF6D0-5559-4EC2-9E22-8342F9AAD560}"/>
              </a:ext>
            </a:extLst>
          </p:cNvPr>
          <p:cNvSpPr/>
          <p:nvPr/>
        </p:nvSpPr>
        <p:spPr>
          <a:xfrm>
            <a:off x="515821" y="2460794"/>
            <a:ext cx="1211379" cy="289885"/>
          </a:xfrm>
          <a:prstGeom prst="rect">
            <a:avLst/>
          </a:prstGeom>
          <a:solidFill>
            <a:srgbClr val="00D0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>
                <a:latin typeface="Montserrat" panose="00000500000000000000" pitchFamily="50" charset="0"/>
              </a:rPr>
              <a:t>Scope</a:t>
            </a:r>
          </a:p>
        </p:txBody>
      </p:sp>
      <p:sp>
        <p:nvSpPr>
          <p:cNvPr id="95" name="Rounded Rectangle 42">
            <a:extLst>
              <a:ext uri="{FF2B5EF4-FFF2-40B4-BE49-F238E27FC236}">
                <a16:creationId xmlns:a16="http://schemas.microsoft.com/office/drawing/2014/main" id="{D0D13451-8E34-46B1-AB30-A66E47C29439}"/>
              </a:ext>
            </a:extLst>
          </p:cNvPr>
          <p:cNvSpPr/>
          <p:nvPr/>
        </p:nvSpPr>
        <p:spPr>
          <a:xfrm>
            <a:off x="1451126" y="4743216"/>
            <a:ext cx="3711813" cy="289885"/>
          </a:xfrm>
          <a:prstGeom prst="rect">
            <a:avLst/>
          </a:prstGeom>
          <a:solidFill>
            <a:srgbClr val="5C8E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>
                <a:latin typeface="Montserrat" panose="00000500000000000000" pitchFamily="50" charset="0"/>
              </a:rPr>
              <a:t>Sample Task 2</a:t>
            </a:r>
          </a:p>
        </p:txBody>
      </p:sp>
      <p:sp>
        <p:nvSpPr>
          <p:cNvPr id="96" name="Rounded Rectangle 43">
            <a:extLst>
              <a:ext uri="{FF2B5EF4-FFF2-40B4-BE49-F238E27FC236}">
                <a16:creationId xmlns:a16="http://schemas.microsoft.com/office/drawing/2014/main" id="{D406DF64-6238-4FFA-985F-1340C5162A70}"/>
              </a:ext>
            </a:extLst>
          </p:cNvPr>
          <p:cNvSpPr/>
          <p:nvPr/>
        </p:nvSpPr>
        <p:spPr>
          <a:xfrm>
            <a:off x="3300908" y="5092548"/>
            <a:ext cx="2328931" cy="289885"/>
          </a:xfrm>
          <a:prstGeom prst="rect">
            <a:avLst/>
          </a:prstGeom>
          <a:solidFill>
            <a:srgbClr val="686C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>
                <a:latin typeface="Montserrat" panose="00000500000000000000" pitchFamily="50" charset="0"/>
              </a:rPr>
              <a:t>Sample Task Description 3</a:t>
            </a:r>
          </a:p>
        </p:txBody>
      </p:sp>
      <p:sp>
        <p:nvSpPr>
          <p:cNvPr id="97" name="Rounded Rectangle 44">
            <a:extLst>
              <a:ext uri="{FF2B5EF4-FFF2-40B4-BE49-F238E27FC236}">
                <a16:creationId xmlns:a16="http://schemas.microsoft.com/office/drawing/2014/main" id="{807B47C3-2EF2-4FD0-A3E6-FE2642D2C513}"/>
              </a:ext>
            </a:extLst>
          </p:cNvPr>
          <p:cNvSpPr/>
          <p:nvPr/>
        </p:nvSpPr>
        <p:spPr>
          <a:xfrm>
            <a:off x="4978409" y="5441880"/>
            <a:ext cx="2978979" cy="289885"/>
          </a:xfrm>
          <a:prstGeom prst="rect">
            <a:avLst/>
          </a:prstGeom>
          <a:solidFill>
            <a:srgbClr val="084A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>
                <a:latin typeface="Montserrat" panose="00000500000000000000" pitchFamily="50" charset="0"/>
              </a:rPr>
              <a:t>Sample Task Description 4</a:t>
            </a:r>
          </a:p>
        </p:txBody>
      </p:sp>
      <p:sp>
        <p:nvSpPr>
          <p:cNvPr id="98" name="Rounded Rectangle 45">
            <a:extLst>
              <a:ext uri="{FF2B5EF4-FFF2-40B4-BE49-F238E27FC236}">
                <a16:creationId xmlns:a16="http://schemas.microsoft.com/office/drawing/2014/main" id="{0F978FD8-5CD9-44F2-B926-69EE6994D7F1}"/>
              </a:ext>
            </a:extLst>
          </p:cNvPr>
          <p:cNvSpPr/>
          <p:nvPr/>
        </p:nvSpPr>
        <p:spPr>
          <a:xfrm>
            <a:off x="7950817" y="5791211"/>
            <a:ext cx="2789473" cy="289885"/>
          </a:xfrm>
          <a:prstGeom prst="rect">
            <a:avLst/>
          </a:prstGeom>
          <a:solidFill>
            <a:srgbClr val="0E7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>
                <a:latin typeface="Montserrat" panose="00000500000000000000" pitchFamily="50" charset="0"/>
              </a:rPr>
              <a:t>Sample Task 5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E3A80B1E-C117-45AC-BA03-F12AC1683083}"/>
              </a:ext>
            </a:extLst>
          </p:cNvPr>
          <p:cNvSpPr txBox="1"/>
          <p:nvPr/>
        </p:nvSpPr>
        <p:spPr>
          <a:xfrm>
            <a:off x="5273600" y="4811214"/>
            <a:ext cx="1391691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000" dirty="0">
                <a:solidFill>
                  <a:srgbClr val="063853"/>
                </a:solidFill>
                <a:latin typeface="Montserrat" panose="00000500000000000000" pitchFamily="50" charset="0"/>
              </a:rPr>
              <a:t>Start / End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5D38FCCC-C093-4281-8A7D-D384B5AB6BEA}"/>
              </a:ext>
            </a:extLst>
          </p:cNvPr>
          <p:cNvSpPr txBox="1"/>
          <p:nvPr/>
        </p:nvSpPr>
        <p:spPr>
          <a:xfrm>
            <a:off x="5725173" y="5160546"/>
            <a:ext cx="1391691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000" dirty="0">
                <a:solidFill>
                  <a:srgbClr val="063853"/>
                </a:solidFill>
                <a:latin typeface="Montserrat" panose="00000500000000000000" pitchFamily="50" charset="0"/>
              </a:rPr>
              <a:t>Start / End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B65D098D-B995-4FE5-935B-ECCE96995432}"/>
              </a:ext>
            </a:extLst>
          </p:cNvPr>
          <p:cNvSpPr txBox="1"/>
          <p:nvPr/>
        </p:nvSpPr>
        <p:spPr>
          <a:xfrm>
            <a:off x="8060961" y="5509878"/>
            <a:ext cx="1391691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000" dirty="0">
                <a:solidFill>
                  <a:srgbClr val="063853"/>
                </a:solidFill>
                <a:latin typeface="Montserrat" panose="00000500000000000000" pitchFamily="50" charset="0"/>
              </a:rPr>
              <a:t>Start / End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4B600AAD-2BA4-4F7F-83B4-D090264B0148}"/>
              </a:ext>
            </a:extLst>
          </p:cNvPr>
          <p:cNvSpPr txBox="1"/>
          <p:nvPr/>
        </p:nvSpPr>
        <p:spPr>
          <a:xfrm>
            <a:off x="10847405" y="5859209"/>
            <a:ext cx="1391691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000" dirty="0">
                <a:solidFill>
                  <a:srgbClr val="063853"/>
                </a:solidFill>
                <a:latin typeface="Montserrat" panose="00000500000000000000" pitchFamily="50" charset="0"/>
              </a:rPr>
              <a:t>Start / End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D21AC6CD-8695-4221-AD68-AA947D8A0665}"/>
              </a:ext>
            </a:extLst>
          </p:cNvPr>
          <p:cNvSpPr txBox="1"/>
          <p:nvPr/>
        </p:nvSpPr>
        <p:spPr>
          <a:xfrm>
            <a:off x="1177203" y="1528802"/>
            <a:ext cx="1112611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b="1" dirty="0">
                <a:solidFill>
                  <a:srgbClr val="063853"/>
                </a:solidFill>
                <a:latin typeface="Montserrat" panose="00000500000000000000" pitchFamily="50" charset="0"/>
              </a:rPr>
              <a:t>Preparation</a:t>
            </a:r>
          </a:p>
        </p:txBody>
      </p:sp>
      <p:sp>
        <p:nvSpPr>
          <p:cNvPr id="105" name="Isosceles Triangle 104">
            <a:extLst>
              <a:ext uri="{FF2B5EF4-FFF2-40B4-BE49-F238E27FC236}">
                <a16:creationId xmlns:a16="http://schemas.microsoft.com/office/drawing/2014/main" id="{7E6D7F9D-47FB-41CD-A14C-B894466BC077}"/>
              </a:ext>
            </a:extLst>
          </p:cNvPr>
          <p:cNvSpPr/>
          <p:nvPr/>
        </p:nvSpPr>
        <p:spPr>
          <a:xfrm flipV="1">
            <a:off x="1614254" y="1717375"/>
            <a:ext cx="238509" cy="208283"/>
          </a:xfrm>
          <a:prstGeom prst="triangle">
            <a:avLst/>
          </a:prstGeom>
          <a:solidFill>
            <a:srgbClr val="00D0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E746C594-CD52-4F05-844B-5FD37CE0C774}"/>
              </a:ext>
            </a:extLst>
          </p:cNvPr>
          <p:cNvSpPr txBox="1"/>
          <p:nvPr/>
        </p:nvSpPr>
        <p:spPr>
          <a:xfrm>
            <a:off x="4273109" y="1457961"/>
            <a:ext cx="179156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b="1" dirty="0" err="1">
                <a:solidFill>
                  <a:srgbClr val="063853"/>
                </a:solidFill>
                <a:latin typeface="Montserrat" panose="00000500000000000000" pitchFamily="50" charset="0"/>
              </a:rPr>
              <a:t>abc</a:t>
            </a:r>
            <a:endParaRPr lang="en-US" sz="1200" b="1" dirty="0">
              <a:solidFill>
                <a:srgbClr val="063853"/>
              </a:solidFill>
              <a:latin typeface="Montserrat" panose="00000500000000000000" pitchFamily="50" charset="0"/>
            </a:endParaRPr>
          </a:p>
        </p:txBody>
      </p:sp>
      <p:sp>
        <p:nvSpPr>
          <p:cNvPr id="107" name="Isosceles Triangle 106">
            <a:extLst>
              <a:ext uri="{FF2B5EF4-FFF2-40B4-BE49-F238E27FC236}">
                <a16:creationId xmlns:a16="http://schemas.microsoft.com/office/drawing/2014/main" id="{4904158B-4A87-4C16-B49E-DCEB28E763E6}"/>
              </a:ext>
            </a:extLst>
          </p:cNvPr>
          <p:cNvSpPr/>
          <p:nvPr/>
        </p:nvSpPr>
        <p:spPr>
          <a:xfrm flipV="1">
            <a:off x="5041400" y="1717375"/>
            <a:ext cx="238509" cy="208283"/>
          </a:xfrm>
          <a:prstGeom prst="triangle">
            <a:avLst/>
          </a:prstGeom>
          <a:solidFill>
            <a:srgbClr val="686C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8" name="Isosceles Triangle 107">
            <a:extLst>
              <a:ext uri="{FF2B5EF4-FFF2-40B4-BE49-F238E27FC236}">
                <a16:creationId xmlns:a16="http://schemas.microsoft.com/office/drawing/2014/main" id="{23923A9A-85D1-4258-A513-54C9A7AC5F0C}"/>
              </a:ext>
            </a:extLst>
          </p:cNvPr>
          <p:cNvSpPr/>
          <p:nvPr/>
        </p:nvSpPr>
        <p:spPr>
          <a:xfrm flipV="1">
            <a:off x="7831947" y="1717375"/>
            <a:ext cx="238509" cy="208283"/>
          </a:xfrm>
          <a:prstGeom prst="triangle">
            <a:avLst/>
          </a:prstGeom>
          <a:solidFill>
            <a:srgbClr val="0E7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2FA1CC28-1F88-44BF-AFC0-0A8204DE9945}"/>
              </a:ext>
            </a:extLst>
          </p:cNvPr>
          <p:cNvSpPr txBox="1"/>
          <p:nvPr/>
        </p:nvSpPr>
        <p:spPr>
          <a:xfrm>
            <a:off x="7052244" y="1457961"/>
            <a:ext cx="179156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b="1" dirty="0">
                <a:solidFill>
                  <a:srgbClr val="063853"/>
                </a:solidFill>
                <a:latin typeface="Montserrat" panose="00000500000000000000" pitchFamily="50" charset="0"/>
              </a:rPr>
              <a:t>Milestone</a:t>
            </a:r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C73D5DF-405A-4BE1-8203-31FEA9768892}"/>
              </a:ext>
            </a:extLst>
          </p:cNvPr>
          <p:cNvGrpSpPr/>
          <p:nvPr/>
        </p:nvGrpSpPr>
        <p:grpSpPr>
          <a:xfrm>
            <a:off x="11595393" y="611987"/>
            <a:ext cx="628361" cy="1208463"/>
            <a:chOff x="4794708" y="1193884"/>
            <a:chExt cx="471271" cy="906347"/>
          </a:xfrm>
        </p:grpSpPr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32BAEDB5-F56A-45EB-824A-6D355A2E12AD}"/>
                </a:ext>
              </a:extLst>
            </p:cNvPr>
            <p:cNvGrpSpPr/>
            <p:nvPr/>
          </p:nvGrpSpPr>
          <p:grpSpPr>
            <a:xfrm>
              <a:off x="4794708" y="1193884"/>
              <a:ext cx="240232" cy="906347"/>
              <a:chOff x="4794708" y="1193884"/>
              <a:chExt cx="240232" cy="906347"/>
            </a:xfrm>
          </p:grpSpPr>
          <p:sp>
            <p:nvSpPr>
              <p:cNvPr id="114" name="Freeform 34">
                <a:extLst>
                  <a:ext uri="{FF2B5EF4-FFF2-40B4-BE49-F238E27FC236}">
                    <a16:creationId xmlns:a16="http://schemas.microsoft.com/office/drawing/2014/main" id="{56640CF1-DB4F-41A6-BABB-DE8AD4AA466F}"/>
                  </a:ext>
                </a:extLst>
              </p:cNvPr>
              <p:cNvSpPr/>
              <p:nvPr/>
            </p:nvSpPr>
            <p:spPr>
              <a:xfrm flipH="1" flipV="1">
                <a:off x="4800599" y="1193884"/>
                <a:ext cx="234341" cy="192516"/>
              </a:xfrm>
              <a:custGeom>
                <a:avLst/>
                <a:gdLst>
                  <a:gd name="connsiteX0" fmla="*/ 203201 w 203201"/>
                  <a:gd name="connsiteY0" fmla="*/ 192516 h 192516"/>
                  <a:gd name="connsiteX1" fmla="*/ 129568 w 203201"/>
                  <a:gd name="connsiteY1" fmla="*/ 192516 h 192516"/>
                  <a:gd name="connsiteX2" fmla="*/ 108351 w 203201"/>
                  <a:gd name="connsiteY2" fmla="*/ 192516 h 192516"/>
                  <a:gd name="connsiteX3" fmla="*/ 0 w 203201"/>
                  <a:gd name="connsiteY3" fmla="*/ 192516 h 192516"/>
                  <a:gd name="connsiteX4" fmla="*/ 70857 w 203201"/>
                  <a:gd name="connsiteY4" fmla="*/ 96258 h 192516"/>
                  <a:gd name="connsiteX5" fmla="*/ 0 w 203201"/>
                  <a:gd name="connsiteY5" fmla="*/ 0 h 192516"/>
                  <a:gd name="connsiteX6" fmla="*/ 108351 w 203201"/>
                  <a:gd name="connsiteY6" fmla="*/ 0 h 192516"/>
                  <a:gd name="connsiteX7" fmla="*/ 129568 w 203201"/>
                  <a:gd name="connsiteY7" fmla="*/ 0 h 192516"/>
                  <a:gd name="connsiteX8" fmla="*/ 203201 w 203201"/>
                  <a:gd name="connsiteY8" fmla="*/ 0 h 192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3201" h="192516">
                    <a:moveTo>
                      <a:pt x="203201" y="192516"/>
                    </a:moveTo>
                    <a:lnTo>
                      <a:pt x="129568" y="192516"/>
                    </a:lnTo>
                    <a:lnTo>
                      <a:pt x="108351" y="192516"/>
                    </a:lnTo>
                    <a:lnTo>
                      <a:pt x="0" y="192516"/>
                    </a:lnTo>
                    <a:lnTo>
                      <a:pt x="70857" y="96258"/>
                    </a:lnTo>
                    <a:lnTo>
                      <a:pt x="0" y="0"/>
                    </a:lnTo>
                    <a:lnTo>
                      <a:pt x="108351" y="0"/>
                    </a:lnTo>
                    <a:lnTo>
                      <a:pt x="129568" y="0"/>
                    </a:lnTo>
                    <a:lnTo>
                      <a:pt x="203201" y="0"/>
                    </a:lnTo>
                    <a:close/>
                  </a:path>
                </a:pathLst>
              </a:custGeom>
              <a:solidFill>
                <a:srgbClr val="EFDA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200">
                  <a:solidFill>
                    <a:srgbClr val="063853"/>
                  </a:solidFill>
                  <a:latin typeface="Montserrat" panose="00000500000000000000" pitchFamily="50" charset="0"/>
                </a:endParaRPr>
              </a:p>
            </p:txBody>
          </p: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951D1584-C75C-400A-9F3A-919522491BE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794708" y="1193884"/>
                <a:ext cx="0" cy="906347"/>
              </a:xfrm>
              <a:prstGeom prst="line">
                <a:avLst/>
              </a:prstGeom>
              <a:ln w="12700">
                <a:solidFill>
                  <a:srgbClr val="063853"/>
                </a:solidFill>
                <a:headEnd type="none" w="med" len="med"/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D13EBD91-EDDC-4AEE-B8DD-70BBCCEE94D2}"/>
                </a:ext>
              </a:extLst>
            </p:cNvPr>
            <p:cNvSpPr txBox="1"/>
            <p:nvPr/>
          </p:nvSpPr>
          <p:spPr>
            <a:xfrm>
              <a:off x="5094812" y="1226098"/>
              <a:ext cx="171167" cy="11541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endParaRPr lang="en-US" sz="1200">
                <a:solidFill>
                  <a:srgbClr val="063853"/>
                </a:solidFill>
                <a:latin typeface="Montserrat" panose="00000500000000000000" pitchFamily="50" charset="0"/>
              </a:endParaRP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D0B868D0-0B6E-985C-DBD7-76C0CC7128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solidFill>
                  <a:srgbClr val="063853"/>
                </a:solidFill>
                <a:latin typeface="Montserrat SemiBold" panose="00000700000000000000" pitchFamily="2" charset="0"/>
                <a:ea typeface="Roboto" panose="02000000000000000000" pitchFamily="2" charset="0"/>
              </a:rPr>
              <a:t>Project Timeline – 6 Months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254B4C7-0136-E547-DF2E-F26A7778E3B6}"/>
              </a:ext>
            </a:extLst>
          </p:cNvPr>
          <p:cNvSpPr txBox="1"/>
          <p:nvPr/>
        </p:nvSpPr>
        <p:spPr>
          <a:xfrm>
            <a:off x="422509" y="2804977"/>
            <a:ext cx="150938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Define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Scop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Timeli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/>
              <a:t>Milestones </a:t>
            </a:r>
          </a:p>
        </p:txBody>
      </p:sp>
    </p:spTree>
    <p:extLst>
      <p:ext uri="{BB962C8B-B14F-4D97-AF65-F5344CB8AC3E}">
        <p14:creationId xmlns:p14="http://schemas.microsoft.com/office/powerpoint/2010/main" val="308310227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E757CB1F-64C9-C901-2BCF-93611D0BD2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610334D-E723-424D-AFE3-F528702B28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 b="1" dirty="0"/>
              <a:t>Cloud</a:t>
            </a:r>
            <a:r>
              <a:rPr lang="en-US" sz="1300" dirty="0"/>
              <a:t> (AWS, Azure): Offers flexibility, scalability, and lower maintenance, with automated backups and easier scaling.</a:t>
            </a: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sz="1300" b="1" dirty="0"/>
              <a:t>On-premise</a:t>
            </a:r>
            <a:r>
              <a:rPr lang="en-US" sz="1300" dirty="0"/>
              <a:t>: Offers more control over security and customization but requires dedicated IT resources to manage.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0A7935E-E7A5-CB35-888C-1975E8822C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/>
              <a:t>Cloud vs. On-Premise</a:t>
            </a:r>
            <a:endParaRPr lang="en-US" dirty="0"/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977E1EF5-DA91-D6AC-E7D6-C7F6A4F55042}"/>
              </a:ext>
            </a:extLst>
          </p:cNvPr>
          <p:cNvGraphicFramePr>
            <a:graphicFrameLocks noGrp="1"/>
          </p:cNvGraphicFramePr>
          <p:nvPr/>
        </p:nvGraphicFramePr>
        <p:xfrm>
          <a:off x="838200" y="2261937"/>
          <a:ext cx="10515601" cy="44525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22987">
                  <a:extLst>
                    <a:ext uri="{9D8B030D-6E8A-4147-A177-3AD203B41FA5}">
                      <a16:colId xmlns:a16="http://schemas.microsoft.com/office/drawing/2014/main" val="1662723419"/>
                    </a:ext>
                  </a:extLst>
                </a:gridCol>
                <a:gridCol w="4246307">
                  <a:extLst>
                    <a:ext uri="{9D8B030D-6E8A-4147-A177-3AD203B41FA5}">
                      <a16:colId xmlns:a16="http://schemas.microsoft.com/office/drawing/2014/main" val="1987853307"/>
                    </a:ext>
                  </a:extLst>
                </a:gridCol>
                <a:gridCol w="4246307">
                  <a:extLst>
                    <a:ext uri="{9D8B030D-6E8A-4147-A177-3AD203B41FA5}">
                      <a16:colId xmlns:a16="http://schemas.microsoft.com/office/drawing/2014/main" val="2184243561"/>
                    </a:ext>
                  </a:extLst>
                </a:gridCol>
              </a:tblGrid>
              <a:tr h="492956">
                <a:tc>
                  <a:txBody>
                    <a:bodyPr/>
                    <a:lstStyle/>
                    <a:p>
                      <a:r>
                        <a:rPr lang="en-US" sz="1800" dirty="0"/>
                        <a:t>Feature</a:t>
                      </a:r>
                    </a:p>
                  </a:txBody>
                  <a:tcPr anchor="ctr">
                    <a:solidFill>
                      <a:srgbClr val="0D73AB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/>
                        <a:t>Polarion Cloud</a:t>
                      </a:r>
                    </a:p>
                  </a:txBody>
                  <a:tcPr anchor="ctr">
                    <a:solidFill>
                      <a:srgbClr val="0D73AB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/>
                        <a:t>Polarion On-Premise</a:t>
                      </a:r>
                    </a:p>
                  </a:txBody>
                  <a:tcPr anchor="ctr">
                    <a:solidFill>
                      <a:srgbClr val="0D73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128378"/>
                  </a:ext>
                </a:extLst>
              </a:tr>
              <a:tr h="4929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Maintenance and Update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Managed by provider, with automatic updates and patches</a:t>
                      </a:r>
                    </a:p>
                    <a:p>
                      <a:pPr algn="l"/>
                      <a:endParaRPr lang="en-US" sz="12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Requires internal team for updates, patches, and maintenance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092466"/>
                  </a:ext>
                </a:extLst>
              </a:tr>
              <a:tr h="492956">
                <a:tc>
                  <a:txBody>
                    <a:bodyPr/>
                    <a:lstStyle/>
                    <a:p>
                      <a:r>
                        <a:rPr lang="en-US" sz="1200"/>
                        <a:t>Infrastructure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Hosted on the cloud, reducing hardware costs</a:t>
                      </a:r>
                    </a:p>
                    <a:p>
                      <a:pPr algn="l"/>
                      <a:endParaRPr lang="en-US" sz="12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Requires internal servers and hardware, increasing setup cost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4453171"/>
                  </a:ext>
                </a:extLst>
              </a:tr>
              <a:tr h="526720">
                <a:tc>
                  <a:txBody>
                    <a:bodyPr/>
                    <a:lstStyle/>
                    <a:p>
                      <a:r>
                        <a:rPr lang="en-US" sz="1200"/>
                        <a:t>Scalability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Easily scalable to meet business needs</a:t>
                      </a:r>
                    </a:p>
                    <a:p>
                      <a:pPr algn="l"/>
                      <a:endParaRPr lang="en-US" sz="12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Dependent on internal resources, may need hardware upgrade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0391024"/>
                  </a:ext>
                </a:extLst>
              </a:tr>
              <a:tr h="492956">
                <a:tc>
                  <a:txBody>
                    <a:bodyPr/>
                    <a:lstStyle/>
                    <a:p>
                      <a:r>
                        <a:rPr lang="en-US" sz="1200"/>
                        <a:t>Acces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Accessible from anywhere with internet</a:t>
                      </a:r>
                    </a:p>
                    <a:p>
                      <a:pPr algn="l"/>
                      <a:endParaRPr lang="en-US" sz="12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May have restricted remote access due to security policie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6477780"/>
                  </a:ext>
                </a:extLst>
              </a:tr>
              <a:tr h="526720">
                <a:tc>
                  <a:txBody>
                    <a:bodyPr/>
                    <a:lstStyle/>
                    <a:p>
                      <a:r>
                        <a:rPr lang="en-US" sz="1200"/>
                        <a:t>Security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High security managed by provider</a:t>
                      </a:r>
                    </a:p>
                    <a:p>
                      <a:pPr algn="l"/>
                      <a:endParaRPr lang="en-US" sz="12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Full control over security measures, aligning with internal standard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3876169"/>
                  </a:ext>
                </a:extLst>
              </a:tr>
              <a:tr h="526720">
                <a:tc>
                  <a:txBody>
                    <a:bodyPr/>
                    <a:lstStyle/>
                    <a:p>
                      <a:r>
                        <a:rPr lang="en-US" sz="1200"/>
                        <a:t>Backup and Recovery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Automated backups and disaster recovery handled by provider</a:t>
                      </a:r>
                    </a:p>
                    <a:p>
                      <a:pPr algn="l"/>
                      <a:endParaRPr lang="en-US" sz="12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Backup and recovery managed internally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6280535"/>
                  </a:ext>
                </a:extLst>
              </a:tr>
              <a:tr h="526720">
                <a:tc>
                  <a:txBody>
                    <a:bodyPr/>
                    <a:lstStyle/>
                    <a:p>
                      <a:r>
                        <a:rPr lang="en-US" sz="1200"/>
                        <a:t>Integration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Limited flexibility for some on-premise or legacy tool integrations</a:t>
                      </a:r>
                    </a:p>
                    <a:p>
                      <a:pPr algn="l"/>
                      <a:endParaRPr lang="en-US" sz="12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Greater flexibility for integrating with existing on-premise system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70650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07729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3297D2C-7C4F-2AC6-503A-728491D5B4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4033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297D2C-7C4F-2AC6-503A-728491D5B4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val 6"/>
          <p:cNvSpPr/>
          <p:nvPr/>
        </p:nvSpPr>
        <p:spPr>
          <a:xfrm>
            <a:off x="761898" y="1470945"/>
            <a:ext cx="914400" cy="914400"/>
          </a:xfrm>
          <a:prstGeom prst="ellipse">
            <a:avLst/>
          </a:prstGeom>
          <a:solidFill>
            <a:srgbClr val="00D0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761898" y="2780617"/>
            <a:ext cx="914400" cy="914400"/>
          </a:xfrm>
          <a:prstGeom prst="ellipse">
            <a:avLst/>
          </a:prstGeom>
          <a:solidFill>
            <a:srgbClr val="5C8E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761898" y="5383626"/>
            <a:ext cx="914400" cy="914400"/>
          </a:xfrm>
          <a:prstGeom prst="ellipse">
            <a:avLst/>
          </a:prstGeom>
          <a:solidFill>
            <a:srgbClr val="084A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/>
          <p:cNvSpPr/>
          <p:nvPr/>
        </p:nvSpPr>
        <p:spPr>
          <a:xfrm>
            <a:off x="761898" y="4077383"/>
            <a:ext cx="914400" cy="914400"/>
          </a:xfrm>
          <a:prstGeom prst="ellipse">
            <a:avLst/>
          </a:prstGeom>
          <a:solidFill>
            <a:srgbClr val="686C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/>
          <p:cNvSpPr/>
          <p:nvPr/>
        </p:nvSpPr>
        <p:spPr>
          <a:xfrm>
            <a:off x="1756218" y="1388145"/>
            <a:ext cx="4055764" cy="1220462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00" b="1" dirty="0">
                <a:latin typeface="Montserrat" panose="00000500000000000000" pitchFamily="2" charset="0"/>
              </a:rPr>
              <a:t>Server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000" b="1" dirty="0">
                <a:latin typeface="Montserrat" panose="00000500000000000000" pitchFamily="2" charset="0"/>
              </a:rPr>
              <a:t>Operating System:</a:t>
            </a:r>
            <a:r>
              <a:rPr lang="en-US" sz="1000" dirty="0">
                <a:latin typeface="Montserrat" panose="00000500000000000000" pitchFamily="2" charset="0"/>
              </a:rPr>
              <a:t> e.g. Linux (RHEL, Ubuntu) / Windows.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000" b="1" dirty="0">
                <a:latin typeface="Montserrat" panose="00000500000000000000" pitchFamily="2" charset="0"/>
              </a:rPr>
              <a:t>CPU: </a:t>
            </a:r>
            <a:r>
              <a:rPr lang="en-US" sz="1000" dirty="0">
                <a:latin typeface="Montserrat" panose="00000500000000000000" pitchFamily="2" charset="0"/>
              </a:rPr>
              <a:t>small / mid = 4–8 CPU cores. large = &gt;8 cores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000" b="1" dirty="0">
                <a:latin typeface="Montserrat" panose="00000500000000000000" pitchFamily="2" charset="0"/>
              </a:rPr>
              <a:t>RAM: </a:t>
            </a:r>
            <a:r>
              <a:rPr lang="en-US" sz="1000" dirty="0">
                <a:latin typeface="Montserrat" panose="00000500000000000000" pitchFamily="2" charset="0"/>
              </a:rPr>
              <a:t>small/mid = 16–32 GB of RAM, large = 64+ GB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000" b="1" dirty="0">
                <a:latin typeface="Montserrat" panose="00000500000000000000" pitchFamily="2" charset="0"/>
              </a:rPr>
              <a:t>Disk Space: </a:t>
            </a:r>
            <a:r>
              <a:rPr lang="en-US" sz="1000" dirty="0">
                <a:latin typeface="Montserrat" panose="00000500000000000000" pitchFamily="2" charset="0"/>
              </a:rPr>
              <a:t>Min. start 100+ GB of SSD storage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756217" y="2692677"/>
            <a:ext cx="3960000" cy="122400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00" b="1">
                <a:latin typeface="Montserrat" panose="00000500000000000000" pitchFamily="2" charset="0"/>
              </a:rPr>
              <a:t>Java</a:t>
            </a:r>
          </a:p>
          <a:p>
            <a:pPr>
              <a:lnSpc>
                <a:spcPct val="150000"/>
              </a:lnSpc>
            </a:pPr>
            <a:r>
              <a:rPr lang="en-US" sz="1000" err="1">
                <a:latin typeface="Montserrat" panose="00000500000000000000" pitchFamily="2" charset="0"/>
              </a:rPr>
              <a:t>Polarion</a:t>
            </a:r>
            <a:r>
              <a:rPr lang="en-US" sz="1000">
                <a:latin typeface="Montserrat" panose="00000500000000000000" pitchFamily="2" charset="0"/>
              </a:rPr>
              <a:t> requires Or</a:t>
            </a:r>
            <a:r>
              <a:rPr lang="en-US" sz="1000">
                <a:solidFill>
                  <a:schemeClr val="tx1"/>
                </a:solidFill>
                <a:latin typeface="Montserrat" panose="00000500000000000000" pitchFamily="2" charset="0"/>
              </a:rPr>
              <a:t>acle JDK or OpenJDK (typically version 11 or later) to run its Java-based environment.</a:t>
            </a:r>
          </a:p>
        </p:txBody>
      </p:sp>
      <p:sp>
        <p:nvSpPr>
          <p:cNvPr id="32" name="Rectangle 31"/>
          <p:cNvSpPr/>
          <p:nvPr/>
        </p:nvSpPr>
        <p:spPr>
          <a:xfrm>
            <a:off x="1756216" y="3997211"/>
            <a:ext cx="3960000" cy="122400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00" b="1">
                <a:latin typeface="Montserrat" panose="00000500000000000000" pitchFamily="2" charset="0"/>
              </a:rPr>
              <a:t>Storage and Backup</a:t>
            </a:r>
          </a:p>
          <a:p>
            <a:pPr>
              <a:lnSpc>
                <a:spcPct val="150000"/>
              </a:lnSpc>
            </a:pPr>
            <a:r>
              <a:rPr lang="en-US" sz="1000">
                <a:latin typeface="Montserrat" panose="00000500000000000000" pitchFamily="2" charset="0"/>
              </a:rPr>
              <a:t>Plan for dedicated storage for </a:t>
            </a:r>
            <a:r>
              <a:rPr lang="en-US" sz="1000" err="1">
                <a:latin typeface="Montserrat" panose="00000500000000000000" pitchFamily="2" charset="0"/>
              </a:rPr>
              <a:t>Polarion’s</a:t>
            </a:r>
            <a:r>
              <a:rPr lang="en-US" sz="1000">
                <a:latin typeface="Montserrat" panose="00000500000000000000" pitchFamily="2" charset="0"/>
              </a:rPr>
              <a:t> Subversion (SVN) repository. Ensure regular backups of both the repository and database for disaster recovery.</a:t>
            </a:r>
          </a:p>
        </p:txBody>
      </p:sp>
      <p:sp>
        <p:nvSpPr>
          <p:cNvPr id="33" name="Rectangle 32"/>
          <p:cNvSpPr/>
          <p:nvPr/>
        </p:nvSpPr>
        <p:spPr>
          <a:xfrm>
            <a:off x="1756216" y="5301744"/>
            <a:ext cx="3960000" cy="122400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00" b="1">
                <a:latin typeface="Montserrat" panose="00000500000000000000" pitchFamily="2" charset="0"/>
              </a:rPr>
              <a:t>High Availability </a:t>
            </a:r>
            <a:r>
              <a:rPr lang="en-US" sz="1000">
                <a:latin typeface="Montserrat" panose="00000500000000000000" pitchFamily="2" charset="0"/>
              </a:rPr>
              <a:t>(Optional)</a:t>
            </a:r>
          </a:p>
          <a:p>
            <a:pPr>
              <a:lnSpc>
                <a:spcPct val="150000"/>
              </a:lnSpc>
            </a:pPr>
            <a:r>
              <a:rPr lang="en-US" sz="1000">
                <a:latin typeface="Montserrat" panose="00000500000000000000" pitchFamily="2" charset="0"/>
              </a:rPr>
              <a:t>For large deployments, you can implement a high-availability setup with clustering and load balancing across multiple servers for better scalability and fault tolerance.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A7D2859-3CAF-337F-5E67-ADDACDBC684E}"/>
              </a:ext>
            </a:extLst>
          </p:cNvPr>
          <p:cNvSpPr/>
          <p:nvPr/>
        </p:nvSpPr>
        <p:spPr>
          <a:xfrm>
            <a:off x="6380019" y="1470945"/>
            <a:ext cx="914400" cy="914400"/>
          </a:xfrm>
          <a:prstGeom prst="ellipse">
            <a:avLst/>
          </a:prstGeom>
          <a:solidFill>
            <a:srgbClr val="0E7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134BAA09-2928-652C-42D2-896FF15F1C91}"/>
              </a:ext>
            </a:extLst>
          </p:cNvPr>
          <p:cNvSpPr/>
          <p:nvPr/>
        </p:nvSpPr>
        <p:spPr>
          <a:xfrm>
            <a:off x="6380019" y="2771439"/>
            <a:ext cx="914400" cy="914400"/>
          </a:xfrm>
          <a:prstGeom prst="ellipse">
            <a:avLst/>
          </a:prstGeom>
          <a:solidFill>
            <a:srgbClr val="345E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ECBF5631-EC60-2197-7C57-E9F503083E41}"/>
              </a:ext>
            </a:extLst>
          </p:cNvPr>
          <p:cNvSpPr/>
          <p:nvPr/>
        </p:nvSpPr>
        <p:spPr>
          <a:xfrm>
            <a:off x="6380019" y="5383626"/>
            <a:ext cx="914400" cy="914400"/>
          </a:xfrm>
          <a:prstGeom prst="ellipse">
            <a:avLst/>
          </a:prstGeom>
          <a:solidFill>
            <a:srgbClr val="0D73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8E6B6606-BE5E-1BEB-BE0D-2DCB5F4C0AF6}"/>
              </a:ext>
            </a:extLst>
          </p:cNvPr>
          <p:cNvSpPr/>
          <p:nvPr/>
        </p:nvSpPr>
        <p:spPr>
          <a:xfrm>
            <a:off x="6380019" y="4077383"/>
            <a:ext cx="914400" cy="914400"/>
          </a:xfrm>
          <a:prstGeom prst="ellipse">
            <a:avLst/>
          </a:prstGeom>
          <a:solidFill>
            <a:srgbClr val="0638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5F77303-F573-18A9-5286-3B81A0109837}"/>
              </a:ext>
            </a:extLst>
          </p:cNvPr>
          <p:cNvSpPr/>
          <p:nvPr/>
        </p:nvSpPr>
        <p:spPr>
          <a:xfrm>
            <a:off x="7411604" y="1388145"/>
            <a:ext cx="3960000" cy="122400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00" b="1">
                <a:latin typeface="Montserrat" panose="00000500000000000000" pitchFamily="2" charset="0"/>
              </a:rPr>
              <a:t>Database</a:t>
            </a:r>
            <a:endParaRPr lang="en-US" sz="1000">
              <a:latin typeface="Montserrat" panose="00000500000000000000" pitchFamily="2" charset="0"/>
            </a:endParaRPr>
          </a:p>
          <a:p>
            <a:pPr>
              <a:lnSpc>
                <a:spcPct val="150000"/>
              </a:lnSpc>
            </a:pPr>
            <a:r>
              <a:rPr lang="en-US" sz="1000">
                <a:latin typeface="Montserrat" panose="00000500000000000000" pitchFamily="2" charset="0"/>
              </a:rPr>
              <a:t>Use Microsoft SQL Server, Oracle, or PostgreSQL. The database should have enough CPU, RAM, and storage to handle your data load, especially in large environments.</a:t>
            </a:r>
            <a:endParaRPr lang="en-US" sz="1000" b="1">
              <a:latin typeface="Montserrat" panose="00000500000000000000" pitchFamily="2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EE66DCA6-B1BA-35C9-8E8F-B5950153AD29}"/>
              </a:ext>
            </a:extLst>
          </p:cNvPr>
          <p:cNvSpPr/>
          <p:nvPr/>
        </p:nvSpPr>
        <p:spPr>
          <a:xfrm>
            <a:off x="7411604" y="2692372"/>
            <a:ext cx="3960000" cy="122400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00" b="1">
                <a:solidFill>
                  <a:schemeClr val="tx1"/>
                </a:solidFill>
                <a:latin typeface="Montserrat" panose="00000500000000000000" pitchFamily="2" charset="0"/>
              </a:rPr>
              <a:t>Web Server</a:t>
            </a:r>
          </a:p>
          <a:p>
            <a:pPr>
              <a:lnSpc>
                <a:spcPct val="150000"/>
              </a:lnSpc>
            </a:pPr>
            <a:r>
              <a:rPr lang="en-US" sz="1000" err="1">
                <a:solidFill>
                  <a:schemeClr val="tx1"/>
                </a:solidFill>
                <a:latin typeface="Montserrat" panose="00000500000000000000" pitchFamily="2" charset="0"/>
              </a:rPr>
              <a:t>Polarion</a:t>
            </a:r>
            <a:r>
              <a:rPr lang="en-US" sz="1000">
                <a:solidFill>
                  <a:schemeClr val="tx1"/>
                </a:solidFill>
                <a:latin typeface="Montserrat" panose="00000500000000000000" pitchFamily="2" charset="0"/>
              </a:rPr>
              <a:t> uses Apache Tomcat (bundled with install</a:t>
            </a:r>
            <a:r>
              <a:rPr lang="en-US" sz="1000">
                <a:latin typeface="Montserrat" panose="00000500000000000000" pitchFamily="2" charset="0"/>
              </a:rPr>
              <a:t>ation). You can add reverse proxies like NGINX or Apache HTTP for SSL, load balancing, and better security.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9D2125CD-578C-3896-2A5A-5945BFA85C80}"/>
              </a:ext>
            </a:extLst>
          </p:cNvPr>
          <p:cNvSpPr/>
          <p:nvPr/>
        </p:nvSpPr>
        <p:spPr>
          <a:xfrm>
            <a:off x="7411604" y="3996599"/>
            <a:ext cx="3960000" cy="122400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00" b="1">
                <a:latin typeface="Montserrat" panose="00000500000000000000" pitchFamily="2" charset="0"/>
              </a:rPr>
              <a:t>Network </a:t>
            </a:r>
          </a:p>
          <a:p>
            <a:pPr>
              <a:lnSpc>
                <a:spcPct val="150000"/>
              </a:lnSpc>
            </a:pPr>
            <a:r>
              <a:rPr lang="en-US" sz="1000">
                <a:latin typeface="Montserrat" panose="00000500000000000000" pitchFamily="2" charset="0"/>
              </a:rPr>
              <a:t>Ensure enough bandwidth and low latency for remote or distributed teams. Use HTTPS for secure data transmission and protect access with firewalls or VPNs.</a:t>
            </a:r>
            <a:endParaRPr lang="en-US" sz="1000">
              <a:solidFill>
                <a:srgbClr val="063853"/>
              </a:solidFill>
              <a:latin typeface="Montserrat" panose="00000500000000000000" pitchFamily="2" charset="0"/>
              <a:ea typeface="Roboto Light" panose="02000000000000000000" pitchFamily="2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71918767-36F0-D340-70A1-C909DDC3AD95}"/>
              </a:ext>
            </a:extLst>
          </p:cNvPr>
          <p:cNvSpPr/>
          <p:nvPr/>
        </p:nvSpPr>
        <p:spPr>
          <a:xfrm>
            <a:off x="7411604" y="5300826"/>
            <a:ext cx="3960000" cy="79214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50" b="1" dirty="0">
                <a:latin typeface="Montserrat" panose="00000500000000000000" pitchFamily="2" charset="0"/>
              </a:rPr>
              <a:t>Cloud vs. On-Premise (next page)</a:t>
            </a:r>
            <a:r>
              <a:rPr lang="en-US" sz="1050" dirty="0">
                <a:latin typeface="Montserrat" panose="00000500000000000000" pitchFamily="2" charset="0"/>
              </a:rPr>
              <a:t>: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050" dirty="0">
                <a:latin typeface="Montserrat" panose="00000500000000000000" pitchFamily="2" charset="0"/>
              </a:rPr>
              <a:t>Cloud 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050" dirty="0">
                <a:latin typeface="Montserrat" panose="00000500000000000000" pitchFamily="2" charset="0"/>
              </a:rPr>
              <a:t>On-premis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6696AF-4B09-7B8B-8E51-2AD887C80F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 err="1">
                <a:latin typeface="Montserrat SemiBold"/>
              </a:rPr>
              <a:t>Polarion</a:t>
            </a:r>
            <a:r>
              <a:rPr lang="en-US" dirty="0">
                <a:latin typeface="Montserrat SemiBold"/>
              </a:rPr>
              <a:t> Infrastructure Considerations</a:t>
            </a:r>
            <a:endParaRPr lang="en-US" sz="2000" dirty="0"/>
          </a:p>
        </p:txBody>
      </p:sp>
      <p:pic>
        <p:nvPicPr>
          <p:cNvPr id="55" name="Grafik 54" descr="Server mit einfarbiger Füllung">
            <a:extLst>
              <a:ext uri="{FF2B5EF4-FFF2-40B4-BE49-F238E27FC236}">
                <a16:creationId xmlns:a16="http://schemas.microsoft.com/office/drawing/2014/main" id="{1376218F-C0D8-64F6-D08E-545A193913C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8299" y="1584131"/>
            <a:ext cx="661598" cy="661598"/>
          </a:xfrm>
          <a:prstGeom prst="rect">
            <a:avLst/>
          </a:prstGeom>
        </p:spPr>
      </p:pic>
      <p:pic>
        <p:nvPicPr>
          <p:cNvPr id="57" name="Grafik 56" descr="Ein Bild, das Grafiken, Schrift, Grafikdesign, Design enthält.&#10;&#10;Automatisch generierte Beschreibung">
            <a:extLst>
              <a:ext uri="{FF2B5EF4-FFF2-40B4-BE49-F238E27FC236}">
                <a16:creationId xmlns:a16="http://schemas.microsoft.com/office/drawing/2014/main" id="{EAF3B569-66E7-BD03-2D8E-7852B4700C9E}"/>
              </a:ext>
            </a:extLst>
          </p:cNvPr>
          <p:cNvPicPr>
            <a:picLocks noChangeAspect="1"/>
          </p:cNvPicPr>
          <p:nvPr/>
        </p:nvPicPr>
        <p:blipFill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830" y="2853371"/>
            <a:ext cx="750536" cy="750536"/>
          </a:xfrm>
          <a:prstGeom prst="rect">
            <a:avLst/>
          </a:prstGeom>
        </p:spPr>
      </p:pic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D10FDED8-347A-8061-B3BF-7ABB5D3975CC}"/>
              </a:ext>
            </a:extLst>
          </p:cNvPr>
          <p:cNvGrpSpPr/>
          <p:nvPr/>
        </p:nvGrpSpPr>
        <p:grpSpPr>
          <a:xfrm>
            <a:off x="910324" y="4228611"/>
            <a:ext cx="612154" cy="608733"/>
            <a:chOff x="4928937" y="-1957677"/>
            <a:chExt cx="1419728" cy="1411792"/>
          </a:xfrm>
        </p:grpSpPr>
        <p:pic>
          <p:nvPicPr>
            <p:cNvPr id="61" name="Grafik 60" descr="Server mit einfarbiger Füllung">
              <a:extLst>
                <a:ext uri="{FF2B5EF4-FFF2-40B4-BE49-F238E27FC236}">
                  <a16:creationId xmlns:a16="http://schemas.microsoft.com/office/drawing/2014/main" id="{2CAEE149-524F-88F1-8D54-5ED2F67A52B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687067" y="-1957677"/>
              <a:ext cx="661598" cy="661598"/>
            </a:xfrm>
            <a:prstGeom prst="rect">
              <a:avLst/>
            </a:prstGeom>
          </p:spPr>
        </p:pic>
        <p:pic>
          <p:nvPicPr>
            <p:cNvPr id="65" name="Grafik 64" descr="Datenbank Silhouette">
              <a:extLst>
                <a:ext uri="{FF2B5EF4-FFF2-40B4-BE49-F238E27FC236}">
                  <a16:creationId xmlns:a16="http://schemas.microsoft.com/office/drawing/2014/main" id="{3246B59C-1911-C738-D310-9A3FB2A663D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928937" y="-1460285"/>
              <a:ext cx="914400" cy="914400"/>
            </a:xfrm>
            <a:prstGeom prst="rect">
              <a:avLst/>
            </a:prstGeom>
          </p:spPr>
        </p:pic>
        <p:grpSp>
          <p:nvGrpSpPr>
            <p:cNvPr id="70" name="Grafik 66" descr="Pfeil Kreis Silhouette">
              <a:extLst>
                <a:ext uri="{FF2B5EF4-FFF2-40B4-BE49-F238E27FC236}">
                  <a16:creationId xmlns:a16="http://schemas.microsoft.com/office/drawing/2014/main" id="{375A9BBF-C6E7-0E61-8845-37E1FB1FAA2E}"/>
                </a:ext>
              </a:extLst>
            </p:cNvPr>
            <p:cNvGrpSpPr/>
            <p:nvPr/>
          </p:nvGrpSpPr>
          <p:grpSpPr>
            <a:xfrm>
              <a:off x="5272971" y="-1799013"/>
              <a:ext cx="821070" cy="972295"/>
              <a:chOff x="5272971" y="-1799013"/>
              <a:chExt cx="821070" cy="972295"/>
            </a:xfrm>
            <a:solidFill>
              <a:srgbClr val="000000"/>
            </a:solidFill>
          </p:grpSpPr>
          <p:sp>
            <p:nvSpPr>
              <p:cNvPr id="71" name="Freihandform: Form 70">
                <a:extLst>
                  <a:ext uri="{FF2B5EF4-FFF2-40B4-BE49-F238E27FC236}">
                    <a16:creationId xmlns:a16="http://schemas.microsoft.com/office/drawing/2014/main" id="{85E40A21-2AF1-F31D-1080-1A9B4D9A5580}"/>
                  </a:ext>
                </a:extLst>
              </p:cNvPr>
              <p:cNvSpPr/>
              <p:nvPr/>
            </p:nvSpPr>
            <p:spPr>
              <a:xfrm rot="491976">
                <a:off x="5843337" y="-1260406"/>
                <a:ext cx="250704" cy="433688"/>
              </a:xfrm>
              <a:custGeom>
                <a:avLst/>
                <a:gdLst>
                  <a:gd name="connsiteX0" fmla="*/ 250704 w 250704"/>
                  <a:gd name="connsiteY0" fmla="*/ 110992 h 433688"/>
                  <a:gd name="connsiteX1" fmla="*/ 230016 w 250704"/>
                  <a:gd name="connsiteY1" fmla="*/ 5902 h 433688"/>
                  <a:gd name="connsiteX2" fmla="*/ 217576 w 250704"/>
                  <a:gd name="connsiteY2" fmla="*/ 721 h 433688"/>
                  <a:gd name="connsiteX3" fmla="*/ 212395 w 250704"/>
                  <a:gd name="connsiteY3" fmla="*/ 13160 h 433688"/>
                  <a:gd name="connsiteX4" fmla="*/ 71994 w 250704"/>
                  <a:gd name="connsiteY4" fmla="*/ 348917 h 433688"/>
                  <a:gd name="connsiteX5" fmla="*/ 28200 w 250704"/>
                  <a:gd name="connsiteY5" fmla="*/ 362471 h 433688"/>
                  <a:gd name="connsiteX6" fmla="*/ 28086 w 250704"/>
                  <a:gd name="connsiteY6" fmla="*/ 362328 h 433688"/>
                  <a:gd name="connsiteX7" fmla="*/ 66072 w 250704"/>
                  <a:gd name="connsiteY7" fmla="*/ 295176 h 433688"/>
                  <a:gd name="connsiteX8" fmla="*/ 63395 w 250704"/>
                  <a:gd name="connsiteY8" fmla="*/ 281975 h 433688"/>
                  <a:gd name="connsiteX9" fmla="*/ 50194 w 250704"/>
                  <a:gd name="connsiteY9" fmla="*/ 284651 h 433688"/>
                  <a:gd name="connsiteX10" fmla="*/ 49517 w 250704"/>
                  <a:gd name="connsiteY10" fmla="*/ 285851 h 433688"/>
                  <a:gd name="connsiteX11" fmla="*/ 1235 w 250704"/>
                  <a:gd name="connsiteY11" fmla="*/ 371224 h 433688"/>
                  <a:gd name="connsiteX12" fmla="*/ 4839 w 250704"/>
                  <a:gd name="connsiteY12" fmla="*/ 384204 h 433688"/>
                  <a:gd name="connsiteX13" fmla="*/ 4845 w 250704"/>
                  <a:gd name="connsiteY13" fmla="*/ 384207 h 433688"/>
                  <a:gd name="connsiteX14" fmla="*/ 90056 w 250704"/>
                  <a:gd name="connsiteY14" fmla="*/ 432394 h 433688"/>
                  <a:gd name="connsiteX15" fmla="*/ 103080 w 250704"/>
                  <a:gd name="connsiteY15" fmla="*/ 428955 h 433688"/>
                  <a:gd name="connsiteX16" fmla="*/ 99642 w 250704"/>
                  <a:gd name="connsiteY16" fmla="*/ 415932 h 433688"/>
                  <a:gd name="connsiteX17" fmla="*/ 99428 w 250704"/>
                  <a:gd name="connsiteY17" fmla="*/ 415811 h 433688"/>
                  <a:gd name="connsiteX18" fmla="*/ 36735 w 250704"/>
                  <a:gd name="connsiteY18" fmla="*/ 380359 h 433688"/>
                  <a:gd name="connsiteX19" fmla="*/ 36735 w 250704"/>
                  <a:gd name="connsiteY19" fmla="*/ 380187 h 433688"/>
                  <a:gd name="connsiteX20" fmla="*/ 250704 w 250704"/>
                  <a:gd name="connsiteY20" fmla="*/ 110992 h 433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50704" h="433688">
                    <a:moveTo>
                      <a:pt x="250704" y="110992"/>
                    </a:moveTo>
                    <a:cubicBezTo>
                      <a:pt x="250768" y="74944"/>
                      <a:pt x="243738" y="39236"/>
                      <a:pt x="230016" y="5902"/>
                    </a:cubicBezTo>
                    <a:cubicBezTo>
                      <a:pt x="228012" y="1036"/>
                      <a:pt x="222443" y="-1283"/>
                      <a:pt x="217576" y="721"/>
                    </a:cubicBezTo>
                    <a:cubicBezTo>
                      <a:pt x="212710" y="2725"/>
                      <a:pt x="210391" y="8294"/>
                      <a:pt x="212395" y="13160"/>
                    </a:cubicBezTo>
                    <a:cubicBezTo>
                      <a:pt x="266340" y="144647"/>
                      <a:pt x="203481" y="294971"/>
                      <a:pt x="71994" y="348917"/>
                    </a:cubicBezTo>
                    <a:cubicBezTo>
                      <a:pt x="57829" y="354729"/>
                      <a:pt x="43173" y="359264"/>
                      <a:pt x="28200" y="362471"/>
                    </a:cubicBezTo>
                    <a:cubicBezTo>
                      <a:pt x="28076" y="362471"/>
                      <a:pt x="28029" y="362471"/>
                      <a:pt x="28086" y="362328"/>
                    </a:cubicBezTo>
                    <a:lnTo>
                      <a:pt x="66072" y="295176"/>
                    </a:lnTo>
                    <a:cubicBezTo>
                      <a:pt x="68978" y="290792"/>
                      <a:pt x="67779" y="284881"/>
                      <a:pt x="63395" y="281975"/>
                    </a:cubicBezTo>
                    <a:cubicBezTo>
                      <a:pt x="59011" y="279068"/>
                      <a:pt x="53100" y="280267"/>
                      <a:pt x="50194" y="284651"/>
                    </a:cubicBezTo>
                    <a:cubicBezTo>
                      <a:pt x="49939" y="285034"/>
                      <a:pt x="49713" y="285435"/>
                      <a:pt x="49517" y="285851"/>
                    </a:cubicBezTo>
                    <a:lnTo>
                      <a:pt x="1235" y="371224"/>
                    </a:lnTo>
                    <a:cubicBezTo>
                      <a:pt x="-1354" y="375804"/>
                      <a:pt x="260" y="381615"/>
                      <a:pt x="4839" y="384204"/>
                    </a:cubicBezTo>
                    <a:cubicBezTo>
                      <a:pt x="4841" y="384205"/>
                      <a:pt x="4843" y="384206"/>
                      <a:pt x="4845" y="384207"/>
                    </a:cubicBezTo>
                    <a:lnTo>
                      <a:pt x="90056" y="432394"/>
                    </a:lnTo>
                    <a:cubicBezTo>
                      <a:pt x="94602" y="435041"/>
                      <a:pt x="100433" y="433501"/>
                      <a:pt x="103080" y="428955"/>
                    </a:cubicBezTo>
                    <a:cubicBezTo>
                      <a:pt x="105727" y="424410"/>
                      <a:pt x="104188" y="418579"/>
                      <a:pt x="99642" y="415932"/>
                    </a:cubicBezTo>
                    <a:cubicBezTo>
                      <a:pt x="99571" y="415891"/>
                      <a:pt x="99500" y="415850"/>
                      <a:pt x="99428" y="415811"/>
                    </a:cubicBezTo>
                    <a:lnTo>
                      <a:pt x="36735" y="380359"/>
                    </a:lnTo>
                    <a:cubicBezTo>
                      <a:pt x="36620" y="380292"/>
                      <a:pt x="36639" y="380216"/>
                      <a:pt x="36735" y="380187"/>
                    </a:cubicBezTo>
                    <a:cubicBezTo>
                      <a:pt x="161784" y="350821"/>
                      <a:pt x="250313" y="239442"/>
                      <a:pt x="250704" y="11099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2" name="Freihandform: Form 71">
                <a:extLst>
                  <a:ext uri="{FF2B5EF4-FFF2-40B4-BE49-F238E27FC236}">
                    <a16:creationId xmlns:a16="http://schemas.microsoft.com/office/drawing/2014/main" id="{456791FD-4215-2C05-1BBE-6E6CC93DC274}"/>
                  </a:ext>
                </a:extLst>
              </p:cNvPr>
              <p:cNvSpPr/>
              <p:nvPr/>
            </p:nvSpPr>
            <p:spPr>
              <a:xfrm rot="4677170">
                <a:off x="5308191" y="-1834233"/>
                <a:ext cx="315026" cy="385466"/>
              </a:xfrm>
              <a:custGeom>
                <a:avLst/>
                <a:gdLst>
                  <a:gd name="connsiteX0" fmla="*/ 306704 w 315026"/>
                  <a:gd name="connsiteY0" fmla="*/ 366474 h 385466"/>
                  <a:gd name="connsiteX1" fmla="*/ 212349 w 315026"/>
                  <a:gd name="connsiteY1" fmla="*/ 334241 h 385466"/>
                  <a:gd name="connsiteX2" fmla="*/ 96220 w 315026"/>
                  <a:gd name="connsiteY2" fmla="*/ 32518 h 385466"/>
                  <a:gd name="connsiteX3" fmla="*/ 96392 w 315026"/>
                  <a:gd name="connsiteY3" fmla="*/ 32518 h 385466"/>
                  <a:gd name="connsiteX4" fmla="*/ 135397 w 315026"/>
                  <a:gd name="connsiteY4" fmla="*/ 98964 h 385466"/>
                  <a:gd name="connsiteX5" fmla="*/ 148441 w 315026"/>
                  <a:gd name="connsiteY5" fmla="*/ 102341 h 385466"/>
                  <a:gd name="connsiteX6" fmla="*/ 151818 w 315026"/>
                  <a:gd name="connsiteY6" fmla="*/ 89297 h 385466"/>
                  <a:gd name="connsiteX7" fmla="*/ 102173 w 315026"/>
                  <a:gd name="connsiteY7" fmla="*/ 4705 h 385466"/>
                  <a:gd name="connsiteX8" fmla="*/ 89137 w 315026"/>
                  <a:gd name="connsiteY8" fmla="*/ 1312 h 385466"/>
                  <a:gd name="connsiteX9" fmla="*/ 89134 w 315026"/>
                  <a:gd name="connsiteY9" fmla="*/ 1314 h 385466"/>
                  <a:gd name="connsiteX10" fmla="*/ 4704 w 315026"/>
                  <a:gd name="connsiteY10" fmla="*/ 50844 h 385466"/>
                  <a:gd name="connsiteX11" fmla="*/ 1313 w 315026"/>
                  <a:gd name="connsiteY11" fmla="*/ 63884 h 385466"/>
                  <a:gd name="connsiteX12" fmla="*/ 14353 w 315026"/>
                  <a:gd name="connsiteY12" fmla="*/ 67275 h 385466"/>
                  <a:gd name="connsiteX13" fmla="*/ 76589 w 315026"/>
                  <a:gd name="connsiteY13" fmla="*/ 30746 h 385466"/>
                  <a:gd name="connsiteX14" fmla="*/ 76723 w 315026"/>
                  <a:gd name="connsiteY14" fmla="*/ 30851 h 385466"/>
                  <a:gd name="connsiteX15" fmla="*/ 260592 w 315026"/>
                  <a:gd name="connsiteY15" fmla="*/ 375866 h 385466"/>
                  <a:gd name="connsiteX16" fmla="*/ 304170 w 315026"/>
                  <a:gd name="connsiteY16" fmla="*/ 385381 h 385466"/>
                  <a:gd name="connsiteX17" fmla="*/ 305456 w 315026"/>
                  <a:gd name="connsiteY17" fmla="*/ 385467 h 385466"/>
                  <a:gd name="connsiteX18" fmla="*/ 315027 w 315026"/>
                  <a:gd name="connsiteY18" fmla="*/ 375989 h 385466"/>
                  <a:gd name="connsiteX19" fmla="*/ 306704 w 315026"/>
                  <a:gd name="connsiteY19" fmla="*/ 366493 h 385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15026" h="385466">
                    <a:moveTo>
                      <a:pt x="306704" y="366474"/>
                    </a:moveTo>
                    <a:cubicBezTo>
                      <a:pt x="273440" y="362030"/>
                      <a:pt x="241379" y="351077"/>
                      <a:pt x="212349" y="334241"/>
                    </a:cubicBezTo>
                    <a:cubicBezTo>
                      <a:pt x="107665" y="273352"/>
                      <a:pt x="59373" y="147881"/>
                      <a:pt x="96220" y="32518"/>
                    </a:cubicBezTo>
                    <a:cubicBezTo>
                      <a:pt x="96220" y="32404"/>
                      <a:pt x="96335" y="32394"/>
                      <a:pt x="96392" y="32518"/>
                    </a:cubicBezTo>
                    <a:lnTo>
                      <a:pt x="135397" y="98964"/>
                    </a:lnTo>
                    <a:cubicBezTo>
                      <a:pt x="138066" y="103499"/>
                      <a:pt x="143906" y="105011"/>
                      <a:pt x="148441" y="102341"/>
                    </a:cubicBezTo>
                    <a:cubicBezTo>
                      <a:pt x="152976" y="99671"/>
                      <a:pt x="154488" y="93831"/>
                      <a:pt x="151818" y="89297"/>
                    </a:cubicBezTo>
                    <a:lnTo>
                      <a:pt x="102173" y="4705"/>
                    </a:lnTo>
                    <a:cubicBezTo>
                      <a:pt x="99510" y="168"/>
                      <a:pt x="93674" y="-1351"/>
                      <a:pt x="89137" y="1312"/>
                    </a:cubicBezTo>
                    <a:cubicBezTo>
                      <a:pt x="89136" y="1312"/>
                      <a:pt x="89135" y="1313"/>
                      <a:pt x="89134" y="1314"/>
                    </a:cubicBezTo>
                    <a:lnTo>
                      <a:pt x="4704" y="50844"/>
                    </a:lnTo>
                    <a:cubicBezTo>
                      <a:pt x="167" y="53508"/>
                      <a:pt x="-1351" y="59347"/>
                      <a:pt x="1313" y="63884"/>
                    </a:cubicBezTo>
                    <a:cubicBezTo>
                      <a:pt x="3977" y="68421"/>
                      <a:pt x="9816" y="69939"/>
                      <a:pt x="14353" y="67275"/>
                    </a:cubicBezTo>
                    <a:lnTo>
                      <a:pt x="76589" y="30746"/>
                    </a:lnTo>
                    <a:cubicBezTo>
                      <a:pt x="76703" y="30680"/>
                      <a:pt x="76761" y="30746"/>
                      <a:pt x="76723" y="30851"/>
                    </a:cubicBezTo>
                    <a:cubicBezTo>
                      <a:pt x="32224" y="176898"/>
                      <a:pt x="114544" y="331367"/>
                      <a:pt x="260592" y="375866"/>
                    </a:cubicBezTo>
                    <a:cubicBezTo>
                      <a:pt x="274838" y="380206"/>
                      <a:pt x="289411" y="383389"/>
                      <a:pt x="304170" y="385381"/>
                    </a:cubicBezTo>
                    <a:cubicBezTo>
                      <a:pt x="304596" y="385438"/>
                      <a:pt x="305026" y="385467"/>
                      <a:pt x="305456" y="385467"/>
                    </a:cubicBezTo>
                    <a:cubicBezTo>
                      <a:pt x="310717" y="385493"/>
                      <a:pt x="315002" y="381248"/>
                      <a:pt x="315027" y="375989"/>
                    </a:cubicBezTo>
                    <a:cubicBezTo>
                      <a:pt x="315050" y="371175"/>
                      <a:pt x="311479" y="367101"/>
                      <a:pt x="306704" y="36649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75" name="Grafik 74" descr="Datenbank Silhouette">
            <a:extLst>
              <a:ext uri="{FF2B5EF4-FFF2-40B4-BE49-F238E27FC236}">
                <a16:creationId xmlns:a16="http://schemas.microsoft.com/office/drawing/2014/main" id="{09B3EBBB-D0A2-8C1A-A93F-E7612F0C579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544485" y="1635411"/>
            <a:ext cx="585468" cy="585468"/>
          </a:xfrm>
          <a:prstGeom prst="rect">
            <a:avLst/>
          </a:prstGeom>
        </p:spPr>
      </p:pic>
      <p:grpSp>
        <p:nvGrpSpPr>
          <p:cNvPr id="83" name="Gruppieren 82">
            <a:extLst>
              <a:ext uri="{FF2B5EF4-FFF2-40B4-BE49-F238E27FC236}">
                <a16:creationId xmlns:a16="http://schemas.microsoft.com/office/drawing/2014/main" id="{F7596AC3-19FB-9B60-6C31-E279A8BF5313}"/>
              </a:ext>
            </a:extLst>
          </p:cNvPr>
          <p:cNvGrpSpPr/>
          <p:nvPr/>
        </p:nvGrpSpPr>
        <p:grpSpPr>
          <a:xfrm>
            <a:off x="6494479" y="2921609"/>
            <a:ext cx="680478" cy="614057"/>
            <a:chOff x="4175615" y="-2558331"/>
            <a:chExt cx="1946855" cy="1756816"/>
          </a:xfrm>
        </p:grpSpPr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473ACC0E-BBD1-5BFE-248B-5D57AF4E81F1}"/>
                </a:ext>
              </a:extLst>
            </p:cNvPr>
            <p:cNvSpPr/>
            <p:nvPr/>
          </p:nvSpPr>
          <p:spPr>
            <a:xfrm>
              <a:off x="4175615" y="-2558331"/>
              <a:ext cx="1946855" cy="1184620"/>
            </a:xfrm>
            <a:custGeom>
              <a:avLst/>
              <a:gdLst>
                <a:gd name="connsiteX0" fmla="*/ 748609 w 876503"/>
                <a:gd name="connsiteY0" fmla="*/ 237030 h 533333"/>
                <a:gd name="connsiteX1" fmla="*/ 677172 w 876503"/>
                <a:gd name="connsiteY1" fmla="*/ 120825 h 533333"/>
                <a:gd name="connsiteX2" fmla="*/ 540964 w 876503"/>
                <a:gd name="connsiteY2" fmla="*/ 92250 h 533333"/>
                <a:gd name="connsiteX3" fmla="*/ 371353 w 876503"/>
                <a:gd name="connsiteY3" fmla="*/ 0 h 533333"/>
                <a:gd name="connsiteX4" fmla="*/ 324747 w 876503"/>
                <a:gd name="connsiteY4" fmla="*/ 5468 h 533333"/>
                <a:gd name="connsiteX5" fmla="*/ 170442 w 876503"/>
                <a:gd name="connsiteY5" fmla="*/ 176965 h 533333"/>
                <a:gd name="connsiteX6" fmla="*/ 34234 w 876503"/>
                <a:gd name="connsiteY6" fmla="*/ 247450 h 533333"/>
                <a:gd name="connsiteX7" fmla="*/ 16137 w 876503"/>
                <a:gd name="connsiteY7" fmla="*/ 430330 h 533333"/>
                <a:gd name="connsiteX8" fmla="*/ 165679 w 876503"/>
                <a:gd name="connsiteY8" fmla="*/ 532248 h 533333"/>
                <a:gd name="connsiteX9" fmla="*/ 219210 w 876503"/>
                <a:gd name="connsiteY9" fmla="*/ 532248 h 533333"/>
                <a:gd name="connsiteX10" fmla="*/ 200160 w 876503"/>
                <a:gd name="connsiteY10" fmla="*/ 513198 h 533333"/>
                <a:gd name="connsiteX11" fmla="*/ 166194 w 876503"/>
                <a:gd name="connsiteY11" fmla="*/ 513198 h 533333"/>
                <a:gd name="connsiteX12" fmla="*/ 33482 w 876503"/>
                <a:gd name="connsiteY12" fmla="*/ 422663 h 533333"/>
                <a:gd name="connsiteX13" fmla="*/ 49522 w 876503"/>
                <a:gd name="connsiteY13" fmla="*/ 258833 h 533333"/>
                <a:gd name="connsiteX14" fmla="*/ 171061 w 876503"/>
                <a:gd name="connsiteY14" fmla="*/ 196091 h 533333"/>
                <a:gd name="connsiteX15" fmla="*/ 186882 w 876503"/>
                <a:gd name="connsiteY15" fmla="*/ 195520 h 533333"/>
                <a:gd name="connsiteX16" fmla="*/ 189225 w 876503"/>
                <a:gd name="connsiteY16" fmla="*/ 179861 h 533333"/>
                <a:gd name="connsiteX17" fmla="*/ 329167 w 876503"/>
                <a:gd name="connsiteY17" fmla="*/ 24022 h 533333"/>
                <a:gd name="connsiteX18" fmla="*/ 371315 w 876503"/>
                <a:gd name="connsiteY18" fmla="*/ 19003 h 533333"/>
                <a:gd name="connsiteX19" fmla="*/ 524972 w 876503"/>
                <a:gd name="connsiteY19" fmla="*/ 102623 h 533333"/>
                <a:gd name="connsiteX20" fmla="*/ 532021 w 876503"/>
                <a:gd name="connsiteY20" fmla="*/ 113414 h 533333"/>
                <a:gd name="connsiteX21" fmla="*/ 544660 w 876503"/>
                <a:gd name="connsiteY21" fmla="*/ 110881 h 533333"/>
                <a:gd name="connsiteX22" fmla="*/ 665952 w 876503"/>
                <a:gd name="connsiteY22" fmla="*/ 136208 h 533333"/>
                <a:gd name="connsiteX23" fmla="*/ 729769 w 876503"/>
                <a:gd name="connsiteY23" fmla="*/ 240097 h 533333"/>
                <a:gd name="connsiteX24" fmla="*/ 732007 w 876503"/>
                <a:gd name="connsiteY24" fmla="*/ 253803 h 533333"/>
                <a:gd name="connsiteX25" fmla="*/ 745743 w 876503"/>
                <a:gd name="connsiteY25" fmla="*/ 255861 h 533333"/>
                <a:gd name="connsiteX26" fmla="*/ 856127 w 876503"/>
                <a:gd name="connsiteY26" fmla="*/ 402675 h 533333"/>
                <a:gd name="connsiteX27" fmla="*/ 731455 w 876503"/>
                <a:gd name="connsiteY27" fmla="*/ 514284 h 533333"/>
                <a:gd name="connsiteX28" fmla="*/ 675076 w 876503"/>
                <a:gd name="connsiteY28" fmla="*/ 514284 h 533333"/>
                <a:gd name="connsiteX29" fmla="*/ 656026 w 876503"/>
                <a:gd name="connsiteY29" fmla="*/ 533334 h 533333"/>
                <a:gd name="connsiteX30" fmla="*/ 731465 w 876503"/>
                <a:gd name="connsiteY30" fmla="*/ 533334 h 533333"/>
                <a:gd name="connsiteX31" fmla="*/ 876452 w 876503"/>
                <a:gd name="connsiteY31" fmla="*/ 380576 h 533333"/>
                <a:gd name="connsiteX32" fmla="*/ 748609 w 876503"/>
                <a:gd name="connsiteY32" fmla="*/ 237030 h 533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876503" h="533333">
                  <a:moveTo>
                    <a:pt x="748609" y="237030"/>
                  </a:moveTo>
                  <a:cubicBezTo>
                    <a:pt x="741033" y="190397"/>
                    <a:pt x="715362" y="148638"/>
                    <a:pt x="677172" y="120825"/>
                  </a:cubicBezTo>
                  <a:cubicBezTo>
                    <a:pt x="637582" y="93087"/>
                    <a:pt x="588364" y="82761"/>
                    <a:pt x="540964" y="92250"/>
                  </a:cubicBezTo>
                  <a:cubicBezTo>
                    <a:pt x="503575" y="34893"/>
                    <a:pt x="439819" y="217"/>
                    <a:pt x="371353" y="0"/>
                  </a:cubicBezTo>
                  <a:cubicBezTo>
                    <a:pt x="355656" y="-27"/>
                    <a:pt x="340012" y="1808"/>
                    <a:pt x="324747" y="5468"/>
                  </a:cubicBezTo>
                  <a:cubicBezTo>
                    <a:pt x="243604" y="26566"/>
                    <a:pt x="182884" y="94053"/>
                    <a:pt x="170442" y="176965"/>
                  </a:cubicBezTo>
                  <a:cubicBezTo>
                    <a:pt x="116767" y="178846"/>
                    <a:pt x="66769" y="204718"/>
                    <a:pt x="34234" y="247450"/>
                  </a:cubicBezTo>
                  <a:cubicBezTo>
                    <a:pt x="-3752" y="300906"/>
                    <a:pt x="-10635" y="370466"/>
                    <a:pt x="16137" y="430330"/>
                  </a:cubicBezTo>
                  <a:cubicBezTo>
                    <a:pt x="43445" y="489221"/>
                    <a:pt x="100881" y="528366"/>
                    <a:pt x="165679" y="532248"/>
                  </a:cubicBezTo>
                  <a:lnTo>
                    <a:pt x="219210" y="532248"/>
                  </a:lnTo>
                  <a:lnTo>
                    <a:pt x="200160" y="513198"/>
                  </a:lnTo>
                  <a:lnTo>
                    <a:pt x="166194" y="513198"/>
                  </a:lnTo>
                  <a:cubicBezTo>
                    <a:pt x="108730" y="509554"/>
                    <a:pt x="57839" y="474836"/>
                    <a:pt x="33482" y="422663"/>
                  </a:cubicBezTo>
                  <a:cubicBezTo>
                    <a:pt x="9650" y="369031"/>
                    <a:pt x="15741" y="306823"/>
                    <a:pt x="49522" y="258833"/>
                  </a:cubicBezTo>
                  <a:cubicBezTo>
                    <a:pt x="78693" y="220891"/>
                    <a:pt x="123235" y="197897"/>
                    <a:pt x="171061" y="196091"/>
                  </a:cubicBezTo>
                  <a:lnTo>
                    <a:pt x="186882" y="195520"/>
                  </a:lnTo>
                  <a:lnTo>
                    <a:pt x="189225" y="179861"/>
                  </a:lnTo>
                  <a:cubicBezTo>
                    <a:pt x="200330" y="104519"/>
                    <a:pt x="255449" y="43139"/>
                    <a:pt x="329167" y="24022"/>
                  </a:cubicBezTo>
                  <a:cubicBezTo>
                    <a:pt x="342968" y="20690"/>
                    <a:pt x="357117" y="19005"/>
                    <a:pt x="371315" y="19003"/>
                  </a:cubicBezTo>
                  <a:cubicBezTo>
                    <a:pt x="433395" y="19035"/>
                    <a:pt x="491234" y="50511"/>
                    <a:pt x="524972" y="102623"/>
                  </a:cubicBezTo>
                  <a:lnTo>
                    <a:pt x="532021" y="113414"/>
                  </a:lnTo>
                  <a:lnTo>
                    <a:pt x="544660" y="110881"/>
                  </a:lnTo>
                  <a:cubicBezTo>
                    <a:pt x="586853" y="102441"/>
                    <a:pt x="630662" y="111589"/>
                    <a:pt x="665952" y="136208"/>
                  </a:cubicBezTo>
                  <a:cubicBezTo>
                    <a:pt x="700001" y="161151"/>
                    <a:pt x="722913" y="198450"/>
                    <a:pt x="729769" y="240097"/>
                  </a:cubicBezTo>
                  <a:lnTo>
                    <a:pt x="732007" y="253803"/>
                  </a:lnTo>
                  <a:lnTo>
                    <a:pt x="745743" y="255861"/>
                  </a:lnTo>
                  <a:cubicBezTo>
                    <a:pt x="816766" y="265921"/>
                    <a:pt x="866186" y="331652"/>
                    <a:pt x="856127" y="402675"/>
                  </a:cubicBezTo>
                  <a:cubicBezTo>
                    <a:pt x="847262" y="465258"/>
                    <a:pt x="794633" y="512372"/>
                    <a:pt x="731455" y="514284"/>
                  </a:cubicBezTo>
                  <a:lnTo>
                    <a:pt x="675076" y="514284"/>
                  </a:lnTo>
                  <a:lnTo>
                    <a:pt x="656026" y="533334"/>
                  </a:lnTo>
                  <a:lnTo>
                    <a:pt x="731465" y="533334"/>
                  </a:lnTo>
                  <a:cubicBezTo>
                    <a:pt x="813684" y="531188"/>
                    <a:pt x="878598" y="462796"/>
                    <a:pt x="876452" y="380576"/>
                  </a:cubicBezTo>
                  <a:cubicBezTo>
                    <a:pt x="874557" y="307949"/>
                    <a:pt x="820533" y="247289"/>
                    <a:pt x="748609" y="23703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pic>
          <p:nvPicPr>
            <p:cNvPr id="82" name="Grafik 81" descr="Server mit einfarbiger Füllung">
              <a:extLst>
                <a:ext uri="{FF2B5EF4-FFF2-40B4-BE49-F238E27FC236}">
                  <a16:creationId xmlns:a16="http://schemas.microsoft.com/office/drawing/2014/main" id="{3827AD23-3C0A-293D-1BC7-1971E10B30E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568848" y="-1986135"/>
              <a:ext cx="1184622" cy="1184620"/>
            </a:xfrm>
            <a:prstGeom prst="rect">
              <a:avLst/>
            </a:prstGeom>
          </p:spPr>
        </p:pic>
      </p:grpSp>
      <p:pic>
        <p:nvPicPr>
          <p:cNvPr id="88" name="Grafik 87" descr="Verbindungen Silhouette">
            <a:extLst>
              <a:ext uri="{FF2B5EF4-FFF2-40B4-BE49-F238E27FC236}">
                <a16:creationId xmlns:a16="http://schemas.microsoft.com/office/drawing/2014/main" id="{6579E753-03F4-60EF-FC1B-D764C856B58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506511" y="4217980"/>
            <a:ext cx="635474" cy="635474"/>
          </a:xfrm>
          <a:prstGeom prst="rect">
            <a:avLst/>
          </a:prstGeom>
        </p:spPr>
      </p:pic>
      <p:grpSp>
        <p:nvGrpSpPr>
          <p:cNvPr id="101" name="Gruppieren 100">
            <a:extLst>
              <a:ext uri="{FF2B5EF4-FFF2-40B4-BE49-F238E27FC236}">
                <a16:creationId xmlns:a16="http://schemas.microsoft.com/office/drawing/2014/main" id="{79579904-2D7E-139C-750E-ECA741C65C7C}"/>
              </a:ext>
            </a:extLst>
          </p:cNvPr>
          <p:cNvGrpSpPr/>
          <p:nvPr/>
        </p:nvGrpSpPr>
        <p:grpSpPr>
          <a:xfrm>
            <a:off x="6422063" y="5587848"/>
            <a:ext cx="828214" cy="414956"/>
            <a:chOff x="1425473" y="-1749634"/>
            <a:chExt cx="1397077" cy="694941"/>
          </a:xfrm>
        </p:grpSpPr>
        <p:grpSp>
          <p:nvGrpSpPr>
            <p:cNvPr id="89" name="Gruppieren 88">
              <a:extLst>
                <a:ext uri="{FF2B5EF4-FFF2-40B4-BE49-F238E27FC236}">
                  <a16:creationId xmlns:a16="http://schemas.microsoft.com/office/drawing/2014/main" id="{24416FFA-0824-C123-69D0-A6F483A62FF7}"/>
                </a:ext>
              </a:extLst>
            </p:cNvPr>
            <p:cNvGrpSpPr/>
            <p:nvPr/>
          </p:nvGrpSpPr>
          <p:grpSpPr>
            <a:xfrm>
              <a:off x="1425473" y="-1676254"/>
              <a:ext cx="680478" cy="614057"/>
              <a:chOff x="4175615" y="-2558331"/>
              <a:chExt cx="1946855" cy="1756816"/>
            </a:xfrm>
          </p:grpSpPr>
          <p:sp>
            <p:nvSpPr>
              <p:cNvPr id="90" name="Freihandform: Form 89">
                <a:extLst>
                  <a:ext uri="{FF2B5EF4-FFF2-40B4-BE49-F238E27FC236}">
                    <a16:creationId xmlns:a16="http://schemas.microsoft.com/office/drawing/2014/main" id="{BAB54E84-B8EC-DBF6-6EDC-D505C8B0C8F2}"/>
                  </a:ext>
                </a:extLst>
              </p:cNvPr>
              <p:cNvSpPr/>
              <p:nvPr/>
            </p:nvSpPr>
            <p:spPr>
              <a:xfrm>
                <a:off x="4175615" y="-2558331"/>
                <a:ext cx="1946855" cy="1184620"/>
              </a:xfrm>
              <a:custGeom>
                <a:avLst/>
                <a:gdLst>
                  <a:gd name="connsiteX0" fmla="*/ 748609 w 876503"/>
                  <a:gd name="connsiteY0" fmla="*/ 237030 h 533333"/>
                  <a:gd name="connsiteX1" fmla="*/ 677172 w 876503"/>
                  <a:gd name="connsiteY1" fmla="*/ 120825 h 533333"/>
                  <a:gd name="connsiteX2" fmla="*/ 540964 w 876503"/>
                  <a:gd name="connsiteY2" fmla="*/ 92250 h 533333"/>
                  <a:gd name="connsiteX3" fmla="*/ 371353 w 876503"/>
                  <a:gd name="connsiteY3" fmla="*/ 0 h 533333"/>
                  <a:gd name="connsiteX4" fmla="*/ 324747 w 876503"/>
                  <a:gd name="connsiteY4" fmla="*/ 5468 h 533333"/>
                  <a:gd name="connsiteX5" fmla="*/ 170442 w 876503"/>
                  <a:gd name="connsiteY5" fmla="*/ 176965 h 533333"/>
                  <a:gd name="connsiteX6" fmla="*/ 34234 w 876503"/>
                  <a:gd name="connsiteY6" fmla="*/ 247450 h 533333"/>
                  <a:gd name="connsiteX7" fmla="*/ 16137 w 876503"/>
                  <a:gd name="connsiteY7" fmla="*/ 430330 h 533333"/>
                  <a:gd name="connsiteX8" fmla="*/ 165679 w 876503"/>
                  <a:gd name="connsiteY8" fmla="*/ 532248 h 533333"/>
                  <a:gd name="connsiteX9" fmla="*/ 219210 w 876503"/>
                  <a:gd name="connsiteY9" fmla="*/ 532248 h 533333"/>
                  <a:gd name="connsiteX10" fmla="*/ 200160 w 876503"/>
                  <a:gd name="connsiteY10" fmla="*/ 513198 h 533333"/>
                  <a:gd name="connsiteX11" fmla="*/ 166194 w 876503"/>
                  <a:gd name="connsiteY11" fmla="*/ 513198 h 533333"/>
                  <a:gd name="connsiteX12" fmla="*/ 33482 w 876503"/>
                  <a:gd name="connsiteY12" fmla="*/ 422663 h 533333"/>
                  <a:gd name="connsiteX13" fmla="*/ 49522 w 876503"/>
                  <a:gd name="connsiteY13" fmla="*/ 258833 h 533333"/>
                  <a:gd name="connsiteX14" fmla="*/ 171061 w 876503"/>
                  <a:gd name="connsiteY14" fmla="*/ 196091 h 533333"/>
                  <a:gd name="connsiteX15" fmla="*/ 186882 w 876503"/>
                  <a:gd name="connsiteY15" fmla="*/ 195520 h 533333"/>
                  <a:gd name="connsiteX16" fmla="*/ 189225 w 876503"/>
                  <a:gd name="connsiteY16" fmla="*/ 179861 h 533333"/>
                  <a:gd name="connsiteX17" fmla="*/ 329167 w 876503"/>
                  <a:gd name="connsiteY17" fmla="*/ 24022 h 533333"/>
                  <a:gd name="connsiteX18" fmla="*/ 371315 w 876503"/>
                  <a:gd name="connsiteY18" fmla="*/ 19003 h 533333"/>
                  <a:gd name="connsiteX19" fmla="*/ 524972 w 876503"/>
                  <a:gd name="connsiteY19" fmla="*/ 102623 h 533333"/>
                  <a:gd name="connsiteX20" fmla="*/ 532021 w 876503"/>
                  <a:gd name="connsiteY20" fmla="*/ 113414 h 533333"/>
                  <a:gd name="connsiteX21" fmla="*/ 544660 w 876503"/>
                  <a:gd name="connsiteY21" fmla="*/ 110881 h 533333"/>
                  <a:gd name="connsiteX22" fmla="*/ 665952 w 876503"/>
                  <a:gd name="connsiteY22" fmla="*/ 136208 h 533333"/>
                  <a:gd name="connsiteX23" fmla="*/ 729769 w 876503"/>
                  <a:gd name="connsiteY23" fmla="*/ 240097 h 533333"/>
                  <a:gd name="connsiteX24" fmla="*/ 732007 w 876503"/>
                  <a:gd name="connsiteY24" fmla="*/ 253803 h 533333"/>
                  <a:gd name="connsiteX25" fmla="*/ 745743 w 876503"/>
                  <a:gd name="connsiteY25" fmla="*/ 255861 h 533333"/>
                  <a:gd name="connsiteX26" fmla="*/ 856127 w 876503"/>
                  <a:gd name="connsiteY26" fmla="*/ 402675 h 533333"/>
                  <a:gd name="connsiteX27" fmla="*/ 731455 w 876503"/>
                  <a:gd name="connsiteY27" fmla="*/ 514284 h 533333"/>
                  <a:gd name="connsiteX28" fmla="*/ 675076 w 876503"/>
                  <a:gd name="connsiteY28" fmla="*/ 514284 h 533333"/>
                  <a:gd name="connsiteX29" fmla="*/ 656026 w 876503"/>
                  <a:gd name="connsiteY29" fmla="*/ 533334 h 533333"/>
                  <a:gd name="connsiteX30" fmla="*/ 731465 w 876503"/>
                  <a:gd name="connsiteY30" fmla="*/ 533334 h 533333"/>
                  <a:gd name="connsiteX31" fmla="*/ 876452 w 876503"/>
                  <a:gd name="connsiteY31" fmla="*/ 380576 h 533333"/>
                  <a:gd name="connsiteX32" fmla="*/ 748609 w 876503"/>
                  <a:gd name="connsiteY32" fmla="*/ 237030 h 533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876503" h="533333">
                    <a:moveTo>
                      <a:pt x="748609" y="237030"/>
                    </a:moveTo>
                    <a:cubicBezTo>
                      <a:pt x="741033" y="190397"/>
                      <a:pt x="715362" y="148638"/>
                      <a:pt x="677172" y="120825"/>
                    </a:cubicBezTo>
                    <a:cubicBezTo>
                      <a:pt x="637582" y="93087"/>
                      <a:pt x="588364" y="82761"/>
                      <a:pt x="540964" y="92250"/>
                    </a:cubicBezTo>
                    <a:cubicBezTo>
                      <a:pt x="503575" y="34893"/>
                      <a:pt x="439819" y="217"/>
                      <a:pt x="371353" y="0"/>
                    </a:cubicBezTo>
                    <a:cubicBezTo>
                      <a:pt x="355656" y="-27"/>
                      <a:pt x="340012" y="1808"/>
                      <a:pt x="324747" y="5468"/>
                    </a:cubicBezTo>
                    <a:cubicBezTo>
                      <a:pt x="243604" y="26566"/>
                      <a:pt x="182884" y="94053"/>
                      <a:pt x="170442" y="176965"/>
                    </a:cubicBezTo>
                    <a:cubicBezTo>
                      <a:pt x="116767" y="178846"/>
                      <a:pt x="66769" y="204718"/>
                      <a:pt x="34234" y="247450"/>
                    </a:cubicBezTo>
                    <a:cubicBezTo>
                      <a:pt x="-3752" y="300906"/>
                      <a:pt x="-10635" y="370466"/>
                      <a:pt x="16137" y="430330"/>
                    </a:cubicBezTo>
                    <a:cubicBezTo>
                      <a:pt x="43445" y="489221"/>
                      <a:pt x="100881" y="528366"/>
                      <a:pt x="165679" y="532248"/>
                    </a:cubicBezTo>
                    <a:lnTo>
                      <a:pt x="219210" y="532248"/>
                    </a:lnTo>
                    <a:lnTo>
                      <a:pt x="200160" y="513198"/>
                    </a:lnTo>
                    <a:lnTo>
                      <a:pt x="166194" y="513198"/>
                    </a:lnTo>
                    <a:cubicBezTo>
                      <a:pt x="108730" y="509554"/>
                      <a:pt x="57839" y="474836"/>
                      <a:pt x="33482" y="422663"/>
                    </a:cubicBezTo>
                    <a:cubicBezTo>
                      <a:pt x="9650" y="369031"/>
                      <a:pt x="15741" y="306823"/>
                      <a:pt x="49522" y="258833"/>
                    </a:cubicBezTo>
                    <a:cubicBezTo>
                      <a:pt x="78693" y="220891"/>
                      <a:pt x="123235" y="197897"/>
                      <a:pt x="171061" y="196091"/>
                    </a:cubicBezTo>
                    <a:lnTo>
                      <a:pt x="186882" y="195520"/>
                    </a:lnTo>
                    <a:lnTo>
                      <a:pt x="189225" y="179861"/>
                    </a:lnTo>
                    <a:cubicBezTo>
                      <a:pt x="200330" y="104519"/>
                      <a:pt x="255449" y="43139"/>
                      <a:pt x="329167" y="24022"/>
                    </a:cubicBezTo>
                    <a:cubicBezTo>
                      <a:pt x="342968" y="20690"/>
                      <a:pt x="357117" y="19005"/>
                      <a:pt x="371315" y="19003"/>
                    </a:cubicBezTo>
                    <a:cubicBezTo>
                      <a:pt x="433395" y="19035"/>
                      <a:pt x="491234" y="50511"/>
                      <a:pt x="524972" y="102623"/>
                    </a:cubicBezTo>
                    <a:lnTo>
                      <a:pt x="532021" y="113414"/>
                    </a:lnTo>
                    <a:lnTo>
                      <a:pt x="544660" y="110881"/>
                    </a:lnTo>
                    <a:cubicBezTo>
                      <a:pt x="586853" y="102441"/>
                      <a:pt x="630662" y="111589"/>
                      <a:pt x="665952" y="136208"/>
                    </a:cubicBezTo>
                    <a:cubicBezTo>
                      <a:pt x="700001" y="161151"/>
                      <a:pt x="722913" y="198450"/>
                      <a:pt x="729769" y="240097"/>
                    </a:cubicBezTo>
                    <a:lnTo>
                      <a:pt x="732007" y="253803"/>
                    </a:lnTo>
                    <a:lnTo>
                      <a:pt x="745743" y="255861"/>
                    </a:lnTo>
                    <a:cubicBezTo>
                      <a:pt x="816766" y="265921"/>
                      <a:pt x="866186" y="331652"/>
                      <a:pt x="856127" y="402675"/>
                    </a:cubicBezTo>
                    <a:cubicBezTo>
                      <a:pt x="847262" y="465258"/>
                      <a:pt x="794633" y="512372"/>
                      <a:pt x="731455" y="514284"/>
                    </a:cubicBezTo>
                    <a:lnTo>
                      <a:pt x="675076" y="514284"/>
                    </a:lnTo>
                    <a:lnTo>
                      <a:pt x="656026" y="533334"/>
                    </a:lnTo>
                    <a:lnTo>
                      <a:pt x="731465" y="533334"/>
                    </a:lnTo>
                    <a:cubicBezTo>
                      <a:pt x="813684" y="531188"/>
                      <a:pt x="878598" y="462796"/>
                      <a:pt x="876452" y="380576"/>
                    </a:cubicBezTo>
                    <a:cubicBezTo>
                      <a:pt x="874557" y="307949"/>
                      <a:pt x="820533" y="247289"/>
                      <a:pt x="748609" y="23703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pic>
            <p:nvPicPr>
              <p:cNvPr id="91" name="Grafik 90" descr="Server mit einfarbiger Füllung">
                <a:extLst>
                  <a:ext uri="{FF2B5EF4-FFF2-40B4-BE49-F238E27FC236}">
                    <a16:creationId xmlns:a16="http://schemas.microsoft.com/office/drawing/2014/main" id="{C36D358B-9057-3B1E-C18B-E98DAE2ED6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568848" y="-1986135"/>
                <a:ext cx="1184622" cy="1184620"/>
              </a:xfrm>
              <a:prstGeom prst="rect">
                <a:avLst/>
              </a:prstGeom>
            </p:spPr>
          </p:pic>
        </p:grpSp>
        <p:grpSp>
          <p:nvGrpSpPr>
            <p:cNvPr id="100" name="Gruppieren 99">
              <a:extLst>
                <a:ext uri="{FF2B5EF4-FFF2-40B4-BE49-F238E27FC236}">
                  <a16:creationId xmlns:a16="http://schemas.microsoft.com/office/drawing/2014/main" id="{04377C12-9E0E-E80F-BE00-A6A4EC476C4A}"/>
                </a:ext>
              </a:extLst>
            </p:cNvPr>
            <p:cNvGrpSpPr/>
            <p:nvPr/>
          </p:nvGrpSpPr>
          <p:grpSpPr>
            <a:xfrm>
              <a:off x="2169518" y="-1749634"/>
              <a:ext cx="653032" cy="694941"/>
              <a:chOff x="4147830" y="-1959335"/>
              <a:chExt cx="1423748" cy="1515120"/>
            </a:xfrm>
          </p:grpSpPr>
          <p:pic>
            <p:nvPicPr>
              <p:cNvPr id="92" name="Grafik 91" descr="Server mit einfarbiger Füllung">
                <a:extLst>
                  <a:ext uri="{FF2B5EF4-FFF2-40B4-BE49-F238E27FC236}">
                    <a16:creationId xmlns:a16="http://schemas.microsoft.com/office/drawing/2014/main" id="{41201F1C-8187-9649-EF29-266F728AAF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417172" y="-1340499"/>
                <a:ext cx="896281" cy="896284"/>
              </a:xfrm>
              <a:prstGeom prst="rect">
                <a:avLst/>
              </a:prstGeom>
            </p:spPr>
          </p:pic>
          <p:sp>
            <p:nvSpPr>
              <p:cNvPr id="96" name="Freihandform: Form 95">
                <a:extLst>
                  <a:ext uri="{FF2B5EF4-FFF2-40B4-BE49-F238E27FC236}">
                    <a16:creationId xmlns:a16="http://schemas.microsoft.com/office/drawing/2014/main" id="{5C3F0421-4A96-DAAD-FE52-362766A10626}"/>
                  </a:ext>
                </a:extLst>
              </p:cNvPr>
              <p:cNvSpPr/>
              <p:nvPr/>
            </p:nvSpPr>
            <p:spPr>
              <a:xfrm>
                <a:off x="4147830" y="-1959335"/>
                <a:ext cx="1423748" cy="1261109"/>
              </a:xfrm>
              <a:custGeom>
                <a:avLst/>
                <a:gdLst>
                  <a:gd name="connsiteX0" fmla="*/ 789299 w 789298"/>
                  <a:gd name="connsiteY0" fmla="*/ 374885 h 699134"/>
                  <a:gd name="connsiteX1" fmla="*/ 394649 w 789298"/>
                  <a:gd name="connsiteY1" fmla="*/ 0 h 699134"/>
                  <a:gd name="connsiteX2" fmla="*/ 0 w 789298"/>
                  <a:gd name="connsiteY2" fmla="*/ 374885 h 699134"/>
                  <a:gd name="connsiteX3" fmla="*/ 61808 w 789298"/>
                  <a:gd name="connsiteY3" fmla="*/ 436683 h 699134"/>
                  <a:gd name="connsiteX4" fmla="*/ 108899 w 789298"/>
                  <a:gd name="connsiteY4" fmla="*/ 392087 h 699134"/>
                  <a:gd name="connsiteX5" fmla="*/ 108899 w 789298"/>
                  <a:gd name="connsiteY5" fmla="*/ 698906 h 699134"/>
                  <a:gd name="connsiteX6" fmla="*/ 680399 w 789298"/>
                  <a:gd name="connsiteY6" fmla="*/ 699135 h 699134"/>
                  <a:gd name="connsiteX7" fmla="*/ 680399 w 789298"/>
                  <a:gd name="connsiteY7" fmla="*/ 391687 h 699134"/>
                  <a:gd name="connsiteX8" fmla="*/ 727729 w 789298"/>
                  <a:gd name="connsiteY8" fmla="*/ 436455 h 699134"/>
                  <a:gd name="connsiteX9" fmla="*/ 661349 w 789298"/>
                  <a:gd name="connsiteY9" fmla="*/ 680085 h 699134"/>
                  <a:gd name="connsiteX10" fmla="*/ 127949 w 789298"/>
                  <a:gd name="connsiteY10" fmla="*/ 679866 h 699134"/>
                  <a:gd name="connsiteX11" fmla="*/ 127949 w 789298"/>
                  <a:gd name="connsiteY11" fmla="*/ 374047 h 699134"/>
                  <a:gd name="connsiteX12" fmla="*/ 394649 w 789298"/>
                  <a:gd name="connsiteY12" fmla="*/ 121482 h 699134"/>
                  <a:gd name="connsiteX13" fmla="*/ 661349 w 789298"/>
                  <a:gd name="connsiteY13" fmla="*/ 373675 h 699134"/>
                  <a:gd name="connsiteX14" fmla="*/ 62160 w 789298"/>
                  <a:gd name="connsiteY14" fmla="*/ 410108 h 699134"/>
                  <a:gd name="connsiteX15" fmla="*/ 27299 w 789298"/>
                  <a:gd name="connsiteY15" fmla="*/ 375285 h 699134"/>
                  <a:gd name="connsiteX16" fmla="*/ 394649 w 789298"/>
                  <a:gd name="connsiteY16" fmla="*/ 26251 h 699134"/>
                  <a:gd name="connsiteX17" fmla="*/ 762000 w 789298"/>
                  <a:gd name="connsiteY17" fmla="*/ 375285 h 699134"/>
                  <a:gd name="connsiteX18" fmla="*/ 727358 w 789298"/>
                  <a:gd name="connsiteY18" fmla="*/ 409880 h 699134"/>
                  <a:gd name="connsiteX19" fmla="*/ 394649 w 789298"/>
                  <a:gd name="connsiteY19" fmla="*/ 95250 h 699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789298" h="699134">
                    <a:moveTo>
                      <a:pt x="789299" y="374885"/>
                    </a:moveTo>
                    <a:lnTo>
                      <a:pt x="394649" y="0"/>
                    </a:lnTo>
                    <a:lnTo>
                      <a:pt x="0" y="374885"/>
                    </a:lnTo>
                    <a:lnTo>
                      <a:pt x="61808" y="436683"/>
                    </a:lnTo>
                    <a:lnTo>
                      <a:pt x="108899" y="392087"/>
                    </a:lnTo>
                    <a:lnTo>
                      <a:pt x="108899" y="698906"/>
                    </a:lnTo>
                    <a:lnTo>
                      <a:pt x="680399" y="699135"/>
                    </a:lnTo>
                    <a:lnTo>
                      <a:pt x="680399" y="391687"/>
                    </a:lnTo>
                    <a:lnTo>
                      <a:pt x="727729" y="436455"/>
                    </a:lnTo>
                    <a:close/>
                    <a:moveTo>
                      <a:pt x="661349" y="680085"/>
                    </a:moveTo>
                    <a:lnTo>
                      <a:pt x="127949" y="679866"/>
                    </a:lnTo>
                    <a:lnTo>
                      <a:pt x="127949" y="374047"/>
                    </a:lnTo>
                    <a:lnTo>
                      <a:pt x="394649" y="121482"/>
                    </a:lnTo>
                    <a:lnTo>
                      <a:pt x="661349" y="373675"/>
                    </a:lnTo>
                    <a:close/>
                    <a:moveTo>
                      <a:pt x="62160" y="410108"/>
                    </a:moveTo>
                    <a:lnTo>
                      <a:pt x="27299" y="375285"/>
                    </a:lnTo>
                    <a:lnTo>
                      <a:pt x="394649" y="26251"/>
                    </a:lnTo>
                    <a:lnTo>
                      <a:pt x="762000" y="375285"/>
                    </a:lnTo>
                    <a:lnTo>
                      <a:pt x="727358" y="409880"/>
                    </a:lnTo>
                    <a:lnTo>
                      <a:pt x="394649" y="9525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90EFA775-87C0-AD1B-C62C-897E5CAC67FB}"/>
              </a:ext>
            </a:extLst>
          </p:cNvPr>
          <p:cNvGrpSpPr/>
          <p:nvPr/>
        </p:nvGrpSpPr>
        <p:grpSpPr>
          <a:xfrm>
            <a:off x="909489" y="5520223"/>
            <a:ext cx="619217" cy="641223"/>
            <a:chOff x="3736215" y="-2226339"/>
            <a:chExt cx="1369563" cy="1418233"/>
          </a:xfrm>
          <a:solidFill>
            <a:schemeClr val="bg1"/>
          </a:solidFill>
        </p:grpSpPr>
        <p:sp>
          <p:nvSpPr>
            <p:cNvPr id="105" name="Freihandform: Form 104">
              <a:extLst>
                <a:ext uri="{FF2B5EF4-FFF2-40B4-BE49-F238E27FC236}">
                  <a16:creationId xmlns:a16="http://schemas.microsoft.com/office/drawing/2014/main" id="{D495F872-352B-E34B-98D0-6B1EE06E11C9}"/>
                </a:ext>
              </a:extLst>
            </p:cNvPr>
            <p:cNvSpPr/>
            <p:nvPr/>
          </p:nvSpPr>
          <p:spPr>
            <a:xfrm>
              <a:off x="3736215" y="-2226339"/>
              <a:ext cx="1369563" cy="833353"/>
            </a:xfrm>
            <a:custGeom>
              <a:avLst/>
              <a:gdLst>
                <a:gd name="connsiteX0" fmla="*/ 748609 w 876503"/>
                <a:gd name="connsiteY0" fmla="*/ 237030 h 533333"/>
                <a:gd name="connsiteX1" fmla="*/ 677172 w 876503"/>
                <a:gd name="connsiteY1" fmla="*/ 120825 h 533333"/>
                <a:gd name="connsiteX2" fmla="*/ 540964 w 876503"/>
                <a:gd name="connsiteY2" fmla="*/ 92250 h 533333"/>
                <a:gd name="connsiteX3" fmla="*/ 371353 w 876503"/>
                <a:gd name="connsiteY3" fmla="*/ 0 h 533333"/>
                <a:gd name="connsiteX4" fmla="*/ 324747 w 876503"/>
                <a:gd name="connsiteY4" fmla="*/ 5468 h 533333"/>
                <a:gd name="connsiteX5" fmla="*/ 170442 w 876503"/>
                <a:gd name="connsiteY5" fmla="*/ 176965 h 533333"/>
                <a:gd name="connsiteX6" fmla="*/ 34234 w 876503"/>
                <a:gd name="connsiteY6" fmla="*/ 247450 h 533333"/>
                <a:gd name="connsiteX7" fmla="*/ 16137 w 876503"/>
                <a:gd name="connsiteY7" fmla="*/ 430330 h 533333"/>
                <a:gd name="connsiteX8" fmla="*/ 165679 w 876503"/>
                <a:gd name="connsiteY8" fmla="*/ 532248 h 533333"/>
                <a:gd name="connsiteX9" fmla="*/ 219210 w 876503"/>
                <a:gd name="connsiteY9" fmla="*/ 532248 h 533333"/>
                <a:gd name="connsiteX10" fmla="*/ 200160 w 876503"/>
                <a:gd name="connsiteY10" fmla="*/ 513198 h 533333"/>
                <a:gd name="connsiteX11" fmla="*/ 166194 w 876503"/>
                <a:gd name="connsiteY11" fmla="*/ 513198 h 533333"/>
                <a:gd name="connsiteX12" fmla="*/ 33482 w 876503"/>
                <a:gd name="connsiteY12" fmla="*/ 422663 h 533333"/>
                <a:gd name="connsiteX13" fmla="*/ 49522 w 876503"/>
                <a:gd name="connsiteY13" fmla="*/ 258833 h 533333"/>
                <a:gd name="connsiteX14" fmla="*/ 171061 w 876503"/>
                <a:gd name="connsiteY14" fmla="*/ 196091 h 533333"/>
                <a:gd name="connsiteX15" fmla="*/ 186882 w 876503"/>
                <a:gd name="connsiteY15" fmla="*/ 195520 h 533333"/>
                <a:gd name="connsiteX16" fmla="*/ 189225 w 876503"/>
                <a:gd name="connsiteY16" fmla="*/ 179861 h 533333"/>
                <a:gd name="connsiteX17" fmla="*/ 329167 w 876503"/>
                <a:gd name="connsiteY17" fmla="*/ 24022 h 533333"/>
                <a:gd name="connsiteX18" fmla="*/ 371315 w 876503"/>
                <a:gd name="connsiteY18" fmla="*/ 19003 h 533333"/>
                <a:gd name="connsiteX19" fmla="*/ 524972 w 876503"/>
                <a:gd name="connsiteY19" fmla="*/ 102623 h 533333"/>
                <a:gd name="connsiteX20" fmla="*/ 532021 w 876503"/>
                <a:gd name="connsiteY20" fmla="*/ 113414 h 533333"/>
                <a:gd name="connsiteX21" fmla="*/ 544660 w 876503"/>
                <a:gd name="connsiteY21" fmla="*/ 110881 h 533333"/>
                <a:gd name="connsiteX22" fmla="*/ 665952 w 876503"/>
                <a:gd name="connsiteY22" fmla="*/ 136208 h 533333"/>
                <a:gd name="connsiteX23" fmla="*/ 729769 w 876503"/>
                <a:gd name="connsiteY23" fmla="*/ 240097 h 533333"/>
                <a:gd name="connsiteX24" fmla="*/ 732007 w 876503"/>
                <a:gd name="connsiteY24" fmla="*/ 253803 h 533333"/>
                <a:gd name="connsiteX25" fmla="*/ 745743 w 876503"/>
                <a:gd name="connsiteY25" fmla="*/ 255861 h 533333"/>
                <a:gd name="connsiteX26" fmla="*/ 856127 w 876503"/>
                <a:gd name="connsiteY26" fmla="*/ 402675 h 533333"/>
                <a:gd name="connsiteX27" fmla="*/ 731455 w 876503"/>
                <a:gd name="connsiteY27" fmla="*/ 514284 h 533333"/>
                <a:gd name="connsiteX28" fmla="*/ 675076 w 876503"/>
                <a:gd name="connsiteY28" fmla="*/ 514284 h 533333"/>
                <a:gd name="connsiteX29" fmla="*/ 656026 w 876503"/>
                <a:gd name="connsiteY29" fmla="*/ 533334 h 533333"/>
                <a:gd name="connsiteX30" fmla="*/ 731465 w 876503"/>
                <a:gd name="connsiteY30" fmla="*/ 533334 h 533333"/>
                <a:gd name="connsiteX31" fmla="*/ 876452 w 876503"/>
                <a:gd name="connsiteY31" fmla="*/ 380576 h 533333"/>
                <a:gd name="connsiteX32" fmla="*/ 748609 w 876503"/>
                <a:gd name="connsiteY32" fmla="*/ 237030 h 533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876503" h="533333">
                  <a:moveTo>
                    <a:pt x="748609" y="237030"/>
                  </a:moveTo>
                  <a:cubicBezTo>
                    <a:pt x="741033" y="190397"/>
                    <a:pt x="715362" y="148638"/>
                    <a:pt x="677172" y="120825"/>
                  </a:cubicBezTo>
                  <a:cubicBezTo>
                    <a:pt x="637582" y="93087"/>
                    <a:pt x="588364" y="82761"/>
                    <a:pt x="540964" y="92250"/>
                  </a:cubicBezTo>
                  <a:cubicBezTo>
                    <a:pt x="503575" y="34893"/>
                    <a:pt x="439819" y="217"/>
                    <a:pt x="371353" y="0"/>
                  </a:cubicBezTo>
                  <a:cubicBezTo>
                    <a:pt x="355656" y="-27"/>
                    <a:pt x="340012" y="1808"/>
                    <a:pt x="324747" y="5468"/>
                  </a:cubicBezTo>
                  <a:cubicBezTo>
                    <a:pt x="243604" y="26566"/>
                    <a:pt x="182884" y="94053"/>
                    <a:pt x="170442" y="176965"/>
                  </a:cubicBezTo>
                  <a:cubicBezTo>
                    <a:pt x="116767" y="178846"/>
                    <a:pt x="66769" y="204718"/>
                    <a:pt x="34234" y="247450"/>
                  </a:cubicBezTo>
                  <a:cubicBezTo>
                    <a:pt x="-3752" y="300906"/>
                    <a:pt x="-10635" y="370466"/>
                    <a:pt x="16137" y="430330"/>
                  </a:cubicBezTo>
                  <a:cubicBezTo>
                    <a:pt x="43445" y="489221"/>
                    <a:pt x="100881" y="528366"/>
                    <a:pt x="165679" y="532248"/>
                  </a:cubicBezTo>
                  <a:lnTo>
                    <a:pt x="219210" y="532248"/>
                  </a:lnTo>
                  <a:lnTo>
                    <a:pt x="200160" y="513198"/>
                  </a:lnTo>
                  <a:lnTo>
                    <a:pt x="166194" y="513198"/>
                  </a:lnTo>
                  <a:cubicBezTo>
                    <a:pt x="108730" y="509554"/>
                    <a:pt x="57839" y="474836"/>
                    <a:pt x="33482" y="422663"/>
                  </a:cubicBezTo>
                  <a:cubicBezTo>
                    <a:pt x="9650" y="369031"/>
                    <a:pt x="15741" y="306823"/>
                    <a:pt x="49522" y="258833"/>
                  </a:cubicBezTo>
                  <a:cubicBezTo>
                    <a:pt x="78693" y="220891"/>
                    <a:pt x="123235" y="197897"/>
                    <a:pt x="171061" y="196091"/>
                  </a:cubicBezTo>
                  <a:lnTo>
                    <a:pt x="186882" y="195520"/>
                  </a:lnTo>
                  <a:lnTo>
                    <a:pt x="189225" y="179861"/>
                  </a:lnTo>
                  <a:cubicBezTo>
                    <a:pt x="200330" y="104519"/>
                    <a:pt x="255449" y="43139"/>
                    <a:pt x="329167" y="24022"/>
                  </a:cubicBezTo>
                  <a:cubicBezTo>
                    <a:pt x="342968" y="20690"/>
                    <a:pt x="357117" y="19005"/>
                    <a:pt x="371315" y="19003"/>
                  </a:cubicBezTo>
                  <a:cubicBezTo>
                    <a:pt x="433395" y="19035"/>
                    <a:pt x="491234" y="50511"/>
                    <a:pt x="524972" y="102623"/>
                  </a:cubicBezTo>
                  <a:lnTo>
                    <a:pt x="532021" y="113414"/>
                  </a:lnTo>
                  <a:lnTo>
                    <a:pt x="544660" y="110881"/>
                  </a:lnTo>
                  <a:cubicBezTo>
                    <a:pt x="586853" y="102441"/>
                    <a:pt x="630662" y="111589"/>
                    <a:pt x="665952" y="136208"/>
                  </a:cubicBezTo>
                  <a:cubicBezTo>
                    <a:pt x="700001" y="161151"/>
                    <a:pt x="722913" y="198450"/>
                    <a:pt x="729769" y="240097"/>
                  </a:cubicBezTo>
                  <a:lnTo>
                    <a:pt x="732007" y="253803"/>
                  </a:lnTo>
                  <a:lnTo>
                    <a:pt x="745743" y="255861"/>
                  </a:lnTo>
                  <a:cubicBezTo>
                    <a:pt x="816766" y="265921"/>
                    <a:pt x="866186" y="331652"/>
                    <a:pt x="856127" y="402675"/>
                  </a:cubicBezTo>
                  <a:cubicBezTo>
                    <a:pt x="847262" y="465258"/>
                    <a:pt x="794633" y="512372"/>
                    <a:pt x="731455" y="514284"/>
                  </a:cubicBezTo>
                  <a:lnTo>
                    <a:pt x="675076" y="514284"/>
                  </a:lnTo>
                  <a:lnTo>
                    <a:pt x="656026" y="533334"/>
                  </a:lnTo>
                  <a:lnTo>
                    <a:pt x="731465" y="533334"/>
                  </a:lnTo>
                  <a:cubicBezTo>
                    <a:pt x="813684" y="531188"/>
                    <a:pt x="878598" y="462796"/>
                    <a:pt x="876452" y="380576"/>
                  </a:cubicBezTo>
                  <a:cubicBezTo>
                    <a:pt x="874557" y="307949"/>
                    <a:pt x="820533" y="247289"/>
                    <a:pt x="748609" y="23703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07" name="Group 175">
              <a:extLst>
                <a:ext uri="{FF2B5EF4-FFF2-40B4-BE49-F238E27FC236}">
                  <a16:creationId xmlns:a16="http://schemas.microsoft.com/office/drawing/2014/main" id="{38CAE99E-D601-0360-FABE-FA25A38D0415}"/>
                </a:ext>
              </a:extLst>
            </p:cNvPr>
            <p:cNvGrpSpPr/>
            <p:nvPr/>
          </p:nvGrpSpPr>
          <p:grpSpPr>
            <a:xfrm>
              <a:off x="4131945" y="-1733518"/>
              <a:ext cx="596467" cy="598176"/>
              <a:chOff x="695325" y="1916113"/>
              <a:chExt cx="554038" cy="555625"/>
            </a:xfrm>
            <a:grpFill/>
          </p:grpSpPr>
          <p:sp>
            <p:nvSpPr>
              <p:cNvPr id="108" name="Freeform 82">
                <a:extLst>
                  <a:ext uri="{FF2B5EF4-FFF2-40B4-BE49-F238E27FC236}">
                    <a16:creationId xmlns:a16="http://schemas.microsoft.com/office/drawing/2014/main" id="{2705FF77-EE84-4CF3-C41B-149061AD45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5325" y="1916113"/>
                <a:ext cx="554038" cy="555625"/>
              </a:xfrm>
              <a:custGeom>
                <a:avLst/>
                <a:gdLst>
                  <a:gd name="T0" fmla="*/ 1395 w 3490"/>
                  <a:gd name="T1" fmla="*/ 326 h 3500"/>
                  <a:gd name="T2" fmla="*/ 1268 w 3490"/>
                  <a:gd name="T3" fmla="*/ 189 h 3500"/>
                  <a:gd name="T4" fmla="*/ 1030 w 3490"/>
                  <a:gd name="T5" fmla="*/ 477 h 3500"/>
                  <a:gd name="T6" fmla="*/ 754 w 3490"/>
                  <a:gd name="T7" fmla="*/ 455 h 3500"/>
                  <a:gd name="T8" fmla="*/ 704 w 3490"/>
                  <a:gd name="T9" fmla="*/ 729 h 3500"/>
                  <a:gd name="T10" fmla="*/ 365 w 3490"/>
                  <a:gd name="T11" fmla="*/ 883 h 3500"/>
                  <a:gd name="T12" fmla="*/ 449 w 3490"/>
                  <a:gd name="T13" fmla="*/ 1048 h 3500"/>
                  <a:gd name="T14" fmla="*/ 313 w 3490"/>
                  <a:gd name="T15" fmla="*/ 1307 h 3500"/>
                  <a:gd name="T16" fmla="*/ 284 w 3490"/>
                  <a:gd name="T17" fmla="*/ 1416 h 3500"/>
                  <a:gd name="T18" fmla="*/ 396 w 3490"/>
                  <a:gd name="T19" fmla="*/ 1716 h 3500"/>
                  <a:gd name="T20" fmla="*/ 131 w 3490"/>
                  <a:gd name="T21" fmla="*/ 1964 h 3500"/>
                  <a:gd name="T22" fmla="*/ 343 w 3490"/>
                  <a:gd name="T23" fmla="*/ 2143 h 3500"/>
                  <a:gd name="T24" fmla="*/ 307 w 3490"/>
                  <a:gd name="T25" fmla="*/ 2516 h 3500"/>
                  <a:gd name="T26" fmla="*/ 492 w 3490"/>
                  <a:gd name="T27" fmla="*/ 2523 h 3500"/>
                  <a:gd name="T28" fmla="*/ 647 w 3490"/>
                  <a:gd name="T29" fmla="*/ 2772 h 3500"/>
                  <a:gd name="T30" fmla="*/ 727 w 3490"/>
                  <a:gd name="T31" fmla="*/ 2851 h 3500"/>
                  <a:gd name="T32" fmla="*/ 974 w 3490"/>
                  <a:gd name="T33" fmla="*/ 3007 h 3500"/>
                  <a:gd name="T34" fmla="*/ 981 w 3490"/>
                  <a:gd name="T35" fmla="*/ 3192 h 3500"/>
                  <a:gd name="T36" fmla="*/ 1354 w 3490"/>
                  <a:gd name="T37" fmla="*/ 3156 h 3500"/>
                  <a:gd name="T38" fmla="*/ 1582 w 3490"/>
                  <a:gd name="T39" fmla="*/ 3375 h 3500"/>
                  <a:gd name="T40" fmla="*/ 1792 w 3490"/>
                  <a:gd name="T41" fmla="*/ 3115 h 3500"/>
                  <a:gd name="T42" fmla="*/ 2080 w 3490"/>
                  <a:gd name="T43" fmla="*/ 3200 h 3500"/>
                  <a:gd name="T44" fmla="*/ 2192 w 3490"/>
                  <a:gd name="T45" fmla="*/ 3200 h 3500"/>
                  <a:gd name="T46" fmla="*/ 2450 w 3490"/>
                  <a:gd name="T47" fmla="*/ 3034 h 3500"/>
                  <a:gd name="T48" fmla="*/ 2674 w 3490"/>
                  <a:gd name="T49" fmla="*/ 3091 h 3500"/>
                  <a:gd name="T50" fmla="*/ 2773 w 3490"/>
                  <a:gd name="T51" fmla="*/ 2781 h 3500"/>
                  <a:gd name="T52" fmla="*/ 3082 w 3490"/>
                  <a:gd name="T53" fmla="*/ 2681 h 3500"/>
                  <a:gd name="T54" fmla="*/ 3026 w 3490"/>
                  <a:gd name="T55" fmla="*/ 2457 h 3500"/>
                  <a:gd name="T56" fmla="*/ 3191 w 3490"/>
                  <a:gd name="T57" fmla="*/ 2199 h 3500"/>
                  <a:gd name="T58" fmla="*/ 3191 w 3490"/>
                  <a:gd name="T59" fmla="*/ 2086 h 3500"/>
                  <a:gd name="T60" fmla="*/ 3094 w 3490"/>
                  <a:gd name="T61" fmla="*/ 1784 h 3500"/>
                  <a:gd name="T62" fmla="*/ 3359 w 3490"/>
                  <a:gd name="T63" fmla="*/ 1536 h 3500"/>
                  <a:gd name="T64" fmla="*/ 3149 w 3490"/>
                  <a:gd name="T65" fmla="*/ 1372 h 3500"/>
                  <a:gd name="T66" fmla="*/ 3218 w 3490"/>
                  <a:gd name="T67" fmla="*/ 1053 h 3500"/>
                  <a:gd name="T68" fmla="*/ 2996 w 3490"/>
                  <a:gd name="T69" fmla="*/ 992 h 3500"/>
                  <a:gd name="T70" fmla="*/ 2855 w 3490"/>
                  <a:gd name="T71" fmla="*/ 719 h 3500"/>
                  <a:gd name="T72" fmla="*/ 2758 w 3490"/>
                  <a:gd name="T73" fmla="*/ 663 h 3500"/>
                  <a:gd name="T74" fmla="*/ 2530 w 3490"/>
                  <a:gd name="T75" fmla="*/ 487 h 3500"/>
                  <a:gd name="T76" fmla="*/ 2450 w 3490"/>
                  <a:gd name="T77" fmla="*/ 407 h 3500"/>
                  <a:gd name="T78" fmla="*/ 2151 w 3490"/>
                  <a:gd name="T79" fmla="*/ 342 h 3500"/>
                  <a:gd name="T80" fmla="*/ 2110 w 3490"/>
                  <a:gd name="T81" fmla="*/ 158 h 3500"/>
                  <a:gd name="T82" fmla="*/ 1727 w 3490"/>
                  <a:gd name="T83" fmla="*/ 405 h 3500"/>
                  <a:gd name="T84" fmla="*/ 2109 w 3490"/>
                  <a:gd name="T85" fmla="*/ 38 h 3500"/>
                  <a:gd name="T86" fmla="*/ 2613 w 3490"/>
                  <a:gd name="T87" fmla="*/ 233 h 3500"/>
                  <a:gd name="T88" fmla="*/ 2976 w 3490"/>
                  <a:gd name="T89" fmla="*/ 511 h 3500"/>
                  <a:gd name="T90" fmla="*/ 3255 w 3490"/>
                  <a:gd name="T91" fmla="*/ 873 h 3500"/>
                  <a:gd name="T92" fmla="*/ 3431 w 3490"/>
                  <a:gd name="T93" fmla="*/ 1297 h 3500"/>
                  <a:gd name="T94" fmla="*/ 3452 w 3490"/>
                  <a:gd name="T95" fmla="*/ 2115 h 3500"/>
                  <a:gd name="T96" fmla="*/ 3256 w 3490"/>
                  <a:gd name="T97" fmla="*/ 2625 h 3500"/>
                  <a:gd name="T98" fmla="*/ 2977 w 3490"/>
                  <a:gd name="T99" fmla="*/ 2989 h 3500"/>
                  <a:gd name="T100" fmla="*/ 2611 w 3490"/>
                  <a:gd name="T101" fmla="*/ 3268 h 3500"/>
                  <a:gd name="T102" fmla="*/ 2020 w 3490"/>
                  <a:gd name="T103" fmla="*/ 3478 h 3500"/>
                  <a:gd name="T104" fmla="*/ 1293 w 3490"/>
                  <a:gd name="T105" fmla="*/ 3440 h 3500"/>
                  <a:gd name="T106" fmla="*/ 869 w 3490"/>
                  <a:gd name="T107" fmla="*/ 3262 h 3500"/>
                  <a:gd name="T108" fmla="*/ 447 w 3490"/>
                  <a:gd name="T109" fmla="*/ 2919 h 3500"/>
                  <a:gd name="T110" fmla="*/ 151 w 3490"/>
                  <a:gd name="T111" fmla="*/ 2461 h 3500"/>
                  <a:gd name="T112" fmla="*/ 2 w 3490"/>
                  <a:gd name="T113" fmla="*/ 1843 h 3500"/>
                  <a:gd name="T114" fmla="*/ 86 w 3490"/>
                  <a:gd name="T115" fmla="*/ 1209 h 3500"/>
                  <a:gd name="T116" fmla="*/ 335 w 3490"/>
                  <a:gd name="T117" fmla="*/ 721 h 3500"/>
                  <a:gd name="T118" fmla="*/ 719 w 3490"/>
                  <a:gd name="T119" fmla="*/ 335 h 3500"/>
                  <a:gd name="T120" fmla="*/ 1206 w 3490"/>
                  <a:gd name="T121" fmla="*/ 86 h 3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90" h="3500">
                    <a:moveTo>
                      <a:pt x="1687" y="118"/>
                    </a:moveTo>
                    <a:lnTo>
                      <a:pt x="1609" y="123"/>
                    </a:lnTo>
                    <a:lnTo>
                      <a:pt x="1531" y="132"/>
                    </a:lnTo>
                    <a:lnTo>
                      <a:pt x="1455" y="143"/>
                    </a:lnTo>
                    <a:lnTo>
                      <a:pt x="1380" y="159"/>
                    </a:lnTo>
                    <a:lnTo>
                      <a:pt x="1410" y="270"/>
                    </a:lnTo>
                    <a:lnTo>
                      <a:pt x="1412" y="285"/>
                    </a:lnTo>
                    <a:lnTo>
                      <a:pt x="1410" y="300"/>
                    </a:lnTo>
                    <a:lnTo>
                      <a:pt x="1404" y="314"/>
                    </a:lnTo>
                    <a:lnTo>
                      <a:pt x="1395" y="326"/>
                    </a:lnTo>
                    <a:lnTo>
                      <a:pt x="1383" y="335"/>
                    </a:lnTo>
                    <a:lnTo>
                      <a:pt x="1369" y="342"/>
                    </a:lnTo>
                    <a:lnTo>
                      <a:pt x="1361" y="343"/>
                    </a:lnTo>
                    <a:lnTo>
                      <a:pt x="1354" y="344"/>
                    </a:lnTo>
                    <a:lnTo>
                      <a:pt x="1338" y="342"/>
                    </a:lnTo>
                    <a:lnTo>
                      <a:pt x="1324" y="335"/>
                    </a:lnTo>
                    <a:lnTo>
                      <a:pt x="1312" y="327"/>
                    </a:lnTo>
                    <a:lnTo>
                      <a:pt x="1303" y="315"/>
                    </a:lnTo>
                    <a:lnTo>
                      <a:pt x="1298" y="300"/>
                    </a:lnTo>
                    <a:lnTo>
                      <a:pt x="1268" y="189"/>
                    </a:lnTo>
                    <a:lnTo>
                      <a:pt x="1194" y="213"/>
                    </a:lnTo>
                    <a:lnTo>
                      <a:pt x="1121" y="242"/>
                    </a:lnTo>
                    <a:lnTo>
                      <a:pt x="1050" y="273"/>
                    </a:lnTo>
                    <a:lnTo>
                      <a:pt x="981" y="308"/>
                    </a:lnTo>
                    <a:lnTo>
                      <a:pt x="1040" y="407"/>
                    </a:lnTo>
                    <a:lnTo>
                      <a:pt x="1045" y="422"/>
                    </a:lnTo>
                    <a:lnTo>
                      <a:pt x="1047" y="437"/>
                    </a:lnTo>
                    <a:lnTo>
                      <a:pt x="1045" y="452"/>
                    </a:lnTo>
                    <a:lnTo>
                      <a:pt x="1040" y="466"/>
                    </a:lnTo>
                    <a:lnTo>
                      <a:pt x="1030" y="477"/>
                    </a:lnTo>
                    <a:lnTo>
                      <a:pt x="1018" y="487"/>
                    </a:lnTo>
                    <a:lnTo>
                      <a:pt x="1004" y="493"/>
                    </a:lnTo>
                    <a:lnTo>
                      <a:pt x="989" y="494"/>
                    </a:lnTo>
                    <a:lnTo>
                      <a:pt x="974" y="493"/>
                    </a:lnTo>
                    <a:lnTo>
                      <a:pt x="960" y="487"/>
                    </a:lnTo>
                    <a:lnTo>
                      <a:pt x="948" y="478"/>
                    </a:lnTo>
                    <a:lnTo>
                      <a:pt x="938" y="466"/>
                    </a:lnTo>
                    <a:lnTo>
                      <a:pt x="881" y="366"/>
                    </a:lnTo>
                    <a:lnTo>
                      <a:pt x="816" y="409"/>
                    </a:lnTo>
                    <a:lnTo>
                      <a:pt x="754" y="455"/>
                    </a:lnTo>
                    <a:lnTo>
                      <a:pt x="694" y="504"/>
                    </a:lnTo>
                    <a:lnTo>
                      <a:pt x="636" y="556"/>
                    </a:lnTo>
                    <a:lnTo>
                      <a:pt x="717" y="636"/>
                    </a:lnTo>
                    <a:lnTo>
                      <a:pt x="727" y="649"/>
                    </a:lnTo>
                    <a:lnTo>
                      <a:pt x="732" y="663"/>
                    </a:lnTo>
                    <a:lnTo>
                      <a:pt x="734" y="678"/>
                    </a:lnTo>
                    <a:lnTo>
                      <a:pt x="732" y="693"/>
                    </a:lnTo>
                    <a:lnTo>
                      <a:pt x="727" y="706"/>
                    </a:lnTo>
                    <a:lnTo>
                      <a:pt x="717" y="719"/>
                    </a:lnTo>
                    <a:lnTo>
                      <a:pt x="704" y="729"/>
                    </a:lnTo>
                    <a:lnTo>
                      <a:pt x="691" y="734"/>
                    </a:lnTo>
                    <a:lnTo>
                      <a:pt x="676" y="736"/>
                    </a:lnTo>
                    <a:lnTo>
                      <a:pt x="661" y="734"/>
                    </a:lnTo>
                    <a:lnTo>
                      <a:pt x="647" y="729"/>
                    </a:lnTo>
                    <a:lnTo>
                      <a:pt x="635" y="719"/>
                    </a:lnTo>
                    <a:lnTo>
                      <a:pt x="554" y="637"/>
                    </a:lnTo>
                    <a:lnTo>
                      <a:pt x="502" y="696"/>
                    </a:lnTo>
                    <a:lnTo>
                      <a:pt x="454" y="756"/>
                    </a:lnTo>
                    <a:lnTo>
                      <a:pt x="408" y="819"/>
                    </a:lnTo>
                    <a:lnTo>
                      <a:pt x="365" y="883"/>
                    </a:lnTo>
                    <a:lnTo>
                      <a:pt x="464" y="941"/>
                    </a:lnTo>
                    <a:lnTo>
                      <a:pt x="477" y="950"/>
                    </a:lnTo>
                    <a:lnTo>
                      <a:pt x="485" y="963"/>
                    </a:lnTo>
                    <a:lnTo>
                      <a:pt x="492" y="977"/>
                    </a:lnTo>
                    <a:lnTo>
                      <a:pt x="494" y="992"/>
                    </a:lnTo>
                    <a:lnTo>
                      <a:pt x="492" y="1007"/>
                    </a:lnTo>
                    <a:lnTo>
                      <a:pt x="485" y="1021"/>
                    </a:lnTo>
                    <a:lnTo>
                      <a:pt x="476" y="1033"/>
                    </a:lnTo>
                    <a:lnTo>
                      <a:pt x="464" y="1043"/>
                    </a:lnTo>
                    <a:lnTo>
                      <a:pt x="449" y="1048"/>
                    </a:lnTo>
                    <a:lnTo>
                      <a:pt x="435" y="1050"/>
                    </a:lnTo>
                    <a:lnTo>
                      <a:pt x="420" y="1048"/>
                    </a:lnTo>
                    <a:lnTo>
                      <a:pt x="406" y="1043"/>
                    </a:lnTo>
                    <a:lnTo>
                      <a:pt x="307" y="984"/>
                    </a:lnTo>
                    <a:lnTo>
                      <a:pt x="272" y="1053"/>
                    </a:lnTo>
                    <a:lnTo>
                      <a:pt x="241" y="1124"/>
                    </a:lnTo>
                    <a:lnTo>
                      <a:pt x="213" y="1197"/>
                    </a:lnTo>
                    <a:lnTo>
                      <a:pt x="188" y="1272"/>
                    </a:lnTo>
                    <a:lnTo>
                      <a:pt x="299" y="1301"/>
                    </a:lnTo>
                    <a:lnTo>
                      <a:pt x="313" y="1307"/>
                    </a:lnTo>
                    <a:lnTo>
                      <a:pt x="326" y="1316"/>
                    </a:lnTo>
                    <a:lnTo>
                      <a:pt x="334" y="1328"/>
                    </a:lnTo>
                    <a:lnTo>
                      <a:pt x="341" y="1342"/>
                    </a:lnTo>
                    <a:lnTo>
                      <a:pt x="343" y="1358"/>
                    </a:lnTo>
                    <a:lnTo>
                      <a:pt x="341" y="1372"/>
                    </a:lnTo>
                    <a:lnTo>
                      <a:pt x="334" y="1387"/>
                    </a:lnTo>
                    <a:lnTo>
                      <a:pt x="325" y="1399"/>
                    </a:lnTo>
                    <a:lnTo>
                      <a:pt x="313" y="1407"/>
                    </a:lnTo>
                    <a:lnTo>
                      <a:pt x="299" y="1414"/>
                    </a:lnTo>
                    <a:lnTo>
                      <a:pt x="284" y="1416"/>
                    </a:lnTo>
                    <a:lnTo>
                      <a:pt x="277" y="1415"/>
                    </a:lnTo>
                    <a:lnTo>
                      <a:pt x="269" y="1414"/>
                    </a:lnTo>
                    <a:lnTo>
                      <a:pt x="158" y="1384"/>
                    </a:lnTo>
                    <a:lnTo>
                      <a:pt x="139" y="1485"/>
                    </a:lnTo>
                    <a:lnTo>
                      <a:pt x="125" y="1587"/>
                    </a:lnTo>
                    <a:lnTo>
                      <a:pt x="117" y="1692"/>
                    </a:lnTo>
                    <a:lnTo>
                      <a:pt x="349" y="1692"/>
                    </a:lnTo>
                    <a:lnTo>
                      <a:pt x="367" y="1695"/>
                    </a:lnTo>
                    <a:lnTo>
                      <a:pt x="384" y="1703"/>
                    </a:lnTo>
                    <a:lnTo>
                      <a:pt x="396" y="1716"/>
                    </a:lnTo>
                    <a:lnTo>
                      <a:pt x="404" y="1732"/>
                    </a:lnTo>
                    <a:lnTo>
                      <a:pt x="407" y="1750"/>
                    </a:lnTo>
                    <a:lnTo>
                      <a:pt x="404" y="1768"/>
                    </a:lnTo>
                    <a:lnTo>
                      <a:pt x="396" y="1784"/>
                    </a:lnTo>
                    <a:lnTo>
                      <a:pt x="384" y="1797"/>
                    </a:lnTo>
                    <a:lnTo>
                      <a:pt x="367" y="1805"/>
                    </a:lnTo>
                    <a:lnTo>
                      <a:pt x="349" y="1808"/>
                    </a:lnTo>
                    <a:lnTo>
                      <a:pt x="117" y="1808"/>
                    </a:lnTo>
                    <a:lnTo>
                      <a:pt x="123" y="1887"/>
                    </a:lnTo>
                    <a:lnTo>
                      <a:pt x="131" y="1964"/>
                    </a:lnTo>
                    <a:lnTo>
                      <a:pt x="143" y="2041"/>
                    </a:lnTo>
                    <a:lnTo>
                      <a:pt x="159" y="2116"/>
                    </a:lnTo>
                    <a:lnTo>
                      <a:pt x="270" y="2086"/>
                    </a:lnTo>
                    <a:lnTo>
                      <a:pt x="284" y="2084"/>
                    </a:lnTo>
                    <a:lnTo>
                      <a:pt x="299" y="2086"/>
                    </a:lnTo>
                    <a:lnTo>
                      <a:pt x="313" y="2092"/>
                    </a:lnTo>
                    <a:lnTo>
                      <a:pt x="326" y="2101"/>
                    </a:lnTo>
                    <a:lnTo>
                      <a:pt x="334" y="2113"/>
                    </a:lnTo>
                    <a:lnTo>
                      <a:pt x="341" y="2128"/>
                    </a:lnTo>
                    <a:lnTo>
                      <a:pt x="343" y="2143"/>
                    </a:lnTo>
                    <a:lnTo>
                      <a:pt x="341" y="2158"/>
                    </a:lnTo>
                    <a:lnTo>
                      <a:pt x="334" y="2172"/>
                    </a:lnTo>
                    <a:lnTo>
                      <a:pt x="326" y="2184"/>
                    </a:lnTo>
                    <a:lnTo>
                      <a:pt x="314" y="2193"/>
                    </a:lnTo>
                    <a:lnTo>
                      <a:pt x="299" y="2199"/>
                    </a:lnTo>
                    <a:lnTo>
                      <a:pt x="188" y="2228"/>
                    </a:lnTo>
                    <a:lnTo>
                      <a:pt x="213" y="2303"/>
                    </a:lnTo>
                    <a:lnTo>
                      <a:pt x="241" y="2376"/>
                    </a:lnTo>
                    <a:lnTo>
                      <a:pt x="272" y="2447"/>
                    </a:lnTo>
                    <a:lnTo>
                      <a:pt x="307" y="2516"/>
                    </a:lnTo>
                    <a:lnTo>
                      <a:pt x="406" y="2457"/>
                    </a:lnTo>
                    <a:lnTo>
                      <a:pt x="421" y="2452"/>
                    </a:lnTo>
                    <a:lnTo>
                      <a:pt x="436" y="2450"/>
                    </a:lnTo>
                    <a:lnTo>
                      <a:pt x="451" y="2452"/>
                    </a:lnTo>
                    <a:lnTo>
                      <a:pt x="464" y="2457"/>
                    </a:lnTo>
                    <a:lnTo>
                      <a:pt x="476" y="2467"/>
                    </a:lnTo>
                    <a:lnTo>
                      <a:pt x="485" y="2480"/>
                    </a:lnTo>
                    <a:lnTo>
                      <a:pt x="492" y="2493"/>
                    </a:lnTo>
                    <a:lnTo>
                      <a:pt x="494" y="2508"/>
                    </a:lnTo>
                    <a:lnTo>
                      <a:pt x="492" y="2523"/>
                    </a:lnTo>
                    <a:lnTo>
                      <a:pt x="485" y="2537"/>
                    </a:lnTo>
                    <a:lnTo>
                      <a:pt x="477" y="2550"/>
                    </a:lnTo>
                    <a:lnTo>
                      <a:pt x="464" y="2559"/>
                    </a:lnTo>
                    <a:lnTo>
                      <a:pt x="365" y="2617"/>
                    </a:lnTo>
                    <a:lnTo>
                      <a:pt x="408" y="2681"/>
                    </a:lnTo>
                    <a:lnTo>
                      <a:pt x="454" y="2744"/>
                    </a:lnTo>
                    <a:lnTo>
                      <a:pt x="502" y="2804"/>
                    </a:lnTo>
                    <a:lnTo>
                      <a:pt x="554" y="2863"/>
                    </a:lnTo>
                    <a:lnTo>
                      <a:pt x="635" y="2781"/>
                    </a:lnTo>
                    <a:lnTo>
                      <a:pt x="647" y="2772"/>
                    </a:lnTo>
                    <a:lnTo>
                      <a:pt x="661" y="2766"/>
                    </a:lnTo>
                    <a:lnTo>
                      <a:pt x="676" y="2764"/>
                    </a:lnTo>
                    <a:lnTo>
                      <a:pt x="691" y="2766"/>
                    </a:lnTo>
                    <a:lnTo>
                      <a:pt x="704" y="2772"/>
                    </a:lnTo>
                    <a:lnTo>
                      <a:pt x="717" y="2781"/>
                    </a:lnTo>
                    <a:lnTo>
                      <a:pt x="727" y="2794"/>
                    </a:lnTo>
                    <a:lnTo>
                      <a:pt x="732" y="2807"/>
                    </a:lnTo>
                    <a:lnTo>
                      <a:pt x="734" y="2822"/>
                    </a:lnTo>
                    <a:lnTo>
                      <a:pt x="732" y="2837"/>
                    </a:lnTo>
                    <a:lnTo>
                      <a:pt x="727" y="2851"/>
                    </a:lnTo>
                    <a:lnTo>
                      <a:pt x="717" y="2864"/>
                    </a:lnTo>
                    <a:lnTo>
                      <a:pt x="637" y="2945"/>
                    </a:lnTo>
                    <a:lnTo>
                      <a:pt x="694" y="2996"/>
                    </a:lnTo>
                    <a:lnTo>
                      <a:pt x="754" y="3045"/>
                    </a:lnTo>
                    <a:lnTo>
                      <a:pt x="816" y="3091"/>
                    </a:lnTo>
                    <a:lnTo>
                      <a:pt x="881" y="3134"/>
                    </a:lnTo>
                    <a:lnTo>
                      <a:pt x="939" y="3034"/>
                    </a:lnTo>
                    <a:lnTo>
                      <a:pt x="949" y="3022"/>
                    </a:lnTo>
                    <a:lnTo>
                      <a:pt x="960" y="3013"/>
                    </a:lnTo>
                    <a:lnTo>
                      <a:pt x="974" y="3007"/>
                    </a:lnTo>
                    <a:lnTo>
                      <a:pt x="989" y="3005"/>
                    </a:lnTo>
                    <a:lnTo>
                      <a:pt x="1004" y="3007"/>
                    </a:lnTo>
                    <a:lnTo>
                      <a:pt x="1018" y="3013"/>
                    </a:lnTo>
                    <a:lnTo>
                      <a:pt x="1030" y="3023"/>
                    </a:lnTo>
                    <a:lnTo>
                      <a:pt x="1040" y="3034"/>
                    </a:lnTo>
                    <a:lnTo>
                      <a:pt x="1045" y="3048"/>
                    </a:lnTo>
                    <a:lnTo>
                      <a:pt x="1047" y="3063"/>
                    </a:lnTo>
                    <a:lnTo>
                      <a:pt x="1045" y="3078"/>
                    </a:lnTo>
                    <a:lnTo>
                      <a:pt x="1040" y="3093"/>
                    </a:lnTo>
                    <a:lnTo>
                      <a:pt x="981" y="3192"/>
                    </a:lnTo>
                    <a:lnTo>
                      <a:pt x="1050" y="3227"/>
                    </a:lnTo>
                    <a:lnTo>
                      <a:pt x="1121" y="3258"/>
                    </a:lnTo>
                    <a:lnTo>
                      <a:pt x="1194" y="3287"/>
                    </a:lnTo>
                    <a:lnTo>
                      <a:pt x="1268" y="3311"/>
                    </a:lnTo>
                    <a:lnTo>
                      <a:pt x="1298" y="3200"/>
                    </a:lnTo>
                    <a:lnTo>
                      <a:pt x="1304" y="3186"/>
                    </a:lnTo>
                    <a:lnTo>
                      <a:pt x="1312" y="3173"/>
                    </a:lnTo>
                    <a:lnTo>
                      <a:pt x="1324" y="3165"/>
                    </a:lnTo>
                    <a:lnTo>
                      <a:pt x="1338" y="3158"/>
                    </a:lnTo>
                    <a:lnTo>
                      <a:pt x="1354" y="3156"/>
                    </a:lnTo>
                    <a:lnTo>
                      <a:pt x="1369" y="3158"/>
                    </a:lnTo>
                    <a:lnTo>
                      <a:pt x="1383" y="3165"/>
                    </a:lnTo>
                    <a:lnTo>
                      <a:pt x="1395" y="3174"/>
                    </a:lnTo>
                    <a:lnTo>
                      <a:pt x="1404" y="3186"/>
                    </a:lnTo>
                    <a:lnTo>
                      <a:pt x="1410" y="3200"/>
                    </a:lnTo>
                    <a:lnTo>
                      <a:pt x="1412" y="3215"/>
                    </a:lnTo>
                    <a:lnTo>
                      <a:pt x="1410" y="3231"/>
                    </a:lnTo>
                    <a:lnTo>
                      <a:pt x="1380" y="3342"/>
                    </a:lnTo>
                    <a:lnTo>
                      <a:pt x="1481" y="3361"/>
                    </a:lnTo>
                    <a:lnTo>
                      <a:pt x="1582" y="3375"/>
                    </a:lnTo>
                    <a:lnTo>
                      <a:pt x="1687" y="3382"/>
                    </a:lnTo>
                    <a:lnTo>
                      <a:pt x="1687" y="3150"/>
                    </a:lnTo>
                    <a:lnTo>
                      <a:pt x="1690" y="3132"/>
                    </a:lnTo>
                    <a:lnTo>
                      <a:pt x="1698" y="3115"/>
                    </a:lnTo>
                    <a:lnTo>
                      <a:pt x="1711" y="3103"/>
                    </a:lnTo>
                    <a:lnTo>
                      <a:pt x="1727" y="3095"/>
                    </a:lnTo>
                    <a:lnTo>
                      <a:pt x="1745" y="3092"/>
                    </a:lnTo>
                    <a:lnTo>
                      <a:pt x="1763" y="3095"/>
                    </a:lnTo>
                    <a:lnTo>
                      <a:pt x="1779" y="3103"/>
                    </a:lnTo>
                    <a:lnTo>
                      <a:pt x="1792" y="3115"/>
                    </a:lnTo>
                    <a:lnTo>
                      <a:pt x="1800" y="3132"/>
                    </a:lnTo>
                    <a:lnTo>
                      <a:pt x="1803" y="3150"/>
                    </a:lnTo>
                    <a:lnTo>
                      <a:pt x="1803" y="3382"/>
                    </a:lnTo>
                    <a:lnTo>
                      <a:pt x="1881" y="3377"/>
                    </a:lnTo>
                    <a:lnTo>
                      <a:pt x="1959" y="3368"/>
                    </a:lnTo>
                    <a:lnTo>
                      <a:pt x="2035" y="3357"/>
                    </a:lnTo>
                    <a:lnTo>
                      <a:pt x="2110" y="3341"/>
                    </a:lnTo>
                    <a:lnTo>
                      <a:pt x="2080" y="3230"/>
                    </a:lnTo>
                    <a:lnTo>
                      <a:pt x="2078" y="3215"/>
                    </a:lnTo>
                    <a:lnTo>
                      <a:pt x="2080" y="3200"/>
                    </a:lnTo>
                    <a:lnTo>
                      <a:pt x="2086" y="3186"/>
                    </a:lnTo>
                    <a:lnTo>
                      <a:pt x="2095" y="3173"/>
                    </a:lnTo>
                    <a:lnTo>
                      <a:pt x="2107" y="3165"/>
                    </a:lnTo>
                    <a:lnTo>
                      <a:pt x="2121" y="3158"/>
                    </a:lnTo>
                    <a:lnTo>
                      <a:pt x="2137" y="3156"/>
                    </a:lnTo>
                    <a:lnTo>
                      <a:pt x="2152" y="3158"/>
                    </a:lnTo>
                    <a:lnTo>
                      <a:pt x="2166" y="3165"/>
                    </a:lnTo>
                    <a:lnTo>
                      <a:pt x="2178" y="3173"/>
                    </a:lnTo>
                    <a:lnTo>
                      <a:pt x="2187" y="3185"/>
                    </a:lnTo>
                    <a:lnTo>
                      <a:pt x="2192" y="3200"/>
                    </a:lnTo>
                    <a:lnTo>
                      <a:pt x="2222" y="3311"/>
                    </a:lnTo>
                    <a:lnTo>
                      <a:pt x="2296" y="3287"/>
                    </a:lnTo>
                    <a:lnTo>
                      <a:pt x="2369" y="3258"/>
                    </a:lnTo>
                    <a:lnTo>
                      <a:pt x="2440" y="3226"/>
                    </a:lnTo>
                    <a:lnTo>
                      <a:pt x="2509" y="3192"/>
                    </a:lnTo>
                    <a:lnTo>
                      <a:pt x="2450" y="3093"/>
                    </a:lnTo>
                    <a:lnTo>
                      <a:pt x="2445" y="3078"/>
                    </a:lnTo>
                    <a:lnTo>
                      <a:pt x="2443" y="3063"/>
                    </a:lnTo>
                    <a:lnTo>
                      <a:pt x="2445" y="3048"/>
                    </a:lnTo>
                    <a:lnTo>
                      <a:pt x="2450" y="3034"/>
                    </a:lnTo>
                    <a:lnTo>
                      <a:pt x="2460" y="3023"/>
                    </a:lnTo>
                    <a:lnTo>
                      <a:pt x="2473" y="3013"/>
                    </a:lnTo>
                    <a:lnTo>
                      <a:pt x="2486" y="3007"/>
                    </a:lnTo>
                    <a:lnTo>
                      <a:pt x="2501" y="3005"/>
                    </a:lnTo>
                    <a:lnTo>
                      <a:pt x="2516" y="3007"/>
                    </a:lnTo>
                    <a:lnTo>
                      <a:pt x="2530" y="3013"/>
                    </a:lnTo>
                    <a:lnTo>
                      <a:pt x="2542" y="3022"/>
                    </a:lnTo>
                    <a:lnTo>
                      <a:pt x="2552" y="3034"/>
                    </a:lnTo>
                    <a:lnTo>
                      <a:pt x="2609" y="3134"/>
                    </a:lnTo>
                    <a:lnTo>
                      <a:pt x="2674" y="3091"/>
                    </a:lnTo>
                    <a:lnTo>
                      <a:pt x="2736" y="3045"/>
                    </a:lnTo>
                    <a:lnTo>
                      <a:pt x="2796" y="2996"/>
                    </a:lnTo>
                    <a:lnTo>
                      <a:pt x="2854" y="2944"/>
                    </a:lnTo>
                    <a:lnTo>
                      <a:pt x="2773" y="2864"/>
                    </a:lnTo>
                    <a:lnTo>
                      <a:pt x="2763" y="2851"/>
                    </a:lnTo>
                    <a:lnTo>
                      <a:pt x="2758" y="2837"/>
                    </a:lnTo>
                    <a:lnTo>
                      <a:pt x="2756" y="2822"/>
                    </a:lnTo>
                    <a:lnTo>
                      <a:pt x="2758" y="2807"/>
                    </a:lnTo>
                    <a:lnTo>
                      <a:pt x="2763" y="2794"/>
                    </a:lnTo>
                    <a:lnTo>
                      <a:pt x="2773" y="2781"/>
                    </a:lnTo>
                    <a:lnTo>
                      <a:pt x="2786" y="2771"/>
                    </a:lnTo>
                    <a:lnTo>
                      <a:pt x="2799" y="2766"/>
                    </a:lnTo>
                    <a:lnTo>
                      <a:pt x="2814" y="2764"/>
                    </a:lnTo>
                    <a:lnTo>
                      <a:pt x="2829" y="2766"/>
                    </a:lnTo>
                    <a:lnTo>
                      <a:pt x="2843" y="2771"/>
                    </a:lnTo>
                    <a:lnTo>
                      <a:pt x="2855" y="2781"/>
                    </a:lnTo>
                    <a:lnTo>
                      <a:pt x="2936" y="2863"/>
                    </a:lnTo>
                    <a:lnTo>
                      <a:pt x="2988" y="2804"/>
                    </a:lnTo>
                    <a:lnTo>
                      <a:pt x="3036" y="2744"/>
                    </a:lnTo>
                    <a:lnTo>
                      <a:pt x="3082" y="2681"/>
                    </a:lnTo>
                    <a:lnTo>
                      <a:pt x="3125" y="2617"/>
                    </a:lnTo>
                    <a:lnTo>
                      <a:pt x="3026" y="2559"/>
                    </a:lnTo>
                    <a:lnTo>
                      <a:pt x="3013" y="2550"/>
                    </a:lnTo>
                    <a:lnTo>
                      <a:pt x="3005" y="2537"/>
                    </a:lnTo>
                    <a:lnTo>
                      <a:pt x="2998" y="2523"/>
                    </a:lnTo>
                    <a:lnTo>
                      <a:pt x="2996" y="2508"/>
                    </a:lnTo>
                    <a:lnTo>
                      <a:pt x="2998" y="2493"/>
                    </a:lnTo>
                    <a:lnTo>
                      <a:pt x="3005" y="2480"/>
                    </a:lnTo>
                    <a:lnTo>
                      <a:pt x="3014" y="2467"/>
                    </a:lnTo>
                    <a:lnTo>
                      <a:pt x="3026" y="2457"/>
                    </a:lnTo>
                    <a:lnTo>
                      <a:pt x="3039" y="2452"/>
                    </a:lnTo>
                    <a:lnTo>
                      <a:pt x="3054" y="2450"/>
                    </a:lnTo>
                    <a:lnTo>
                      <a:pt x="3069" y="2452"/>
                    </a:lnTo>
                    <a:lnTo>
                      <a:pt x="3084" y="2457"/>
                    </a:lnTo>
                    <a:lnTo>
                      <a:pt x="3183" y="2516"/>
                    </a:lnTo>
                    <a:lnTo>
                      <a:pt x="3218" y="2447"/>
                    </a:lnTo>
                    <a:lnTo>
                      <a:pt x="3249" y="2376"/>
                    </a:lnTo>
                    <a:lnTo>
                      <a:pt x="3277" y="2303"/>
                    </a:lnTo>
                    <a:lnTo>
                      <a:pt x="3302" y="2228"/>
                    </a:lnTo>
                    <a:lnTo>
                      <a:pt x="3191" y="2199"/>
                    </a:lnTo>
                    <a:lnTo>
                      <a:pt x="3176" y="2193"/>
                    </a:lnTo>
                    <a:lnTo>
                      <a:pt x="3164" y="2184"/>
                    </a:lnTo>
                    <a:lnTo>
                      <a:pt x="3156" y="2172"/>
                    </a:lnTo>
                    <a:lnTo>
                      <a:pt x="3149" y="2158"/>
                    </a:lnTo>
                    <a:lnTo>
                      <a:pt x="3147" y="2142"/>
                    </a:lnTo>
                    <a:lnTo>
                      <a:pt x="3149" y="2128"/>
                    </a:lnTo>
                    <a:lnTo>
                      <a:pt x="3156" y="2113"/>
                    </a:lnTo>
                    <a:lnTo>
                      <a:pt x="3165" y="2101"/>
                    </a:lnTo>
                    <a:lnTo>
                      <a:pt x="3177" y="2092"/>
                    </a:lnTo>
                    <a:lnTo>
                      <a:pt x="3191" y="2086"/>
                    </a:lnTo>
                    <a:lnTo>
                      <a:pt x="3206" y="2084"/>
                    </a:lnTo>
                    <a:lnTo>
                      <a:pt x="3221" y="2086"/>
                    </a:lnTo>
                    <a:lnTo>
                      <a:pt x="3332" y="2116"/>
                    </a:lnTo>
                    <a:lnTo>
                      <a:pt x="3351" y="2015"/>
                    </a:lnTo>
                    <a:lnTo>
                      <a:pt x="3365" y="1913"/>
                    </a:lnTo>
                    <a:lnTo>
                      <a:pt x="3373" y="1808"/>
                    </a:lnTo>
                    <a:lnTo>
                      <a:pt x="3141" y="1808"/>
                    </a:lnTo>
                    <a:lnTo>
                      <a:pt x="3123" y="1805"/>
                    </a:lnTo>
                    <a:lnTo>
                      <a:pt x="3106" y="1797"/>
                    </a:lnTo>
                    <a:lnTo>
                      <a:pt x="3094" y="1784"/>
                    </a:lnTo>
                    <a:lnTo>
                      <a:pt x="3086" y="1768"/>
                    </a:lnTo>
                    <a:lnTo>
                      <a:pt x="3083" y="1750"/>
                    </a:lnTo>
                    <a:lnTo>
                      <a:pt x="3086" y="1732"/>
                    </a:lnTo>
                    <a:lnTo>
                      <a:pt x="3094" y="1716"/>
                    </a:lnTo>
                    <a:lnTo>
                      <a:pt x="3106" y="1703"/>
                    </a:lnTo>
                    <a:lnTo>
                      <a:pt x="3123" y="1695"/>
                    </a:lnTo>
                    <a:lnTo>
                      <a:pt x="3141" y="1692"/>
                    </a:lnTo>
                    <a:lnTo>
                      <a:pt x="3373" y="1692"/>
                    </a:lnTo>
                    <a:lnTo>
                      <a:pt x="3367" y="1613"/>
                    </a:lnTo>
                    <a:lnTo>
                      <a:pt x="3359" y="1536"/>
                    </a:lnTo>
                    <a:lnTo>
                      <a:pt x="3347" y="1459"/>
                    </a:lnTo>
                    <a:lnTo>
                      <a:pt x="3331" y="1384"/>
                    </a:lnTo>
                    <a:lnTo>
                      <a:pt x="3220" y="1414"/>
                    </a:lnTo>
                    <a:lnTo>
                      <a:pt x="3213" y="1415"/>
                    </a:lnTo>
                    <a:lnTo>
                      <a:pt x="3206" y="1416"/>
                    </a:lnTo>
                    <a:lnTo>
                      <a:pt x="3191" y="1414"/>
                    </a:lnTo>
                    <a:lnTo>
                      <a:pt x="3177" y="1407"/>
                    </a:lnTo>
                    <a:lnTo>
                      <a:pt x="3165" y="1399"/>
                    </a:lnTo>
                    <a:lnTo>
                      <a:pt x="3156" y="1387"/>
                    </a:lnTo>
                    <a:lnTo>
                      <a:pt x="3149" y="1372"/>
                    </a:lnTo>
                    <a:lnTo>
                      <a:pt x="3147" y="1357"/>
                    </a:lnTo>
                    <a:lnTo>
                      <a:pt x="3149" y="1342"/>
                    </a:lnTo>
                    <a:lnTo>
                      <a:pt x="3156" y="1328"/>
                    </a:lnTo>
                    <a:lnTo>
                      <a:pt x="3164" y="1316"/>
                    </a:lnTo>
                    <a:lnTo>
                      <a:pt x="3176" y="1307"/>
                    </a:lnTo>
                    <a:lnTo>
                      <a:pt x="3191" y="1301"/>
                    </a:lnTo>
                    <a:lnTo>
                      <a:pt x="3302" y="1272"/>
                    </a:lnTo>
                    <a:lnTo>
                      <a:pt x="3277" y="1197"/>
                    </a:lnTo>
                    <a:lnTo>
                      <a:pt x="3249" y="1124"/>
                    </a:lnTo>
                    <a:lnTo>
                      <a:pt x="3218" y="1053"/>
                    </a:lnTo>
                    <a:lnTo>
                      <a:pt x="3183" y="984"/>
                    </a:lnTo>
                    <a:lnTo>
                      <a:pt x="3084" y="1043"/>
                    </a:lnTo>
                    <a:lnTo>
                      <a:pt x="3069" y="1048"/>
                    </a:lnTo>
                    <a:lnTo>
                      <a:pt x="3054" y="1050"/>
                    </a:lnTo>
                    <a:lnTo>
                      <a:pt x="3039" y="1048"/>
                    </a:lnTo>
                    <a:lnTo>
                      <a:pt x="3026" y="1043"/>
                    </a:lnTo>
                    <a:lnTo>
                      <a:pt x="3014" y="1033"/>
                    </a:lnTo>
                    <a:lnTo>
                      <a:pt x="3005" y="1021"/>
                    </a:lnTo>
                    <a:lnTo>
                      <a:pt x="2998" y="1007"/>
                    </a:lnTo>
                    <a:lnTo>
                      <a:pt x="2996" y="992"/>
                    </a:lnTo>
                    <a:lnTo>
                      <a:pt x="2998" y="977"/>
                    </a:lnTo>
                    <a:lnTo>
                      <a:pt x="3005" y="963"/>
                    </a:lnTo>
                    <a:lnTo>
                      <a:pt x="3013" y="950"/>
                    </a:lnTo>
                    <a:lnTo>
                      <a:pt x="3026" y="941"/>
                    </a:lnTo>
                    <a:lnTo>
                      <a:pt x="3125" y="883"/>
                    </a:lnTo>
                    <a:lnTo>
                      <a:pt x="3082" y="819"/>
                    </a:lnTo>
                    <a:lnTo>
                      <a:pt x="3036" y="756"/>
                    </a:lnTo>
                    <a:lnTo>
                      <a:pt x="2988" y="696"/>
                    </a:lnTo>
                    <a:lnTo>
                      <a:pt x="2936" y="637"/>
                    </a:lnTo>
                    <a:lnTo>
                      <a:pt x="2855" y="719"/>
                    </a:lnTo>
                    <a:lnTo>
                      <a:pt x="2843" y="729"/>
                    </a:lnTo>
                    <a:lnTo>
                      <a:pt x="2829" y="734"/>
                    </a:lnTo>
                    <a:lnTo>
                      <a:pt x="2814" y="736"/>
                    </a:lnTo>
                    <a:lnTo>
                      <a:pt x="2799" y="734"/>
                    </a:lnTo>
                    <a:lnTo>
                      <a:pt x="2786" y="729"/>
                    </a:lnTo>
                    <a:lnTo>
                      <a:pt x="2773" y="719"/>
                    </a:lnTo>
                    <a:lnTo>
                      <a:pt x="2763" y="706"/>
                    </a:lnTo>
                    <a:lnTo>
                      <a:pt x="2758" y="693"/>
                    </a:lnTo>
                    <a:lnTo>
                      <a:pt x="2756" y="678"/>
                    </a:lnTo>
                    <a:lnTo>
                      <a:pt x="2758" y="663"/>
                    </a:lnTo>
                    <a:lnTo>
                      <a:pt x="2763" y="649"/>
                    </a:lnTo>
                    <a:lnTo>
                      <a:pt x="2773" y="636"/>
                    </a:lnTo>
                    <a:lnTo>
                      <a:pt x="2854" y="555"/>
                    </a:lnTo>
                    <a:lnTo>
                      <a:pt x="2796" y="504"/>
                    </a:lnTo>
                    <a:lnTo>
                      <a:pt x="2736" y="455"/>
                    </a:lnTo>
                    <a:lnTo>
                      <a:pt x="2674" y="409"/>
                    </a:lnTo>
                    <a:lnTo>
                      <a:pt x="2609" y="366"/>
                    </a:lnTo>
                    <a:lnTo>
                      <a:pt x="2552" y="466"/>
                    </a:lnTo>
                    <a:lnTo>
                      <a:pt x="2542" y="478"/>
                    </a:lnTo>
                    <a:lnTo>
                      <a:pt x="2530" y="487"/>
                    </a:lnTo>
                    <a:lnTo>
                      <a:pt x="2516" y="493"/>
                    </a:lnTo>
                    <a:lnTo>
                      <a:pt x="2501" y="494"/>
                    </a:lnTo>
                    <a:lnTo>
                      <a:pt x="2486" y="493"/>
                    </a:lnTo>
                    <a:lnTo>
                      <a:pt x="2473" y="487"/>
                    </a:lnTo>
                    <a:lnTo>
                      <a:pt x="2460" y="477"/>
                    </a:lnTo>
                    <a:lnTo>
                      <a:pt x="2450" y="466"/>
                    </a:lnTo>
                    <a:lnTo>
                      <a:pt x="2445" y="452"/>
                    </a:lnTo>
                    <a:lnTo>
                      <a:pt x="2443" y="437"/>
                    </a:lnTo>
                    <a:lnTo>
                      <a:pt x="2445" y="422"/>
                    </a:lnTo>
                    <a:lnTo>
                      <a:pt x="2450" y="407"/>
                    </a:lnTo>
                    <a:lnTo>
                      <a:pt x="2509" y="308"/>
                    </a:lnTo>
                    <a:lnTo>
                      <a:pt x="2440" y="273"/>
                    </a:lnTo>
                    <a:lnTo>
                      <a:pt x="2369" y="242"/>
                    </a:lnTo>
                    <a:lnTo>
                      <a:pt x="2296" y="213"/>
                    </a:lnTo>
                    <a:lnTo>
                      <a:pt x="2222" y="189"/>
                    </a:lnTo>
                    <a:lnTo>
                      <a:pt x="2192" y="300"/>
                    </a:lnTo>
                    <a:lnTo>
                      <a:pt x="2187" y="315"/>
                    </a:lnTo>
                    <a:lnTo>
                      <a:pt x="2178" y="327"/>
                    </a:lnTo>
                    <a:lnTo>
                      <a:pt x="2165" y="335"/>
                    </a:lnTo>
                    <a:lnTo>
                      <a:pt x="2151" y="342"/>
                    </a:lnTo>
                    <a:lnTo>
                      <a:pt x="2136" y="344"/>
                    </a:lnTo>
                    <a:lnTo>
                      <a:pt x="2129" y="343"/>
                    </a:lnTo>
                    <a:lnTo>
                      <a:pt x="2121" y="342"/>
                    </a:lnTo>
                    <a:lnTo>
                      <a:pt x="2107" y="335"/>
                    </a:lnTo>
                    <a:lnTo>
                      <a:pt x="2095" y="326"/>
                    </a:lnTo>
                    <a:lnTo>
                      <a:pt x="2086" y="314"/>
                    </a:lnTo>
                    <a:lnTo>
                      <a:pt x="2080" y="300"/>
                    </a:lnTo>
                    <a:lnTo>
                      <a:pt x="2078" y="285"/>
                    </a:lnTo>
                    <a:lnTo>
                      <a:pt x="2080" y="269"/>
                    </a:lnTo>
                    <a:lnTo>
                      <a:pt x="2110" y="158"/>
                    </a:lnTo>
                    <a:lnTo>
                      <a:pt x="2009" y="139"/>
                    </a:lnTo>
                    <a:lnTo>
                      <a:pt x="1908" y="125"/>
                    </a:lnTo>
                    <a:lnTo>
                      <a:pt x="1803" y="118"/>
                    </a:lnTo>
                    <a:lnTo>
                      <a:pt x="1803" y="350"/>
                    </a:lnTo>
                    <a:lnTo>
                      <a:pt x="1800" y="368"/>
                    </a:lnTo>
                    <a:lnTo>
                      <a:pt x="1792" y="385"/>
                    </a:lnTo>
                    <a:lnTo>
                      <a:pt x="1779" y="397"/>
                    </a:lnTo>
                    <a:lnTo>
                      <a:pt x="1763" y="405"/>
                    </a:lnTo>
                    <a:lnTo>
                      <a:pt x="1745" y="408"/>
                    </a:lnTo>
                    <a:lnTo>
                      <a:pt x="1727" y="405"/>
                    </a:lnTo>
                    <a:lnTo>
                      <a:pt x="1711" y="397"/>
                    </a:lnTo>
                    <a:lnTo>
                      <a:pt x="1698" y="385"/>
                    </a:lnTo>
                    <a:lnTo>
                      <a:pt x="1690" y="368"/>
                    </a:lnTo>
                    <a:lnTo>
                      <a:pt x="1687" y="350"/>
                    </a:lnTo>
                    <a:lnTo>
                      <a:pt x="1687" y="118"/>
                    </a:lnTo>
                    <a:close/>
                    <a:moveTo>
                      <a:pt x="1745" y="0"/>
                    </a:moveTo>
                    <a:lnTo>
                      <a:pt x="1838" y="2"/>
                    </a:lnTo>
                    <a:lnTo>
                      <a:pt x="1930" y="10"/>
                    </a:lnTo>
                    <a:lnTo>
                      <a:pt x="2020" y="22"/>
                    </a:lnTo>
                    <a:lnTo>
                      <a:pt x="2109" y="38"/>
                    </a:lnTo>
                    <a:lnTo>
                      <a:pt x="2196" y="59"/>
                    </a:lnTo>
                    <a:lnTo>
                      <a:pt x="2197" y="59"/>
                    </a:lnTo>
                    <a:lnTo>
                      <a:pt x="2197" y="59"/>
                    </a:lnTo>
                    <a:lnTo>
                      <a:pt x="2197" y="59"/>
                    </a:lnTo>
                    <a:lnTo>
                      <a:pt x="2198" y="60"/>
                    </a:lnTo>
                    <a:lnTo>
                      <a:pt x="2284" y="86"/>
                    </a:lnTo>
                    <a:lnTo>
                      <a:pt x="2370" y="117"/>
                    </a:lnTo>
                    <a:lnTo>
                      <a:pt x="2454" y="152"/>
                    </a:lnTo>
                    <a:lnTo>
                      <a:pt x="2535" y="190"/>
                    </a:lnTo>
                    <a:lnTo>
                      <a:pt x="2613" y="233"/>
                    </a:lnTo>
                    <a:lnTo>
                      <a:pt x="2615" y="233"/>
                    </a:lnTo>
                    <a:lnTo>
                      <a:pt x="2618" y="234"/>
                    </a:lnTo>
                    <a:lnTo>
                      <a:pt x="2620" y="235"/>
                    </a:lnTo>
                    <a:lnTo>
                      <a:pt x="2621" y="238"/>
                    </a:lnTo>
                    <a:lnTo>
                      <a:pt x="2697" y="284"/>
                    </a:lnTo>
                    <a:lnTo>
                      <a:pt x="2771" y="335"/>
                    </a:lnTo>
                    <a:lnTo>
                      <a:pt x="2842" y="390"/>
                    </a:lnTo>
                    <a:lnTo>
                      <a:pt x="2910" y="449"/>
                    </a:lnTo>
                    <a:lnTo>
                      <a:pt x="2975" y="510"/>
                    </a:lnTo>
                    <a:lnTo>
                      <a:pt x="2976" y="511"/>
                    </a:lnTo>
                    <a:lnTo>
                      <a:pt x="2978" y="511"/>
                    </a:lnTo>
                    <a:lnTo>
                      <a:pt x="2979" y="512"/>
                    </a:lnTo>
                    <a:lnTo>
                      <a:pt x="2980" y="514"/>
                    </a:lnTo>
                    <a:lnTo>
                      <a:pt x="2981" y="517"/>
                    </a:lnTo>
                    <a:lnTo>
                      <a:pt x="3043" y="581"/>
                    </a:lnTo>
                    <a:lnTo>
                      <a:pt x="3101" y="650"/>
                    </a:lnTo>
                    <a:lnTo>
                      <a:pt x="3156" y="721"/>
                    </a:lnTo>
                    <a:lnTo>
                      <a:pt x="3207" y="795"/>
                    </a:lnTo>
                    <a:lnTo>
                      <a:pt x="3253" y="872"/>
                    </a:lnTo>
                    <a:lnTo>
                      <a:pt x="3255" y="873"/>
                    </a:lnTo>
                    <a:lnTo>
                      <a:pt x="3256" y="875"/>
                    </a:lnTo>
                    <a:lnTo>
                      <a:pt x="3257" y="877"/>
                    </a:lnTo>
                    <a:lnTo>
                      <a:pt x="3257" y="879"/>
                    </a:lnTo>
                    <a:lnTo>
                      <a:pt x="3301" y="958"/>
                    </a:lnTo>
                    <a:lnTo>
                      <a:pt x="3339" y="1039"/>
                    </a:lnTo>
                    <a:lnTo>
                      <a:pt x="3374" y="1123"/>
                    </a:lnTo>
                    <a:lnTo>
                      <a:pt x="3404" y="1209"/>
                    </a:lnTo>
                    <a:lnTo>
                      <a:pt x="3430" y="1296"/>
                    </a:lnTo>
                    <a:lnTo>
                      <a:pt x="3431" y="1297"/>
                    </a:lnTo>
                    <a:lnTo>
                      <a:pt x="3431" y="1297"/>
                    </a:lnTo>
                    <a:lnTo>
                      <a:pt x="3431" y="1298"/>
                    </a:lnTo>
                    <a:lnTo>
                      <a:pt x="3452" y="1385"/>
                    </a:lnTo>
                    <a:lnTo>
                      <a:pt x="3468" y="1474"/>
                    </a:lnTo>
                    <a:lnTo>
                      <a:pt x="3480" y="1564"/>
                    </a:lnTo>
                    <a:lnTo>
                      <a:pt x="3488" y="1657"/>
                    </a:lnTo>
                    <a:lnTo>
                      <a:pt x="3490" y="1750"/>
                    </a:lnTo>
                    <a:lnTo>
                      <a:pt x="3488" y="1843"/>
                    </a:lnTo>
                    <a:lnTo>
                      <a:pt x="3480" y="1936"/>
                    </a:lnTo>
                    <a:lnTo>
                      <a:pt x="3468" y="2026"/>
                    </a:lnTo>
                    <a:lnTo>
                      <a:pt x="3452" y="2115"/>
                    </a:lnTo>
                    <a:lnTo>
                      <a:pt x="3431" y="2202"/>
                    </a:lnTo>
                    <a:lnTo>
                      <a:pt x="3431" y="2203"/>
                    </a:lnTo>
                    <a:lnTo>
                      <a:pt x="3430" y="2204"/>
                    </a:lnTo>
                    <a:lnTo>
                      <a:pt x="3404" y="2292"/>
                    </a:lnTo>
                    <a:lnTo>
                      <a:pt x="3374" y="2377"/>
                    </a:lnTo>
                    <a:lnTo>
                      <a:pt x="3339" y="2461"/>
                    </a:lnTo>
                    <a:lnTo>
                      <a:pt x="3301" y="2542"/>
                    </a:lnTo>
                    <a:lnTo>
                      <a:pt x="3257" y="2621"/>
                    </a:lnTo>
                    <a:lnTo>
                      <a:pt x="3257" y="2623"/>
                    </a:lnTo>
                    <a:lnTo>
                      <a:pt x="3256" y="2625"/>
                    </a:lnTo>
                    <a:lnTo>
                      <a:pt x="3254" y="2627"/>
                    </a:lnTo>
                    <a:lnTo>
                      <a:pt x="3252" y="2630"/>
                    </a:lnTo>
                    <a:lnTo>
                      <a:pt x="3206" y="2707"/>
                    </a:lnTo>
                    <a:lnTo>
                      <a:pt x="3155" y="2780"/>
                    </a:lnTo>
                    <a:lnTo>
                      <a:pt x="3101" y="2851"/>
                    </a:lnTo>
                    <a:lnTo>
                      <a:pt x="3043" y="2919"/>
                    </a:lnTo>
                    <a:lnTo>
                      <a:pt x="2981" y="2983"/>
                    </a:lnTo>
                    <a:lnTo>
                      <a:pt x="2980" y="2986"/>
                    </a:lnTo>
                    <a:lnTo>
                      <a:pt x="2979" y="2988"/>
                    </a:lnTo>
                    <a:lnTo>
                      <a:pt x="2977" y="2989"/>
                    </a:lnTo>
                    <a:lnTo>
                      <a:pt x="2975" y="2990"/>
                    </a:lnTo>
                    <a:lnTo>
                      <a:pt x="2910" y="3051"/>
                    </a:lnTo>
                    <a:lnTo>
                      <a:pt x="2842" y="3110"/>
                    </a:lnTo>
                    <a:lnTo>
                      <a:pt x="2771" y="3164"/>
                    </a:lnTo>
                    <a:lnTo>
                      <a:pt x="2697" y="3216"/>
                    </a:lnTo>
                    <a:lnTo>
                      <a:pt x="2621" y="3262"/>
                    </a:lnTo>
                    <a:lnTo>
                      <a:pt x="2620" y="3265"/>
                    </a:lnTo>
                    <a:lnTo>
                      <a:pt x="2618" y="3266"/>
                    </a:lnTo>
                    <a:lnTo>
                      <a:pt x="2614" y="3267"/>
                    </a:lnTo>
                    <a:lnTo>
                      <a:pt x="2611" y="3268"/>
                    </a:lnTo>
                    <a:lnTo>
                      <a:pt x="2533" y="3310"/>
                    </a:lnTo>
                    <a:lnTo>
                      <a:pt x="2453" y="3349"/>
                    </a:lnTo>
                    <a:lnTo>
                      <a:pt x="2369" y="3383"/>
                    </a:lnTo>
                    <a:lnTo>
                      <a:pt x="2284" y="3414"/>
                    </a:lnTo>
                    <a:lnTo>
                      <a:pt x="2198" y="3440"/>
                    </a:lnTo>
                    <a:lnTo>
                      <a:pt x="2197" y="3441"/>
                    </a:lnTo>
                    <a:lnTo>
                      <a:pt x="2197" y="3441"/>
                    </a:lnTo>
                    <a:lnTo>
                      <a:pt x="2196" y="3441"/>
                    </a:lnTo>
                    <a:lnTo>
                      <a:pt x="2109" y="3462"/>
                    </a:lnTo>
                    <a:lnTo>
                      <a:pt x="2020" y="3478"/>
                    </a:lnTo>
                    <a:lnTo>
                      <a:pt x="1930" y="3490"/>
                    </a:lnTo>
                    <a:lnTo>
                      <a:pt x="1838" y="3498"/>
                    </a:lnTo>
                    <a:lnTo>
                      <a:pt x="1745" y="3500"/>
                    </a:lnTo>
                    <a:lnTo>
                      <a:pt x="1652" y="3498"/>
                    </a:lnTo>
                    <a:lnTo>
                      <a:pt x="1560" y="3490"/>
                    </a:lnTo>
                    <a:lnTo>
                      <a:pt x="1470" y="3478"/>
                    </a:lnTo>
                    <a:lnTo>
                      <a:pt x="1381" y="3462"/>
                    </a:lnTo>
                    <a:lnTo>
                      <a:pt x="1294" y="3441"/>
                    </a:lnTo>
                    <a:lnTo>
                      <a:pt x="1293" y="3441"/>
                    </a:lnTo>
                    <a:lnTo>
                      <a:pt x="1293" y="3440"/>
                    </a:lnTo>
                    <a:lnTo>
                      <a:pt x="1292" y="3440"/>
                    </a:lnTo>
                    <a:lnTo>
                      <a:pt x="1206" y="3414"/>
                    </a:lnTo>
                    <a:lnTo>
                      <a:pt x="1121" y="3383"/>
                    </a:lnTo>
                    <a:lnTo>
                      <a:pt x="1037" y="3349"/>
                    </a:lnTo>
                    <a:lnTo>
                      <a:pt x="957" y="3310"/>
                    </a:lnTo>
                    <a:lnTo>
                      <a:pt x="879" y="3268"/>
                    </a:lnTo>
                    <a:lnTo>
                      <a:pt x="876" y="3267"/>
                    </a:lnTo>
                    <a:lnTo>
                      <a:pt x="873" y="3266"/>
                    </a:lnTo>
                    <a:lnTo>
                      <a:pt x="870" y="3265"/>
                    </a:lnTo>
                    <a:lnTo>
                      <a:pt x="869" y="3262"/>
                    </a:lnTo>
                    <a:lnTo>
                      <a:pt x="793" y="3215"/>
                    </a:lnTo>
                    <a:lnTo>
                      <a:pt x="719" y="3164"/>
                    </a:lnTo>
                    <a:lnTo>
                      <a:pt x="648" y="3110"/>
                    </a:lnTo>
                    <a:lnTo>
                      <a:pt x="580" y="3051"/>
                    </a:lnTo>
                    <a:lnTo>
                      <a:pt x="515" y="2990"/>
                    </a:lnTo>
                    <a:lnTo>
                      <a:pt x="513" y="2989"/>
                    </a:lnTo>
                    <a:lnTo>
                      <a:pt x="511" y="2988"/>
                    </a:lnTo>
                    <a:lnTo>
                      <a:pt x="510" y="2986"/>
                    </a:lnTo>
                    <a:lnTo>
                      <a:pt x="509" y="2983"/>
                    </a:lnTo>
                    <a:lnTo>
                      <a:pt x="447" y="2919"/>
                    </a:lnTo>
                    <a:lnTo>
                      <a:pt x="390" y="2851"/>
                    </a:lnTo>
                    <a:lnTo>
                      <a:pt x="335" y="2780"/>
                    </a:lnTo>
                    <a:lnTo>
                      <a:pt x="284" y="2707"/>
                    </a:lnTo>
                    <a:lnTo>
                      <a:pt x="238" y="2630"/>
                    </a:lnTo>
                    <a:lnTo>
                      <a:pt x="236" y="2627"/>
                    </a:lnTo>
                    <a:lnTo>
                      <a:pt x="234" y="2625"/>
                    </a:lnTo>
                    <a:lnTo>
                      <a:pt x="233" y="2623"/>
                    </a:lnTo>
                    <a:lnTo>
                      <a:pt x="233" y="2621"/>
                    </a:lnTo>
                    <a:lnTo>
                      <a:pt x="189" y="2542"/>
                    </a:lnTo>
                    <a:lnTo>
                      <a:pt x="151" y="2461"/>
                    </a:lnTo>
                    <a:lnTo>
                      <a:pt x="116" y="2377"/>
                    </a:lnTo>
                    <a:lnTo>
                      <a:pt x="86" y="2291"/>
                    </a:lnTo>
                    <a:lnTo>
                      <a:pt x="60" y="2204"/>
                    </a:lnTo>
                    <a:lnTo>
                      <a:pt x="59" y="2203"/>
                    </a:lnTo>
                    <a:lnTo>
                      <a:pt x="59" y="2203"/>
                    </a:lnTo>
                    <a:lnTo>
                      <a:pt x="59" y="2202"/>
                    </a:lnTo>
                    <a:lnTo>
                      <a:pt x="38" y="2115"/>
                    </a:lnTo>
                    <a:lnTo>
                      <a:pt x="22" y="2026"/>
                    </a:lnTo>
                    <a:lnTo>
                      <a:pt x="10" y="1936"/>
                    </a:lnTo>
                    <a:lnTo>
                      <a:pt x="2" y="1843"/>
                    </a:lnTo>
                    <a:lnTo>
                      <a:pt x="0" y="1750"/>
                    </a:lnTo>
                    <a:lnTo>
                      <a:pt x="2" y="1657"/>
                    </a:lnTo>
                    <a:lnTo>
                      <a:pt x="10" y="1564"/>
                    </a:lnTo>
                    <a:lnTo>
                      <a:pt x="22" y="1474"/>
                    </a:lnTo>
                    <a:lnTo>
                      <a:pt x="38" y="1385"/>
                    </a:lnTo>
                    <a:lnTo>
                      <a:pt x="59" y="1298"/>
                    </a:lnTo>
                    <a:lnTo>
                      <a:pt x="59" y="1297"/>
                    </a:lnTo>
                    <a:lnTo>
                      <a:pt x="59" y="1297"/>
                    </a:lnTo>
                    <a:lnTo>
                      <a:pt x="60" y="1296"/>
                    </a:lnTo>
                    <a:lnTo>
                      <a:pt x="86" y="1209"/>
                    </a:lnTo>
                    <a:lnTo>
                      <a:pt x="116" y="1123"/>
                    </a:lnTo>
                    <a:lnTo>
                      <a:pt x="151" y="1039"/>
                    </a:lnTo>
                    <a:lnTo>
                      <a:pt x="189" y="958"/>
                    </a:lnTo>
                    <a:lnTo>
                      <a:pt x="233" y="879"/>
                    </a:lnTo>
                    <a:lnTo>
                      <a:pt x="233" y="877"/>
                    </a:lnTo>
                    <a:lnTo>
                      <a:pt x="234" y="875"/>
                    </a:lnTo>
                    <a:lnTo>
                      <a:pt x="235" y="874"/>
                    </a:lnTo>
                    <a:lnTo>
                      <a:pt x="237" y="872"/>
                    </a:lnTo>
                    <a:lnTo>
                      <a:pt x="283" y="795"/>
                    </a:lnTo>
                    <a:lnTo>
                      <a:pt x="335" y="721"/>
                    </a:lnTo>
                    <a:lnTo>
                      <a:pt x="389" y="650"/>
                    </a:lnTo>
                    <a:lnTo>
                      <a:pt x="447" y="581"/>
                    </a:lnTo>
                    <a:lnTo>
                      <a:pt x="509" y="517"/>
                    </a:lnTo>
                    <a:lnTo>
                      <a:pt x="510" y="514"/>
                    </a:lnTo>
                    <a:lnTo>
                      <a:pt x="511" y="512"/>
                    </a:lnTo>
                    <a:lnTo>
                      <a:pt x="513" y="511"/>
                    </a:lnTo>
                    <a:lnTo>
                      <a:pt x="515" y="510"/>
                    </a:lnTo>
                    <a:lnTo>
                      <a:pt x="580" y="449"/>
                    </a:lnTo>
                    <a:lnTo>
                      <a:pt x="648" y="390"/>
                    </a:lnTo>
                    <a:lnTo>
                      <a:pt x="719" y="335"/>
                    </a:lnTo>
                    <a:lnTo>
                      <a:pt x="793" y="284"/>
                    </a:lnTo>
                    <a:lnTo>
                      <a:pt x="869" y="238"/>
                    </a:lnTo>
                    <a:lnTo>
                      <a:pt x="870" y="235"/>
                    </a:lnTo>
                    <a:lnTo>
                      <a:pt x="873" y="234"/>
                    </a:lnTo>
                    <a:lnTo>
                      <a:pt x="875" y="233"/>
                    </a:lnTo>
                    <a:lnTo>
                      <a:pt x="877" y="233"/>
                    </a:lnTo>
                    <a:lnTo>
                      <a:pt x="955" y="190"/>
                    </a:lnTo>
                    <a:lnTo>
                      <a:pt x="1036" y="152"/>
                    </a:lnTo>
                    <a:lnTo>
                      <a:pt x="1120" y="117"/>
                    </a:lnTo>
                    <a:lnTo>
                      <a:pt x="1206" y="86"/>
                    </a:lnTo>
                    <a:lnTo>
                      <a:pt x="1292" y="59"/>
                    </a:lnTo>
                    <a:lnTo>
                      <a:pt x="1293" y="59"/>
                    </a:lnTo>
                    <a:lnTo>
                      <a:pt x="1293" y="59"/>
                    </a:lnTo>
                    <a:lnTo>
                      <a:pt x="1294" y="59"/>
                    </a:lnTo>
                    <a:lnTo>
                      <a:pt x="1381" y="38"/>
                    </a:lnTo>
                    <a:lnTo>
                      <a:pt x="1470" y="22"/>
                    </a:lnTo>
                    <a:lnTo>
                      <a:pt x="1560" y="10"/>
                    </a:lnTo>
                    <a:lnTo>
                      <a:pt x="1652" y="2"/>
                    </a:lnTo>
                    <a:lnTo>
                      <a:pt x="174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83">
                <a:extLst>
                  <a:ext uri="{FF2B5EF4-FFF2-40B4-BE49-F238E27FC236}">
                    <a16:creationId xmlns:a16="http://schemas.microsoft.com/office/drawing/2014/main" id="{3A827ACD-5291-5B3D-31E6-26D7517A9E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5038" y="2027238"/>
                <a:ext cx="147638" cy="203200"/>
              </a:xfrm>
              <a:custGeom>
                <a:avLst/>
                <a:gdLst>
                  <a:gd name="T0" fmla="*/ 207 w 931"/>
                  <a:gd name="T1" fmla="*/ 937 h 1283"/>
                  <a:gd name="T2" fmla="*/ 160 w 931"/>
                  <a:gd name="T3" fmla="*/ 959 h 1283"/>
                  <a:gd name="T4" fmla="*/ 128 w 931"/>
                  <a:gd name="T5" fmla="*/ 999 h 1283"/>
                  <a:gd name="T6" fmla="*/ 117 w 931"/>
                  <a:gd name="T7" fmla="*/ 1050 h 1283"/>
                  <a:gd name="T8" fmla="*/ 128 w 931"/>
                  <a:gd name="T9" fmla="*/ 1101 h 1283"/>
                  <a:gd name="T10" fmla="*/ 160 w 931"/>
                  <a:gd name="T11" fmla="*/ 1141 h 1283"/>
                  <a:gd name="T12" fmla="*/ 207 w 931"/>
                  <a:gd name="T13" fmla="*/ 1163 h 1283"/>
                  <a:gd name="T14" fmla="*/ 259 w 931"/>
                  <a:gd name="T15" fmla="*/ 1163 h 1283"/>
                  <a:gd name="T16" fmla="*/ 306 w 931"/>
                  <a:gd name="T17" fmla="*/ 1141 h 1283"/>
                  <a:gd name="T18" fmla="*/ 338 w 931"/>
                  <a:gd name="T19" fmla="*/ 1101 h 1283"/>
                  <a:gd name="T20" fmla="*/ 349 w 931"/>
                  <a:gd name="T21" fmla="*/ 1050 h 1283"/>
                  <a:gd name="T22" fmla="*/ 338 w 931"/>
                  <a:gd name="T23" fmla="*/ 999 h 1283"/>
                  <a:gd name="T24" fmla="*/ 306 w 931"/>
                  <a:gd name="T25" fmla="*/ 959 h 1283"/>
                  <a:gd name="T26" fmla="*/ 259 w 931"/>
                  <a:gd name="T27" fmla="*/ 937 h 1283"/>
                  <a:gd name="T28" fmla="*/ 233 w 931"/>
                  <a:gd name="T29" fmla="*/ 0 h 1283"/>
                  <a:gd name="T30" fmla="*/ 267 w 931"/>
                  <a:gd name="T31" fmla="*/ 12 h 1283"/>
                  <a:gd name="T32" fmla="*/ 288 w 931"/>
                  <a:gd name="T33" fmla="*/ 40 h 1283"/>
                  <a:gd name="T34" fmla="*/ 291 w 931"/>
                  <a:gd name="T35" fmla="*/ 825 h 1283"/>
                  <a:gd name="T36" fmla="*/ 356 w 931"/>
                  <a:gd name="T37" fmla="*/ 853 h 1283"/>
                  <a:gd name="T38" fmla="*/ 409 w 931"/>
                  <a:gd name="T39" fmla="*/ 898 h 1283"/>
                  <a:gd name="T40" fmla="*/ 446 w 931"/>
                  <a:gd name="T41" fmla="*/ 958 h 1283"/>
                  <a:gd name="T42" fmla="*/ 873 w 931"/>
                  <a:gd name="T43" fmla="*/ 992 h 1283"/>
                  <a:gd name="T44" fmla="*/ 908 w 931"/>
                  <a:gd name="T45" fmla="*/ 1003 h 1283"/>
                  <a:gd name="T46" fmla="*/ 928 w 931"/>
                  <a:gd name="T47" fmla="*/ 1032 h 1283"/>
                  <a:gd name="T48" fmla="*/ 928 w 931"/>
                  <a:gd name="T49" fmla="*/ 1068 h 1283"/>
                  <a:gd name="T50" fmla="*/ 908 w 931"/>
                  <a:gd name="T51" fmla="*/ 1097 h 1283"/>
                  <a:gd name="T52" fmla="*/ 873 w 931"/>
                  <a:gd name="T53" fmla="*/ 1108 h 1283"/>
                  <a:gd name="T54" fmla="*/ 447 w 931"/>
                  <a:gd name="T55" fmla="*/ 1141 h 1283"/>
                  <a:gd name="T56" fmla="*/ 412 w 931"/>
                  <a:gd name="T57" fmla="*/ 1198 h 1283"/>
                  <a:gd name="T58" fmla="*/ 363 w 931"/>
                  <a:gd name="T59" fmla="*/ 1243 h 1283"/>
                  <a:gd name="T60" fmla="*/ 302 w 931"/>
                  <a:gd name="T61" fmla="*/ 1273 h 1283"/>
                  <a:gd name="T62" fmla="*/ 233 w 931"/>
                  <a:gd name="T63" fmla="*/ 1283 h 1283"/>
                  <a:gd name="T64" fmla="*/ 160 w 931"/>
                  <a:gd name="T65" fmla="*/ 1272 h 1283"/>
                  <a:gd name="T66" fmla="*/ 96 w 931"/>
                  <a:gd name="T67" fmla="*/ 1238 h 1283"/>
                  <a:gd name="T68" fmla="*/ 46 w 931"/>
                  <a:gd name="T69" fmla="*/ 1188 h 1283"/>
                  <a:gd name="T70" fmla="*/ 12 w 931"/>
                  <a:gd name="T71" fmla="*/ 1123 h 1283"/>
                  <a:gd name="T72" fmla="*/ 0 w 931"/>
                  <a:gd name="T73" fmla="*/ 1050 h 1283"/>
                  <a:gd name="T74" fmla="*/ 11 w 931"/>
                  <a:gd name="T75" fmla="*/ 981 h 1283"/>
                  <a:gd name="T76" fmla="*/ 41 w 931"/>
                  <a:gd name="T77" fmla="*/ 920 h 1283"/>
                  <a:gd name="T78" fmla="*/ 85 w 931"/>
                  <a:gd name="T79" fmla="*/ 871 h 1283"/>
                  <a:gd name="T80" fmla="*/ 142 w 931"/>
                  <a:gd name="T81" fmla="*/ 836 h 1283"/>
                  <a:gd name="T82" fmla="*/ 175 w 931"/>
                  <a:gd name="T83" fmla="*/ 58 h 1283"/>
                  <a:gd name="T84" fmla="*/ 186 w 931"/>
                  <a:gd name="T85" fmla="*/ 24 h 1283"/>
                  <a:gd name="T86" fmla="*/ 215 w 931"/>
                  <a:gd name="T87" fmla="*/ 3 h 1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931" h="1283">
                    <a:moveTo>
                      <a:pt x="233" y="933"/>
                    </a:moveTo>
                    <a:lnTo>
                      <a:pt x="207" y="937"/>
                    </a:lnTo>
                    <a:lnTo>
                      <a:pt x="182" y="945"/>
                    </a:lnTo>
                    <a:lnTo>
                      <a:pt x="160" y="959"/>
                    </a:lnTo>
                    <a:lnTo>
                      <a:pt x="142" y="977"/>
                    </a:lnTo>
                    <a:lnTo>
                      <a:pt x="128" y="999"/>
                    </a:lnTo>
                    <a:lnTo>
                      <a:pt x="120" y="1023"/>
                    </a:lnTo>
                    <a:lnTo>
                      <a:pt x="117" y="1050"/>
                    </a:lnTo>
                    <a:lnTo>
                      <a:pt x="120" y="1077"/>
                    </a:lnTo>
                    <a:lnTo>
                      <a:pt x="128" y="1101"/>
                    </a:lnTo>
                    <a:lnTo>
                      <a:pt x="142" y="1123"/>
                    </a:lnTo>
                    <a:lnTo>
                      <a:pt x="160" y="1141"/>
                    </a:lnTo>
                    <a:lnTo>
                      <a:pt x="182" y="1155"/>
                    </a:lnTo>
                    <a:lnTo>
                      <a:pt x="207" y="1163"/>
                    </a:lnTo>
                    <a:lnTo>
                      <a:pt x="233" y="1167"/>
                    </a:lnTo>
                    <a:lnTo>
                      <a:pt x="259" y="1163"/>
                    </a:lnTo>
                    <a:lnTo>
                      <a:pt x="284" y="1155"/>
                    </a:lnTo>
                    <a:lnTo>
                      <a:pt x="306" y="1141"/>
                    </a:lnTo>
                    <a:lnTo>
                      <a:pt x="324" y="1123"/>
                    </a:lnTo>
                    <a:lnTo>
                      <a:pt x="338" y="1101"/>
                    </a:lnTo>
                    <a:lnTo>
                      <a:pt x="346" y="1077"/>
                    </a:lnTo>
                    <a:lnTo>
                      <a:pt x="349" y="1050"/>
                    </a:lnTo>
                    <a:lnTo>
                      <a:pt x="346" y="1023"/>
                    </a:lnTo>
                    <a:lnTo>
                      <a:pt x="338" y="999"/>
                    </a:lnTo>
                    <a:lnTo>
                      <a:pt x="324" y="977"/>
                    </a:lnTo>
                    <a:lnTo>
                      <a:pt x="306" y="959"/>
                    </a:lnTo>
                    <a:lnTo>
                      <a:pt x="284" y="945"/>
                    </a:lnTo>
                    <a:lnTo>
                      <a:pt x="259" y="937"/>
                    </a:lnTo>
                    <a:lnTo>
                      <a:pt x="233" y="933"/>
                    </a:lnTo>
                    <a:close/>
                    <a:moveTo>
                      <a:pt x="233" y="0"/>
                    </a:moveTo>
                    <a:lnTo>
                      <a:pt x="251" y="3"/>
                    </a:lnTo>
                    <a:lnTo>
                      <a:pt x="267" y="12"/>
                    </a:lnTo>
                    <a:lnTo>
                      <a:pt x="280" y="24"/>
                    </a:lnTo>
                    <a:lnTo>
                      <a:pt x="288" y="40"/>
                    </a:lnTo>
                    <a:lnTo>
                      <a:pt x="291" y="58"/>
                    </a:lnTo>
                    <a:lnTo>
                      <a:pt x="291" y="825"/>
                    </a:lnTo>
                    <a:lnTo>
                      <a:pt x="325" y="837"/>
                    </a:lnTo>
                    <a:lnTo>
                      <a:pt x="356" y="853"/>
                    </a:lnTo>
                    <a:lnTo>
                      <a:pt x="384" y="874"/>
                    </a:lnTo>
                    <a:lnTo>
                      <a:pt x="409" y="898"/>
                    </a:lnTo>
                    <a:lnTo>
                      <a:pt x="430" y="927"/>
                    </a:lnTo>
                    <a:lnTo>
                      <a:pt x="446" y="958"/>
                    </a:lnTo>
                    <a:lnTo>
                      <a:pt x="457" y="992"/>
                    </a:lnTo>
                    <a:lnTo>
                      <a:pt x="873" y="992"/>
                    </a:lnTo>
                    <a:lnTo>
                      <a:pt x="891" y="995"/>
                    </a:lnTo>
                    <a:lnTo>
                      <a:pt x="908" y="1003"/>
                    </a:lnTo>
                    <a:lnTo>
                      <a:pt x="919" y="1016"/>
                    </a:lnTo>
                    <a:lnTo>
                      <a:pt x="928" y="1032"/>
                    </a:lnTo>
                    <a:lnTo>
                      <a:pt x="931" y="1050"/>
                    </a:lnTo>
                    <a:lnTo>
                      <a:pt x="928" y="1068"/>
                    </a:lnTo>
                    <a:lnTo>
                      <a:pt x="919" y="1084"/>
                    </a:lnTo>
                    <a:lnTo>
                      <a:pt x="908" y="1097"/>
                    </a:lnTo>
                    <a:lnTo>
                      <a:pt x="891" y="1105"/>
                    </a:lnTo>
                    <a:lnTo>
                      <a:pt x="873" y="1108"/>
                    </a:lnTo>
                    <a:lnTo>
                      <a:pt x="457" y="1108"/>
                    </a:lnTo>
                    <a:lnTo>
                      <a:pt x="447" y="1141"/>
                    </a:lnTo>
                    <a:lnTo>
                      <a:pt x="431" y="1171"/>
                    </a:lnTo>
                    <a:lnTo>
                      <a:pt x="412" y="1198"/>
                    </a:lnTo>
                    <a:lnTo>
                      <a:pt x="388" y="1223"/>
                    </a:lnTo>
                    <a:lnTo>
                      <a:pt x="363" y="1243"/>
                    </a:lnTo>
                    <a:lnTo>
                      <a:pt x="333" y="1260"/>
                    </a:lnTo>
                    <a:lnTo>
                      <a:pt x="302" y="1273"/>
                    </a:lnTo>
                    <a:lnTo>
                      <a:pt x="268" y="1280"/>
                    </a:lnTo>
                    <a:lnTo>
                      <a:pt x="233" y="1283"/>
                    </a:lnTo>
                    <a:lnTo>
                      <a:pt x="195" y="1280"/>
                    </a:lnTo>
                    <a:lnTo>
                      <a:pt x="160" y="1272"/>
                    </a:lnTo>
                    <a:lnTo>
                      <a:pt x="126" y="1257"/>
                    </a:lnTo>
                    <a:lnTo>
                      <a:pt x="96" y="1238"/>
                    </a:lnTo>
                    <a:lnTo>
                      <a:pt x="69" y="1214"/>
                    </a:lnTo>
                    <a:lnTo>
                      <a:pt x="46" y="1188"/>
                    </a:lnTo>
                    <a:lnTo>
                      <a:pt x="27" y="1157"/>
                    </a:lnTo>
                    <a:lnTo>
                      <a:pt x="12" y="1123"/>
                    </a:lnTo>
                    <a:lnTo>
                      <a:pt x="4" y="1088"/>
                    </a:lnTo>
                    <a:lnTo>
                      <a:pt x="0" y="1050"/>
                    </a:lnTo>
                    <a:lnTo>
                      <a:pt x="4" y="1015"/>
                    </a:lnTo>
                    <a:lnTo>
                      <a:pt x="11" y="981"/>
                    </a:lnTo>
                    <a:lnTo>
                      <a:pt x="24" y="949"/>
                    </a:lnTo>
                    <a:lnTo>
                      <a:pt x="41" y="920"/>
                    </a:lnTo>
                    <a:lnTo>
                      <a:pt x="61" y="894"/>
                    </a:lnTo>
                    <a:lnTo>
                      <a:pt x="85" y="871"/>
                    </a:lnTo>
                    <a:lnTo>
                      <a:pt x="112" y="852"/>
                    </a:lnTo>
                    <a:lnTo>
                      <a:pt x="142" y="836"/>
                    </a:lnTo>
                    <a:lnTo>
                      <a:pt x="175" y="825"/>
                    </a:lnTo>
                    <a:lnTo>
                      <a:pt x="175" y="58"/>
                    </a:lnTo>
                    <a:lnTo>
                      <a:pt x="178" y="40"/>
                    </a:lnTo>
                    <a:lnTo>
                      <a:pt x="186" y="24"/>
                    </a:lnTo>
                    <a:lnTo>
                      <a:pt x="199" y="12"/>
                    </a:lnTo>
                    <a:lnTo>
                      <a:pt x="215" y="3"/>
                    </a:lnTo>
                    <a:lnTo>
                      <a:pt x="23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12" name="Group 993">
              <a:extLst>
                <a:ext uri="{FF2B5EF4-FFF2-40B4-BE49-F238E27FC236}">
                  <a16:creationId xmlns:a16="http://schemas.microsoft.com/office/drawing/2014/main" id="{57B304FB-57D5-C7C4-DB32-9AD9731CC282}"/>
                </a:ext>
              </a:extLst>
            </p:cNvPr>
            <p:cNvGrpSpPr/>
            <p:nvPr/>
          </p:nvGrpSpPr>
          <p:grpSpPr>
            <a:xfrm>
              <a:off x="4016307" y="-1132213"/>
              <a:ext cx="820386" cy="324107"/>
              <a:chOff x="2535238" y="3813175"/>
              <a:chExt cx="514350" cy="203201"/>
            </a:xfrm>
            <a:grpFill/>
          </p:grpSpPr>
          <p:sp>
            <p:nvSpPr>
              <p:cNvPr id="115" name="Freeform 314">
                <a:extLst>
                  <a:ext uri="{FF2B5EF4-FFF2-40B4-BE49-F238E27FC236}">
                    <a16:creationId xmlns:a16="http://schemas.microsoft.com/office/drawing/2014/main" id="{12D30D47-D6AF-45A7-590D-B884D72571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9401" y="3840163"/>
                <a:ext cx="28575" cy="22225"/>
              </a:xfrm>
              <a:custGeom>
                <a:avLst/>
                <a:gdLst>
                  <a:gd name="T0" fmla="*/ 71 w 182"/>
                  <a:gd name="T1" fmla="*/ 0 h 140"/>
                  <a:gd name="T2" fmla="*/ 113 w 182"/>
                  <a:gd name="T3" fmla="*/ 0 h 140"/>
                  <a:gd name="T4" fmla="*/ 131 w 182"/>
                  <a:gd name="T5" fmla="*/ 3 h 140"/>
                  <a:gd name="T6" fmla="*/ 148 w 182"/>
                  <a:gd name="T7" fmla="*/ 9 h 140"/>
                  <a:gd name="T8" fmla="*/ 162 w 182"/>
                  <a:gd name="T9" fmla="*/ 21 h 140"/>
                  <a:gd name="T10" fmla="*/ 173 w 182"/>
                  <a:gd name="T11" fmla="*/ 35 h 140"/>
                  <a:gd name="T12" fmla="*/ 180 w 182"/>
                  <a:gd name="T13" fmla="*/ 52 h 140"/>
                  <a:gd name="T14" fmla="*/ 182 w 182"/>
                  <a:gd name="T15" fmla="*/ 70 h 140"/>
                  <a:gd name="T16" fmla="*/ 180 w 182"/>
                  <a:gd name="T17" fmla="*/ 88 h 140"/>
                  <a:gd name="T18" fmla="*/ 173 w 182"/>
                  <a:gd name="T19" fmla="*/ 105 h 140"/>
                  <a:gd name="T20" fmla="*/ 162 w 182"/>
                  <a:gd name="T21" fmla="*/ 118 h 140"/>
                  <a:gd name="T22" fmla="*/ 148 w 182"/>
                  <a:gd name="T23" fmla="*/ 130 h 140"/>
                  <a:gd name="T24" fmla="*/ 131 w 182"/>
                  <a:gd name="T25" fmla="*/ 136 h 140"/>
                  <a:gd name="T26" fmla="*/ 113 w 182"/>
                  <a:gd name="T27" fmla="*/ 140 h 140"/>
                  <a:gd name="T28" fmla="*/ 71 w 182"/>
                  <a:gd name="T29" fmla="*/ 140 h 140"/>
                  <a:gd name="T30" fmla="*/ 51 w 182"/>
                  <a:gd name="T31" fmla="*/ 136 h 140"/>
                  <a:gd name="T32" fmla="*/ 34 w 182"/>
                  <a:gd name="T33" fmla="*/ 130 h 140"/>
                  <a:gd name="T34" fmla="*/ 21 w 182"/>
                  <a:gd name="T35" fmla="*/ 118 h 140"/>
                  <a:gd name="T36" fmla="*/ 10 w 182"/>
                  <a:gd name="T37" fmla="*/ 105 h 140"/>
                  <a:gd name="T38" fmla="*/ 3 w 182"/>
                  <a:gd name="T39" fmla="*/ 88 h 140"/>
                  <a:gd name="T40" fmla="*/ 0 w 182"/>
                  <a:gd name="T41" fmla="*/ 70 h 140"/>
                  <a:gd name="T42" fmla="*/ 3 w 182"/>
                  <a:gd name="T43" fmla="*/ 52 h 140"/>
                  <a:gd name="T44" fmla="*/ 10 w 182"/>
                  <a:gd name="T45" fmla="*/ 35 h 140"/>
                  <a:gd name="T46" fmla="*/ 21 w 182"/>
                  <a:gd name="T47" fmla="*/ 21 h 140"/>
                  <a:gd name="T48" fmla="*/ 34 w 182"/>
                  <a:gd name="T49" fmla="*/ 9 h 140"/>
                  <a:gd name="T50" fmla="*/ 51 w 182"/>
                  <a:gd name="T51" fmla="*/ 3 h 140"/>
                  <a:gd name="T52" fmla="*/ 71 w 182"/>
                  <a:gd name="T53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82" h="140">
                    <a:moveTo>
                      <a:pt x="71" y="0"/>
                    </a:moveTo>
                    <a:lnTo>
                      <a:pt x="113" y="0"/>
                    </a:lnTo>
                    <a:lnTo>
                      <a:pt x="131" y="3"/>
                    </a:lnTo>
                    <a:lnTo>
                      <a:pt x="148" y="9"/>
                    </a:lnTo>
                    <a:lnTo>
                      <a:pt x="162" y="21"/>
                    </a:lnTo>
                    <a:lnTo>
                      <a:pt x="173" y="35"/>
                    </a:lnTo>
                    <a:lnTo>
                      <a:pt x="180" y="52"/>
                    </a:lnTo>
                    <a:lnTo>
                      <a:pt x="182" y="70"/>
                    </a:lnTo>
                    <a:lnTo>
                      <a:pt x="180" y="88"/>
                    </a:lnTo>
                    <a:lnTo>
                      <a:pt x="173" y="105"/>
                    </a:lnTo>
                    <a:lnTo>
                      <a:pt x="162" y="118"/>
                    </a:lnTo>
                    <a:lnTo>
                      <a:pt x="148" y="130"/>
                    </a:lnTo>
                    <a:lnTo>
                      <a:pt x="131" y="136"/>
                    </a:lnTo>
                    <a:lnTo>
                      <a:pt x="113" y="140"/>
                    </a:lnTo>
                    <a:lnTo>
                      <a:pt x="71" y="140"/>
                    </a:lnTo>
                    <a:lnTo>
                      <a:pt x="51" y="136"/>
                    </a:lnTo>
                    <a:lnTo>
                      <a:pt x="34" y="130"/>
                    </a:lnTo>
                    <a:lnTo>
                      <a:pt x="21" y="118"/>
                    </a:lnTo>
                    <a:lnTo>
                      <a:pt x="10" y="105"/>
                    </a:lnTo>
                    <a:lnTo>
                      <a:pt x="3" y="88"/>
                    </a:lnTo>
                    <a:lnTo>
                      <a:pt x="0" y="70"/>
                    </a:lnTo>
                    <a:lnTo>
                      <a:pt x="3" y="52"/>
                    </a:lnTo>
                    <a:lnTo>
                      <a:pt x="10" y="35"/>
                    </a:lnTo>
                    <a:lnTo>
                      <a:pt x="21" y="21"/>
                    </a:lnTo>
                    <a:lnTo>
                      <a:pt x="34" y="9"/>
                    </a:lnTo>
                    <a:lnTo>
                      <a:pt x="51" y="3"/>
                    </a:lnTo>
                    <a:lnTo>
                      <a:pt x="7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315">
                <a:extLst>
                  <a:ext uri="{FF2B5EF4-FFF2-40B4-BE49-F238E27FC236}">
                    <a16:creationId xmlns:a16="http://schemas.microsoft.com/office/drawing/2014/main" id="{AE2A6C63-C95B-3D25-CC89-A48AAD1A90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35238" y="3813175"/>
                <a:ext cx="298450" cy="203200"/>
              </a:xfrm>
              <a:custGeom>
                <a:avLst/>
                <a:gdLst>
                  <a:gd name="T0" fmla="*/ 1565 w 1879"/>
                  <a:gd name="T1" fmla="*/ 915 h 1284"/>
                  <a:gd name="T2" fmla="*/ 1509 w 1879"/>
                  <a:gd name="T3" fmla="*/ 970 h 1284"/>
                  <a:gd name="T4" fmla="*/ 1499 w 1879"/>
                  <a:gd name="T5" fmla="*/ 1052 h 1284"/>
                  <a:gd name="T6" fmla="*/ 1542 w 1879"/>
                  <a:gd name="T7" fmla="*/ 1119 h 1284"/>
                  <a:gd name="T8" fmla="*/ 1618 w 1879"/>
                  <a:gd name="T9" fmla="*/ 1145 h 1284"/>
                  <a:gd name="T10" fmla="*/ 1694 w 1879"/>
                  <a:gd name="T11" fmla="*/ 1119 h 1284"/>
                  <a:gd name="T12" fmla="*/ 1736 w 1879"/>
                  <a:gd name="T13" fmla="*/ 1052 h 1284"/>
                  <a:gd name="T14" fmla="*/ 1728 w 1879"/>
                  <a:gd name="T15" fmla="*/ 970 h 1284"/>
                  <a:gd name="T16" fmla="*/ 1671 w 1879"/>
                  <a:gd name="T17" fmla="*/ 915 h 1284"/>
                  <a:gd name="T18" fmla="*/ 261 w 1879"/>
                  <a:gd name="T19" fmla="*/ 902 h 1284"/>
                  <a:gd name="T20" fmla="*/ 186 w 1879"/>
                  <a:gd name="T21" fmla="*/ 929 h 1284"/>
                  <a:gd name="T22" fmla="*/ 143 w 1879"/>
                  <a:gd name="T23" fmla="*/ 996 h 1284"/>
                  <a:gd name="T24" fmla="*/ 152 w 1879"/>
                  <a:gd name="T25" fmla="*/ 1077 h 1284"/>
                  <a:gd name="T26" fmla="*/ 208 w 1879"/>
                  <a:gd name="T27" fmla="*/ 1132 h 1284"/>
                  <a:gd name="T28" fmla="*/ 289 w 1879"/>
                  <a:gd name="T29" fmla="*/ 1142 h 1284"/>
                  <a:gd name="T30" fmla="*/ 356 w 1879"/>
                  <a:gd name="T31" fmla="*/ 1099 h 1284"/>
                  <a:gd name="T32" fmla="*/ 382 w 1879"/>
                  <a:gd name="T33" fmla="*/ 1023 h 1284"/>
                  <a:gd name="T34" fmla="*/ 356 w 1879"/>
                  <a:gd name="T35" fmla="*/ 948 h 1284"/>
                  <a:gd name="T36" fmla="*/ 289 w 1879"/>
                  <a:gd name="T37" fmla="*/ 905 h 1284"/>
                  <a:gd name="T38" fmla="*/ 1636 w 1879"/>
                  <a:gd name="T39" fmla="*/ 2 h 1284"/>
                  <a:gd name="T40" fmla="*/ 1679 w 1879"/>
                  <a:gd name="T41" fmla="*/ 34 h 1284"/>
                  <a:gd name="T42" fmla="*/ 1687 w 1879"/>
                  <a:gd name="T43" fmla="*/ 773 h 1284"/>
                  <a:gd name="T44" fmla="*/ 1786 w 1879"/>
                  <a:gd name="T45" fmla="*/ 825 h 1284"/>
                  <a:gd name="T46" fmla="*/ 1854 w 1879"/>
                  <a:gd name="T47" fmla="*/ 912 h 1284"/>
                  <a:gd name="T48" fmla="*/ 1879 w 1879"/>
                  <a:gd name="T49" fmla="*/ 1023 h 1284"/>
                  <a:gd name="T50" fmla="*/ 1855 w 1879"/>
                  <a:gd name="T51" fmla="*/ 1133 h 1284"/>
                  <a:gd name="T52" fmla="*/ 1789 w 1879"/>
                  <a:gd name="T53" fmla="*/ 1220 h 1284"/>
                  <a:gd name="T54" fmla="*/ 1694 w 1879"/>
                  <a:gd name="T55" fmla="*/ 1273 h 1284"/>
                  <a:gd name="T56" fmla="*/ 1580 w 1879"/>
                  <a:gd name="T57" fmla="*/ 1281 h 1284"/>
                  <a:gd name="T58" fmla="*/ 1476 w 1879"/>
                  <a:gd name="T59" fmla="*/ 1242 h 1284"/>
                  <a:gd name="T60" fmla="*/ 1399 w 1879"/>
                  <a:gd name="T61" fmla="*/ 1165 h 1284"/>
                  <a:gd name="T62" fmla="*/ 1360 w 1879"/>
                  <a:gd name="T63" fmla="*/ 1062 h 1284"/>
                  <a:gd name="T64" fmla="*/ 1369 w 1879"/>
                  <a:gd name="T65" fmla="*/ 947 h 1284"/>
                  <a:gd name="T66" fmla="*/ 1424 w 1879"/>
                  <a:gd name="T67" fmla="*/ 850 h 1284"/>
                  <a:gd name="T68" fmla="*/ 1513 w 1879"/>
                  <a:gd name="T69" fmla="*/ 786 h 1284"/>
                  <a:gd name="T70" fmla="*/ 511 w 1879"/>
                  <a:gd name="T71" fmla="*/ 316 h 1284"/>
                  <a:gd name="T72" fmla="*/ 421 w 1879"/>
                  <a:gd name="T73" fmla="*/ 340 h 1284"/>
                  <a:gd name="T74" fmla="*/ 356 w 1879"/>
                  <a:gd name="T75" fmla="*/ 405 h 1284"/>
                  <a:gd name="T76" fmla="*/ 331 w 1879"/>
                  <a:gd name="T77" fmla="*/ 495 h 1284"/>
                  <a:gd name="T78" fmla="*/ 399 w 1879"/>
                  <a:gd name="T79" fmla="*/ 802 h 1284"/>
                  <a:gd name="T80" fmla="*/ 479 w 1879"/>
                  <a:gd name="T81" fmla="*/ 880 h 1284"/>
                  <a:gd name="T82" fmla="*/ 520 w 1879"/>
                  <a:gd name="T83" fmla="*/ 985 h 1284"/>
                  <a:gd name="T84" fmla="*/ 511 w 1879"/>
                  <a:gd name="T85" fmla="*/ 1098 h 1284"/>
                  <a:gd name="T86" fmla="*/ 458 w 1879"/>
                  <a:gd name="T87" fmla="*/ 1194 h 1284"/>
                  <a:gd name="T88" fmla="*/ 372 w 1879"/>
                  <a:gd name="T89" fmla="*/ 1260 h 1284"/>
                  <a:gd name="T90" fmla="*/ 261 w 1879"/>
                  <a:gd name="T91" fmla="*/ 1284 h 1284"/>
                  <a:gd name="T92" fmla="*/ 152 w 1879"/>
                  <a:gd name="T93" fmla="*/ 1260 h 1284"/>
                  <a:gd name="T94" fmla="*/ 65 w 1879"/>
                  <a:gd name="T95" fmla="*/ 1194 h 1284"/>
                  <a:gd name="T96" fmla="*/ 12 w 1879"/>
                  <a:gd name="T97" fmla="*/ 1098 h 1284"/>
                  <a:gd name="T98" fmla="*/ 3 w 1879"/>
                  <a:gd name="T99" fmla="*/ 985 h 1284"/>
                  <a:gd name="T100" fmla="*/ 44 w 1879"/>
                  <a:gd name="T101" fmla="*/ 880 h 1284"/>
                  <a:gd name="T102" fmla="*/ 123 w 1879"/>
                  <a:gd name="T103" fmla="*/ 802 h 1284"/>
                  <a:gd name="T104" fmla="*/ 191 w 1879"/>
                  <a:gd name="T105" fmla="*/ 495 h 1284"/>
                  <a:gd name="T106" fmla="*/ 217 w 1879"/>
                  <a:gd name="T107" fmla="*/ 371 h 1284"/>
                  <a:gd name="T108" fmla="*/ 286 w 1879"/>
                  <a:gd name="T109" fmla="*/ 270 h 1284"/>
                  <a:gd name="T110" fmla="*/ 387 w 1879"/>
                  <a:gd name="T111" fmla="*/ 201 h 1284"/>
                  <a:gd name="T112" fmla="*/ 511 w 1879"/>
                  <a:gd name="T113" fmla="*/ 176 h 1284"/>
                  <a:gd name="T114" fmla="*/ 1551 w 1879"/>
                  <a:gd name="T115" fmla="*/ 51 h 1284"/>
                  <a:gd name="T116" fmla="*/ 1583 w 1879"/>
                  <a:gd name="T117" fmla="*/ 9 h 1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79" h="1284">
                    <a:moveTo>
                      <a:pt x="1618" y="902"/>
                    </a:moveTo>
                    <a:lnTo>
                      <a:pt x="1591" y="905"/>
                    </a:lnTo>
                    <a:lnTo>
                      <a:pt x="1565" y="915"/>
                    </a:lnTo>
                    <a:lnTo>
                      <a:pt x="1542" y="929"/>
                    </a:lnTo>
                    <a:lnTo>
                      <a:pt x="1524" y="948"/>
                    </a:lnTo>
                    <a:lnTo>
                      <a:pt x="1509" y="970"/>
                    </a:lnTo>
                    <a:lnTo>
                      <a:pt x="1499" y="996"/>
                    </a:lnTo>
                    <a:lnTo>
                      <a:pt x="1496" y="1023"/>
                    </a:lnTo>
                    <a:lnTo>
                      <a:pt x="1499" y="1052"/>
                    </a:lnTo>
                    <a:lnTo>
                      <a:pt x="1509" y="1077"/>
                    </a:lnTo>
                    <a:lnTo>
                      <a:pt x="1524" y="1099"/>
                    </a:lnTo>
                    <a:lnTo>
                      <a:pt x="1542" y="1119"/>
                    </a:lnTo>
                    <a:lnTo>
                      <a:pt x="1565" y="1132"/>
                    </a:lnTo>
                    <a:lnTo>
                      <a:pt x="1591" y="1142"/>
                    </a:lnTo>
                    <a:lnTo>
                      <a:pt x="1618" y="1145"/>
                    </a:lnTo>
                    <a:lnTo>
                      <a:pt x="1646" y="1142"/>
                    </a:lnTo>
                    <a:lnTo>
                      <a:pt x="1671" y="1132"/>
                    </a:lnTo>
                    <a:lnTo>
                      <a:pt x="1694" y="1119"/>
                    </a:lnTo>
                    <a:lnTo>
                      <a:pt x="1713" y="1099"/>
                    </a:lnTo>
                    <a:lnTo>
                      <a:pt x="1728" y="1077"/>
                    </a:lnTo>
                    <a:lnTo>
                      <a:pt x="1736" y="1052"/>
                    </a:lnTo>
                    <a:lnTo>
                      <a:pt x="1739" y="1023"/>
                    </a:lnTo>
                    <a:lnTo>
                      <a:pt x="1736" y="996"/>
                    </a:lnTo>
                    <a:lnTo>
                      <a:pt x="1728" y="970"/>
                    </a:lnTo>
                    <a:lnTo>
                      <a:pt x="1713" y="948"/>
                    </a:lnTo>
                    <a:lnTo>
                      <a:pt x="1694" y="929"/>
                    </a:lnTo>
                    <a:lnTo>
                      <a:pt x="1671" y="915"/>
                    </a:lnTo>
                    <a:lnTo>
                      <a:pt x="1646" y="905"/>
                    </a:lnTo>
                    <a:lnTo>
                      <a:pt x="1618" y="902"/>
                    </a:lnTo>
                    <a:close/>
                    <a:moveTo>
                      <a:pt x="261" y="902"/>
                    </a:moveTo>
                    <a:lnTo>
                      <a:pt x="234" y="905"/>
                    </a:lnTo>
                    <a:lnTo>
                      <a:pt x="208" y="915"/>
                    </a:lnTo>
                    <a:lnTo>
                      <a:pt x="186" y="929"/>
                    </a:lnTo>
                    <a:lnTo>
                      <a:pt x="167" y="948"/>
                    </a:lnTo>
                    <a:lnTo>
                      <a:pt x="152" y="970"/>
                    </a:lnTo>
                    <a:lnTo>
                      <a:pt x="143" y="996"/>
                    </a:lnTo>
                    <a:lnTo>
                      <a:pt x="140" y="1023"/>
                    </a:lnTo>
                    <a:lnTo>
                      <a:pt x="143" y="1052"/>
                    </a:lnTo>
                    <a:lnTo>
                      <a:pt x="152" y="1077"/>
                    </a:lnTo>
                    <a:lnTo>
                      <a:pt x="167" y="1099"/>
                    </a:lnTo>
                    <a:lnTo>
                      <a:pt x="186" y="1119"/>
                    </a:lnTo>
                    <a:lnTo>
                      <a:pt x="208" y="1132"/>
                    </a:lnTo>
                    <a:lnTo>
                      <a:pt x="234" y="1142"/>
                    </a:lnTo>
                    <a:lnTo>
                      <a:pt x="261" y="1145"/>
                    </a:lnTo>
                    <a:lnTo>
                      <a:pt x="289" y="1142"/>
                    </a:lnTo>
                    <a:lnTo>
                      <a:pt x="314" y="1132"/>
                    </a:lnTo>
                    <a:lnTo>
                      <a:pt x="338" y="1119"/>
                    </a:lnTo>
                    <a:lnTo>
                      <a:pt x="356" y="1099"/>
                    </a:lnTo>
                    <a:lnTo>
                      <a:pt x="371" y="1077"/>
                    </a:lnTo>
                    <a:lnTo>
                      <a:pt x="379" y="1052"/>
                    </a:lnTo>
                    <a:lnTo>
                      <a:pt x="382" y="1023"/>
                    </a:lnTo>
                    <a:lnTo>
                      <a:pt x="379" y="996"/>
                    </a:lnTo>
                    <a:lnTo>
                      <a:pt x="371" y="970"/>
                    </a:lnTo>
                    <a:lnTo>
                      <a:pt x="356" y="948"/>
                    </a:lnTo>
                    <a:lnTo>
                      <a:pt x="338" y="929"/>
                    </a:lnTo>
                    <a:lnTo>
                      <a:pt x="314" y="915"/>
                    </a:lnTo>
                    <a:lnTo>
                      <a:pt x="289" y="905"/>
                    </a:lnTo>
                    <a:lnTo>
                      <a:pt x="261" y="902"/>
                    </a:lnTo>
                    <a:close/>
                    <a:moveTo>
                      <a:pt x="1618" y="0"/>
                    </a:moveTo>
                    <a:lnTo>
                      <a:pt x="1636" y="2"/>
                    </a:lnTo>
                    <a:lnTo>
                      <a:pt x="1653" y="9"/>
                    </a:lnTo>
                    <a:lnTo>
                      <a:pt x="1667" y="20"/>
                    </a:lnTo>
                    <a:lnTo>
                      <a:pt x="1679" y="34"/>
                    </a:lnTo>
                    <a:lnTo>
                      <a:pt x="1685" y="51"/>
                    </a:lnTo>
                    <a:lnTo>
                      <a:pt x="1687" y="69"/>
                    </a:lnTo>
                    <a:lnTo>
                      <a:pt x="1687" y="773"/>
                    </a:lnTo>
                    <a:lnTo>
                      <a:pt x="1724" y="786"/>
                    </a:lnTo>
                    <a:lnTo>
                      <a:pt x="1756" y="802"/>
                    </a:lnTo>
                    <a:lnTo>
                      <a:pt x="1786" y="825"/>
                    </a:lnTo>
                    <a:lnTo>
                      <a:pt x="1813" y="850"/>
                    </a:lnTo>
                    <a:lnTo>
                      <a:pt x="1836" y="880"/>
                    </a:lnTo>
                    <a:lnTo>
                      <a:pt x="1854" y="912"/>
                    </a:lnTo>
                    <a:lnTo>
                      <a:pt x="1868" y="947"/>
                    </a:lnTo>
                    <a:lnTo>
                      <a:pt x="1877" y="985"/>
                    </a:lnTo>
                    <a:lnTo>
                      <a:pt x="1879" y="1023"/>
                    </a:lnTo>
                    <a:lnTo>
                      <a:pt x="1877" y="1062"/>
                    </a:lnTo>
                    <a:lnTo>
                      <a:pt x="1868" y="1098"/>
                    </a:lnTo>
                    <a:lnTo>
                      <a:pt x="1855" y="1133"/>
                    </a:lnTo>
                    <a:lnTo>
                      <a:pt x="1837" y="1165"/>
                    </a:lnTo>
                    <a:lnTo>
                      <a:pt x="1815" y="1194"/>
                    </a:lnTo>
                    <a:lnTo>
                      <a:pt x="1789" y="1220"/>
                    </a:lnTo>
                    <a:lnTo>
                      <a:pt x="1761" y="1242"/>
                    </a:lnTo>
                    <a:lnTo>
                      <a:pt x="1728" y="1260"/>
                    </a:lnTo>
                    <a:lnTo>
                      <a:pt x="1694" y="1273"/>
                    </a:lnTo>
                    <a:lnTo>
                      <a:pt x="1657" y="1281"/>
                    </a:lnTo>
                    <a:lnTo>
                      <a:pt x="1618" y="1284"/>
                    </a:lnTo>
                    <a:lnTo>
                      <a:pt x="1580" y="1281"/>
                    </a:lnTo>
                    <a:lnTo>
                      <a:pt x="1543" y="1273"/>
                    </a:lnTo>
                    <a:lnTo>
                      <a:pt x="1508" y="1260"/>
                    </a:lnTo>
                    <a:lnTo>
                      <a:pt x="1476" y="1242"/>
                    </a:lnTo>
                    <a:lnTo>
                      <a:pt x="1447" y="1220"/>
                    </a:lnTo>
                    <a:lnTo>
                      <a:pt x="1422" y="1194"/>
                    </a:lnTo>
                    <a:lnTo>
                      <a:pt x="1399" y="1165"/>
                    </a:lnTo>
                    <a:lnTo>
                      <a:pt x="1381" y="1133"/>
                    </a:lnTo>
                    <a:lnTo>
                      <a:pt x="1369" y="1098"/>
                    </a:lnTo>
                    <a:lnTo>
                      <a:pt x="1360" y="1062"/>
                    </a:lnTo>
                    <a:lnTo>
                      <a:pt x="1357" y="1023"/>
                    </a:lnTo>
                    <a:lnTo>
                      <a:pt x="1360" y="985"/>
                    </a:lnTo>
                    <a:lnTo>
                      <a:pt x="1369" y="947"/>
                    </a:lnTo>
                    <a:lnTo>
                      <a:pt x="1382" y="912"/>
                    </a:lnTo>
                    <a:lnTo>
                      <a:pt x="1401" y="880"/>
                    </a:lnTo>
                    <a:lnTo>
                      <a:pt x="1424" y="850"/>
                    </a:lnTo>
                    <a:lnTo>
                      <a:pt x="1450" y="825"/>
                    </a:lnTo>
                    <a:lnTo>
                      <a:pt x="1480" y="802"/>
                    </a:lnTo>
                    <a:lnTo>
                      <a:pt x="1513" y="786"/>
                    </a:lnTo>
                    <a:lnTo>
                      <a:pt x="1548" y="773"/>
                    </a:lnTo>
                    <a:lnTo>
                      <a:pt x="1548" y="316"/>
                    </a:lnTo>
                    <a:lnTo>
                      <a:pt x="511" y="316"/>
                    </a:lnTo>
                    <a:lnTo>
                      <a:pt x="479" y="318"/>
                    </a:lnTo>
                    <a:lnTo>
                      <a:pt x="448" y="326"/>
                    </a:lnTo>
                    <a:lnTo>
                      <a:pt x="421" y="340"/>
                    </a:lnTo>
                    <a:lnTo>
                      <a:pt x="395" y="357"/>
                    </a:lnTo>
                    <a:lnTo>
                      <a:pt x="374" y="379"/>
                    </a:lnTo>
                    <a:lnTo>
                      <a:pt x="356" y="405"/>
                    </a:lnTo>
                    <a:lnTo>
                      <a:pt x="342" y="432"/>
                    </a:lnTo>
                    <a:lnTo>
                      <a:pt x="334" y="463"/>
                    </a:lnTo>
                    <a:lnTo>
                      <a:pt x="331" y="495"/>
                    </a:lnTo>
                    <a:lnTo>
                      <a:pt x="331" y="773"/>
                    </a:lnTo>
                    <a:lnTo>
                      <a:pt x="367" y="786"/>
                    </a:lnTo>
                    <a:lnTo>
                      <a:pt x="399" y="802"/>
                    </a:lnTo>
                    <a:lnTo>
                      <a:pt x="429" y="825"/>
                    </a:lnTo>
                    <a:lnTo>
                      <a:pt x="456" y="850"/>
                    </a:lnTo>
                    <a:lnTo>
                      <a:pt x="479" y="880"/>
                    </a:lnTo>
                    <a:lnTo>
                      <a:pt x="497" y="912"/>
                    </a:lnTo>
                    <a:lnTo>
                      <a:pt x="511" y="947"/>
                    </a:lnTo>
                    <a:lnTo>
                      <a:pt x="520" y="985"/>
                    </a:lnTo>
                    <a:lnTo>
                      <a:pt x="523" y="1023"/>
                    </a:lnTo>
                    <a:lnTo>
                      <a:pt x="520" y="1062"/>
                    </a:lnTo>
                    <a:lnTo>
                      <a:pt x="511" y="1098"/>
                    </a:lnTo>
                    <a:lnTo>
                      <a:pt x="498" y="1133"/>
                    </a:lnTo>
                    <a:lnTo>
                      <a:pt x="480" y="1165"/>
                    </a:lnTo>
                    <a:lnTo>
                      <a:pt x="458" y="1194"/>
                    </a:lnTo>
                    <a:lnTo>
                      <a:pt x="432" y="1220"/>
                    </a:lnTo>
                    <a:lnTo>
                      <a:pt x="404" y="1242"/>
                    </a:lnTo>
                    <a:lnTo>
                      <a:pt x="372" y="1260"/>
                    </a:lnTo>
                    <a:lnTo>
                      <a:pt x="337" y="1273"/>
                    </a:lnTo>
                    <a:lnTo>
                      <a:pt x="300" y="1281"/>
                    </a:lnTo>
                    <a:lnTo>
                      <a:pt x="261" y="1284"/>
                    </a:lnTo>
                    <a:lnTo>
                      <a:pt x="223" y="1281"/>
                    </a:lnTo>
                    <a:lnTo>
                      <a:pt x="186" y="1273"/>
                    </a:lnTo>
                    <a:lnTo>
                      <a:pt x="152" y="1260"/>
                    </a:lnTo>
                    <a:lnTo>
                      <a:pt x="119" y="1242"/>
                    </a:lnTo>
                    <a:lnTo>
                      <a:pt x="90" y="1220"/>
                    </a:lnTo>
                    <a:lnTo>
                      <a:pt x="65" y="1194"/>
                    </a:lnTo>
                    <a:lnTo>
                      <a:pt x="42" y="1165"/>
                    </a:lnTo>
                    <a:lnTo>
                      <a:pt x="24" y="1133"/>
                    </a:lnTo>
                    <a:lnTo>
                      <a:pt x="12" y="1098"/>
                    </a:lnTo>
                    <a:lnTo>
                      <a:pt x="3" y="1062"/>
                    </a:lnTo>
                    <a:lnTo>
                      <a:pt x="0" y="1023"/>
                    </a:lnTo>
                    <a:lnTo>
                      <a:pt x="3" y="985"/>
                    </a:lnTo>
                    <a:lnTo>
                      <a:pt x="12" y="947"/>
                    </a:lnTo>
                    <a:lnTo>
                      <a:pt x="25" y="912"/>
                    </a:lnTo>
                    <a:lnTo>
                      <a:pt x="44" y="880"/>
                    </a:lnTo>
                    <a:lnTo>
                      <a:pt x="67" y="850"/>
                    </a:lnTo>
                    <a:lnTo>
                      <a:pt x="93" y="825"/>
                    </a:lnTo>
                    <a:lnTo>
                      <a:pt x="123" y="802"/>
                    </a:lnTo>
                    <a:lnTo>
                      <a:pt x="156" y="786"/>
                    </a:lnTo>
                    <a:lnTo>
                      <a:pt x="191" y="773"/>
                    </a:lnTo>
                    <a:lnTo>
                      <a:pt x="191" y="495"/>
                    </a:lnTo>
                    <a:lnTo>
                      <a:pt x="194" y="451"/>
                    </a:lnTo>
                    <a:lnTo>
                      <a:pt x="203" y="410"/>
                    </a:lnTo>
                    <a:lnTo>
                      <a:pt x="217" y="371"/>
                    </a:lnTo>
                    <a:lnTo>
                      <a:pt x="236" y="334"/>
                    </a:lnTo>
                    <a:lnTo>
                      <a:pt x="258" y="300"/>
                    </a:lnTo>
                    <a:lnTo>
                      <a:pt x="286" y="270"/>
                    </a:lnTo>
                    <a:lnTo>
                      <a:pt x="316" y="242"/>
                    </a:lnTo>
                    <a:lnTo>
                      <a:pt x="350" y="219"/>
                    </a:lnTo>
                    <a:lnTo>
                      <a:pt x="387" y="201"/>
                    </a:lnTo>
                    <a:lnTo>
                      <a:pt x="426" y="187"/>
                    </a:lnTo>
                    <a:lnTo>
                      <a:pt x="468" y="179"/>
                    </a:lnTo>
                    <a:lnTo>
                      <a:pt x="511" y="176"/>
                    </a:lnTo>
                    <a:lnTo>
                      <a:pt x="1548" y="176"/>
                    </a:lnTo>
                    <a:lnTo>
                      <a:pt x="1548" y="69"/>
                    </a:lnTo>
                    <a:lnTo>
                      <a:pt x="1551" y="51"/>
                    </a:lnTo>
                    <a:lnTo>
                      <a:pt x="1558" y="34"/>
                    </a:lnTo>
                    <a:lnTo>
                      <a:pt x="1568" y="20"/>
                    </a:lnTo>
                    <a:lnTo>
                      <a:pt x="1583" y="9"/>
                    </a:lnTo>
                    <a:lnTo>
                      <a:pt x="1599" y="2"/>
                    </a:lnTo>
                    <a:lnTo>
                      <a:pt x="161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16">
                <a:extLst>
                  <a:ext uri="{FF2B5EF4-FFF2-40B4-BE49-F238E27FC236}">
                    <a16:creationId xmlns:a16="http://schemas.microsoft.com/office/drawing/2014/main" id="{9A5112FA-0038-DD5A-44B6-27B434101F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65438" y="3840163"/>
                <a:ext cx="184150" cy="176213"/>
              </a:xfrm>
              <a:custGeom>
                <a:avLst/>
                <a:gdLst>
                  <a:gd name="T0" fmla="*/ 871 w 1160"/>
                  <a:gd name="T1" fmla="*/ 729 h 1108"/>
                  <a:gd name="T2" fmla="*/ 822 w 1160"/>
                  <a:gd name="T3" fmla="*/ 753 h 1108"/>
                  <a:gd name="T4" fmla="*/ 789 w 1160"/>
                  <a:gd name="T5" fmla="*/ 794 h 1108"/>
                  <a:gd name="T6" fmla="*/ 777 w 1160"/>
                  <a:gd name="T7" fmla="*/ 847 h 1108"/>
                  <a:gd name="T8" fmla="*/ 789 w 1160"/>
                  <a:gd name="T9" fmla="*/ 901 h 1108"/>
                  <a:gd name="T10" fmla="*/ 822 w 1160"/>
                  <a:gd name="T11" fmla="*/ 943 h 1108"/>
                  <a:gd name="T12" fmla="*/ 871 w 1160"/>
                  <a:gd name="T13" fmla="*/ 966 h 1108"/>
                  <a:gd name="T14" fmla="*/ 926 w 1160"/>
                  <a:gd name="T15" fmla="*/ 966 h 1108"/>
                  <a:gd name="T16" fmla="*/ 975 w 1160"/>
                  <a:gd name="T17" fmla="*/ 943 h 1108"/>
                  <a:gd name="T18" fmla="*/ 1008 w 1160"/>
                  <a:gd name="T19" fmla="*/ 901 h 1108"/>
                  <a:gd name="T20" fmla="*/ 1020 w 1160"/>
                  <a:gd name="T21" fmla="*/ 847 h 1108"/>
                  <a:gd name="T22" fmla="*/ 1008 w 1160"/>
                  <a:gd name="T23" fmla="*/ 794 h 1108"/>
                  <a:gd name="T24" fmla="*/ 975 w 1160"/>
                  <a:gd name="T25" fmla="*/ 753 h 1108"/>
                  <a:gd name="T26" fmla="*/ 926 w 1160"/>
                  <a:gd name="T27" fmla="*/ 729 h 1108"/>
                  <a:gd name="T28" fmla="*/ 70 w 1160"/>
                  <a:gd name="T29" fmla="*/ 0 h 1108"/>
                  <a:gd name="T30" fmla="*/ 688 w 1160"/>
                  <a:gd name="T31" fmla="*/ 3 h 1108"/>
                  <a:gd name="T32" fmla="*/ 770 w 1160"/>
                  <a:gd name="T33" fmla="*/ 25 h 1108"/>
                  <a:gd name="T34" fmla="*/ 840 w 1160"/>
                  <a:gd name="T35" fmla="*/ 66 h 1108"/>
                  <a:gd name="T36" fmla="*/ 899 w 1160"/>
                  <a:gd name="T37" fmla="*/ 124 h 1108"/>
                  <a:gd name="T38" fmla="*/ 940 w 1160"/>
                  <a:gd name="T39" fmla="*/ 195 h 1108"/>
                  <a:gd name="T40" fmla="*/ 962 w 1160"/>
                  <a:gd name="T41" fmla="*/ 275 h 1108"/>
                  <a:gd name="T42" fmla="*/ 964 w 1160"/>
                  <a:gd name="T43" fmla="*/ 596 h 1108"/>
                  <a:gd name="T44" fmla="*/ 1035 w 1160"/>
                  <a:gd name="T45" fmla="*/ 625 h 1108"/>
                  <a:gd name="T46" fmla="*/ 1092 w 1160"/>
                  <a:gd name="T47" fmla="*/ 673 h 1108"/>
                  <a:gd name="T48" fmla="*/ 1134 w 1160"/>
                  <a:gd name="T49" fmla="*/ 735 h 1108"/>
                  <a:gd name="T50" fmla="*/ 1157 w 1160"/>
                  <a:gd name="T51" fmla="*/ 808 h 1108"/>
                  <a:gd name="T52" fmla="*/ 1157 w 1160"/>
                  <a:gd name="T53" fmla="*/ 886 h 1108"/>
                  <a:gd name="T54" fmla="*/ 1135 w 1160"/>
                  <a:gd name="T55" fmla="*/ 957 h 1108"/>
                  <a:gd name="T56" fmla="*/ 1095 w 1160"/>
                  <a:gd name="T57" fmla="*/ 1018 h 1108"/>
                  <a:gd name="T58" fmla="*/ 1041 w 1160"/>
                  <a:gd name="T59" fmla="*/ 1066 h 1108"/>
                  <a:gd name="T60" fmla="*/ 974 w 1160"/>
                  <a:gd name="T61" fmla="*/ 1097 h 1108"/>
                  <a:gd name="T62" fmla="*/ 899 w 1160"/>
                  <a:gd name="T63" fmla="*/ 1108 h 1108"/>
                  <a:gd name="T64" fmla="*/ 823 w 1160"/>
                  <a:gd name="T65" fmla="*/ 1097 h 1108"/>
                  <a:gd name="T66" fmla="*/ 756 w 1160"/>
                  <a:gd name="T67" fmla="*/ 1066 h 1108"/>
                  <a:gd name="T68" fmla="*/ 702 w 1160"/>
                  <a:gd name="T69" fmla="*/ 1018 h 1108"/>
                  <a:gd name="T70" fmla="*/ 662 w 1160"/>
                  <a:gd name="T71" fmla="*/ 957 h 1108"/>
                  <a:gd name="T72" fmla="*/ 640 w 1160"/>
                  <a:gd name="T73" fmla="*/ 886 h 1108"/>
                  <a:gd name="T74" fmla="*/ 640 w 1160"/>
                  <a:gd name="T75" fmla="*/ 809 h 1108"/>
                  <a:gd name="T76" fmla="*/ 663 w 1160"/>
                  <a:gd name="T77" fmla="*/ 737 h 1108"/>
                  <a:gd name="T78" fmla="*/ 702 w 1160"/>
                  <a:gd name="T79" fmla="*/ 676 h 1108"/>
                  <a:gd name="T80" fmla="*/ 758 w 1160"/>
                  <a:gd name="T81" fmla="*/ 629 h 1108"/>
                  <a:gd name="T82" fmla="*/ 825 w 1160"/>
                  <a:gd name="T83" fmla="*/ 598 h 1108"/>
                  <a:gd name="T84" fmla="*/ 822 w 1160"/>
                  <a:gd name="T85" fmla="*/ 287 h 1108"/>
                  <a:gd name="T86" fmla="*/ 801 w 1160"/>
                  <a:gd name="T87" fmla="*/ 229 h 1108"/>
                  <a:gd name="T88" fmla="*/ 761 w 1160"/>
                  <a:gd name="T89" fmla="*/ 181 h 1108"/>
                  <a:gd name="T90" fmla="*/ 708 w 1160"/>
                  <a:gd name="T91" fmla="*/ 150 h 1108"/>
                  <a:gd name="T92" fmla="*/ 646 w 1160"/>
                  <a:gd name="T93" fmla="*/ 140 h 1108"/>
                  <a:gd name="T94" fmla="*/ 51 w 1160"/>
                  <a:gd name="T95" fmla="*/ 136 h 1108"/>
                  <a:gd name="T96" fmla="*/ 21 w 1160"/>
                  <a:gd name="T97" fmla="*/ 118 h 1108"/>
                  <a:gd name="T98" fmla="*/ 3 w 1160"/>
                  <a:gd name="T99" fmla="*/ 88 h 1108"/>
                  <a:gd name="T100" fmla="*/ 3 w 1160"/>
                  <a:gd name="T101" fmla="*/ 52 h 1108"/>
                  <a:gd name="T102" fmla="*/ 21 w 1160"/>
                  <a:gd name="T103" fmla="*/ 21 h 1108"/>
                  <a:gd name="T104" fmla="*/ 51 w 1160"/>
                  <a:gd name="T105" fmla="*/ 3 h 1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60" h="1108">
                    <a:moveTo>
                      <a:pt x="899" y="726"/>
                    </a:moveTo>
                    <a:lnTo>
                      <a:pt x="871" y="729"/>
                    </a:lnTo>
                    <a:lnTo>
                      <a:pt x="845" y="739"/>
                    </a:lnTo>
                    <a:lnTo>
                      <a:pt x="822" y="753"/>
                    </a:lnTo>
                    <a:lnTo>
                      <a:pt x="804" y="772"/>
                    </a:lnTo>
                    <a:lnTo>
                      <a:pt x="789" y="794"/>
                    </a:lnTo>
                    <a:lnTo>
                      <a:pt x="781" y="820"/>
                    </a:lnTo>
                    <a:lnTo>
                      <a:pt x="777" y="847"/>
                    </a:lnTo>
                    <a:lnTo>
                      <a:pt x="781" y="876"/>
                    </a:lnTo>
                    <a:lnTo>
                      <a:pt x="789" y="901"/>
                    </a:lnTo>
                    <a:lnTo>
                      <a:pt x="804" y="923"/>
                    </a:lnTo>
                    <a:lnTo>
                      <a:pt x="822" y="943"/>
                    </a:lnTo>
                    <a:lnTo>
                      <a:pt x="845" y="956"/>
                    </a:lnTo>
                    <a:lnTo>
                      <a:pt x="871" y="966"/>
                    </a:lnTo>
                    <a:lnTo>
                      <a:pt x="899" y="969"/>
                    </a:lnTo>
                    <a:lnTo>
                      <a:pt x="926" y="966"/>
                    </a:lnTo>
                    <a:lnTo>
                      <a:pt x="952" y="956"/>
                    </a:lnTo>
                    <a:lnTo>
                      <a:pt x="975" y="943"/>
                    </a:lnTo>
                    <a:lnTo>
                      <a:pt x="993" y="923"/>
                    </a:lnTo>
                    <a:lnTo>
                      <a:pt x="1008" y="901"/>
                    </a:lnTo>
                    <a:lnTo>
                      <a:pt x="1016" y="876"/>
                    </a:lnTo>
                    <a:lnTo>
                      <a:pt x="1020" y="847"/>
                    </a:lnTo>
                    <a:lnTo>
                      <a:pt x="1016" y="820"/>
                    </a:lnTo>
                    <a:lnTo>
                      <a:pt x="1008" y="794"/>
                    </a:lnTo>
                    <a:lnTo>
                      <a:pt x="993" y="772"/>
                    </a:lnTo>
                    <a:lnTo>
                      <a:pt x="975" y="753"/>
                    </a:lnTo>
                    <a:lnTo>
                      <a:pt x="952" y="739"/>
                    </a:lnTo>
                    <a:lnTo>
                      <a:pt x="926" y="729"/>
                    </a:lnTo>
                    <a:lnTo>
                      <a:pt x="899" y="726"/>
                    </a:lnTo>
                    <a:close/>
                    <a:moveTo>
                      <a:pt x="70" y="0"/>
                    </a:moveTo>
                    <a:lnTo>
                      <a:pt x="646" y="0"/>
                    </a:lnTo>
                    <a:lnTo>
                      <a:pt x="688" y="3"/>
                    </a:lnTo>
                    <a:lnTo>
                      <a:pt x="730" y="11"/>
                    </a:lnTo>
                    <a:lnTo>
                      <a:pt x="770" y="25"/>
                    </a:lnTo>
                    <a:lnTo>
                      <a:pt x="806" y="43"/>
                    </a:lnTo>
                    <a:lnTo>
                      <a:pt x="840" y="66"/>
                    </a:lnTo>
                    <a:lnTo>
                      <a:pt x="871" y="93"/>
                    </a:lnTo>
                    <a:lnTo>
                      <a:pt x="899" y="124"/>
                    </a:lnTo>
                    <a:lnTo>
                      <a:pt x="921" y="158"/>
                    </a:lnTo>
                    <a:lnTo>
                      <a:pt x="940" y="195"/>
                    </a:lnTo>
                    <a:lnTo>
                      <a:pt x="954" y="234"/>
                    </a:lnTo>
                    <a:lnTo>
                      <a:pt x="962" y="275"/>
                    </a:lnTo>
                    <a:lnTo>
                      <a:pt x="964" y="319"/>
                    </a:lnTo>
                    <a:lnTo>
                      <a:pt x="964" y="596"/>
                    </a:lnTo>
                    <a:lnTo>
                      <a:pt x="1001" y="607"/>
                    </a:lnTo>
                    <a:lnTo>
                      <a:pt x="1035" y="625"/>
                    </a:lnTo>
                    <a:lnTo>
                      <a:pt x="1065" y="647"/>
                    </a:lnTo>
                    <a:lnTo>
                      <a:pt x="1092" y="673"/>
                    </a:lnTo>
                    <a:lnTo>
                      <a:pt x="1115" y="702"/>
                    </a:lnTo>
                    <a:lnTo>
                      <a:pt x="1134" y="735"/>
                    </a:lnTo>
                    <a:lnTo>
                      <a:pt x="1148" y="771"/>
                    </a:lnTo>
                    <a:lnTo>
                      <a:pt x="1157" y="808"/>
                    </a:lnTo>
                    <a:lnTo>
                      <a:pt x="1160" y="847"/>
                    </a:lnTo>
                    <a:lnTo>
                      <a:pt x="1157" y="886"/>
                    </a:lnTo>
                    <a:lnTo>
                      <a:pt x="1148" y="922"/>
                    </a:lnTo>
                    <a:lnTo>
                      <a:pt x="1135" y="957"/>
                    </a:lnTo>
                    <a:lnTo>
                      <a:pt x="1117" y="989"/>
                    </a:lnTo>
                    <a:lnTo>
                      <a:pt x="1095" y="1018"/>
                    </a:lnTo>
                    <a:lnTo>
                      <a:pt x="1070" y="1044"/>
                    </a:lnTo>
                    <a:lnTo>
                      <a:pt x="1041" y="1066"/>
                    </a:lnTo>
                    <a:lnTo>
                      <a:pt x="1008" y="1084"/>
                    </a:lnTo>
                    <a:lnTo>
                      <a:pt x="974" y="1097"/>
                    </a:lnTo>
                    <a:lnTo>
                      <a:pt x="937" y="1105"/>
                    </a:lnTo>
                    <a:lnTo>
                      <a:pt x="899" y="1108"/>
                    </a:lnTo>
                    <a:lnTo>
                      <a:pt x="860" y="1105"/>
                    </a:lnTo>
                    <a:lnTo>
                      <a:pt x="823" y="1097"/>
                    </a:lnTo>
                    <a:lnTo>
                      <a:pt x="789" y="1084"/>
                    </a:lnTo>
                    <a:lnTo>
                      <a:pt x="756" y="1066"/>
                    </a:lnTo>
                    <a:lnTo>
                      <a:pt x="727" y="1044"/>
                    </a:lnTo>
                    <a:lnTo>
                      <a:pt x="702" y="1018"/>
                    </a:lnTo>
                    <a:lnTo>
                      <a:pt x="680" y="989"/>
                    </a:lnTo>
                    <a:lnTo>
                      <a:pt x="662" y="957"/>
                    </a:lnTo>
                    <a:lnTo>
                      <a:pt x="649" y="922"/>
                    </a:lnTo>
                    <a:lnTo>
                      <a:pt x="640" y="886"/>
                    </a:lnTo>
                    <a:lnTo>
                      <a:pt x="637" y="847"/>
                    </a:lnTo>
                    <a:lnTo>
                      <a:pt x="640" y="809"/>
                    </a:lnTo>
                    <a:lnTo>
                      <a:pt x="649" y="772"/>
                    </a:lnTo>
                    <a:lnTo>
                      <a:pt x="663" y="737"/>
                    </a:lnTo>
                    <a:lnTo>
                      <a:pt x="680" y="705"/>
                    </a:lnTo>
                    <a:lnTo>
                      <a:pt x="702" y="676"/>
                    </a:lnTo>
                    <a:lnTo>
                      <a:pt x="729" y="650"/>
                    </a:lnTo>
                    <a:lnTo>
                      <a:pt x="758" y="629"/>
                    </a:lnTo>
                    <a:lnTo>
                      <a:pt x="790" y="611"/>
                    </a:lnTo>
                    <a:lnTo>
                      <a:pt x="825" y="598"/>
                    </a:lnTo>
                    <a:lnTo>
                      <a:pt x="825" y="319"/>
                    </a:lnTo>
                    <a:lnTo>
                      <a:pt x="822" y="287"/>
                    </a:lnTo>
                    <a:lnTo>
                      <a:pt x="814" y="256"/>
                    </a:lnTo>
                    <a:lnTo>
                      <a:pt x="801" y="229"/>
                    </a:lnTo>
                    <a:lnTo>
                      <a:pt x="783" y="203"/>
                    </a:lnTo>
                    <a:lnTo>
                      <a:pt x="761" y="181"/>
                    </a:lnTo>
                    <a:lnTo>
                      <a:pt x="736" y="164"/>
                    </a:lnTo>
                    <a:lnTo>
                      <a:pt x="708" y="150"/>
                    </a:lnTo>
                    <a:lnTo>
                      <a:pt x="677" y="142"/>
                    </a:lnTo>
                    <a:lnTo>
                      <a:pt x="646" y="140"/>
                    </a:lnTo>
                    <a:lnTo>
                      <a:pt x="70" y="140"/>
                    </a:lnTo>
                    <a:lnTo>
                      <a:pt x="51" y="136"/>
                    </a:lnTo>
                    <a:lnTo>
                      <a:pt x="35" y="130"/>
                    </a:lnTo>
                    <a:lnTo>
                      <a:pt x="21" y="118"/>
                    </a:lnTo>
                    <a:lnTo>
                      <a:pt x="9" y="105"/>
                    </a:lnTo>
                    <a:lnTo>
                      <a:pt x="3" y="88"/>
                    </a:lnTo>
                    <a:lnTo>
                      <a:pt x="0" y="70"/>
                    </a:lnTo>
                    <a:lnTo>
                      <a:pt x="3" y="52"/>
                    </a:lnTo>
                    <a:lnTo>
                      <a:pt x="9" y="35"/>
                    </a:lnTo>
                    <a:lnTo>
                      <a:pt x="21" y="21"/>
                    </a:lnTo>
                    <a:lnTo>
                      <a:pt x="35" y="9"/>
                    </a:lnTo>
                    <a:lnTo>
                      <a:pt x="51" y="3"/>
                    </a:lnTo>
                    <a:lnTo>
                      <a:pt x="7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5" name="Picture 4" descr="A white and blue table with white text&#10;&#10;Description automatically generated">
            <a:extLst>
              <a:ext uri="{FF2B5EF4-FFF2-40B4-BE49-F238E27FC236}">
                <a16:creationId xmlns:a16="http://schemas.microsoft.com/office/drawing/2014/main" id="{09E6B77E-1643-2B2B-36D4-71D4C55A49F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598" y="5618217"/>
            <a:ext cx="2303998" cy="679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1981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19C2F52-0AEE-B06E-62F1-EFC99DE0A6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417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19C2F52-0AEE-B06E-62F1-EFC99DE0A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15AC7FB2-40D1-4377-9F65-28AF70FB53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/>
              <a:t>Comparison </a:t>
            </a:r>
            <a:r>
              <a:rPr lang="en-US" sz="2800" b="1" dirty="0"/>
              <a:t>Cloud and On-Premise Set-up</a:t>
            </a:r>
            <a:endParaRPr lang="en-US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9EC2B08-E123-8821-CCF5-A809802B1AEB}"/>
              </a:ext>
            </a:extLst>
          </p:cNvPr>
          <p:cNvSpPr/>
          <p:nvPr/>
        </p:nvSpPr>
        <p:spPr>
          <a:xfrm>
            <a:off x="2248212" y="5898404"/>
            <a:ext cx="3075004" cy="754248"/>
          </a:xfrm>
          <a:prstGeom prst="roundRect">
            <a:avLst/>
          </a:prstGeom>
          <a:solidFill>
            <a:srgbClr val="00D0C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Flexibility, Scalability, Low Maintenance</a:t>
            </a:r>
          </a:p>
          <a:p>
            <a:pPr algn="ctr"/>
            <a:r>
              <a:rPr lang="en-IN" sz="1200" dirty="0"/>
              <a:t>Automated Back-ups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50A416B-08AA-1D69-293C-C62AA5AC8A28}"/>
              </a:ext>
            </a:extLst>
          </p:cNvPr>
          <p:cNvSpPr/>
          <p:nvPr/>
        </p:nvSpPr>
        <p:spPr>
          <a:xfrm>
            <a:off x="5322443" y="5898403"/>
            <a:ext cx="3086048" cy="754248"/>
          </a:xfrm>
          <a:prstGeom prst="roundRect">
            <a:avLst/>
          </a:prstGeom>
          <a:solidFill>
            <a:srgbClr val="5C8EC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Increased control on Security, Customisation, </a:t>
            </a:r>
          </a:p>
          <a:p>
            <a:pPr algn="ctr"/>
            <a:r>
              <a:rPr lang="en-IN" sz="1200" dirty="0"/>
              <a:t>Dedicated IT Resources required for maintenance.</a:t>
            </a:r>
          </a:p>
        </p:txBody>
      </p:sp>
      <p:graphicFrame>
        <p:nvGraphicFramePr>
          <p:cNvPr id="7" name="Tabelle 3">
            <a:extLst>
              <a:ext uri="{FF2B5EF4-FFF2-40B4-BE49-F238E27FC236}">
                <a16:creationId xmlns:a16="http://schemas.microsoft.com/office/drawing/2014/main" id="{2F8BF3CE-68BE-51AE-8D1A-3A894137E1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0003295"/>
              </p:ext>
            </p:extLst>
          </p:nvPr>
        </p:nvGraphicFramePr>
        <p:xfrm>
          <a:off x="838200" y="1158006"/>
          <a:ext cx="10515600" cy="46772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1068">
                  <a:extLst>
                    <a:ext uri="{9D8B030D-6E8A-4147-A177-3AD203B41FA5}">
                      <a16:colId xmlns:a16="http://schemas.microsoft.com/office/drawing/2014/main" val="1662723419"/>
                    </a:ext>
                  </a:extLst>
                </a:gridCol>
                <a:gridCol w="3024844">
                  <a:extLst>
                    <a:ext uri="{9D8B030D-6E8A-4147-A177-3AD203B41FA5}">
                      <a16:colId xmlns:a16="http://schemas.microsoft.com/office/drawing/2014/main" val="1987853307"/>
                    </a:ext>
                  </a:extLst>
                </a:gridCol>
                <a:gridCol w="3024844">
                  <a:extLst>
                    <a:ext uri="{9D8B030D-6E8A-4147-A177-3AD203B41FA5}">
                      <a16:colId xmlns:a16="http://schemas.microsoft.com/office/drawing/2014/main" val="2184243561"/>
                    </a:ext>
                  </a:extLst>
                </a:gridCol>
                <a:gridCol w="3024844">
                  <a:extLst>
                    <a:ext uri="{9D8B030D-6E8A-4147-A177-3AD203B41FA5}">
                      <a16:colId xmlns:a16="http://schemas.microsoft.com/office/drawing/2014/main" val="3966629566"/>
                    </a:ext>
                  </a:extLst>
                </a:gridCol>
              </a:tblGrid>
              <a:tr h="492956">
                <a:tc>
                  <a:txBody>
                    <a:bodyPr/>
                    <a:lstStyle/>
                    <a:p>
                      <a:r>
                        <a:rPr lang="en-US" sz="1800" dirty="0"/>
                        <a:t>Feature</a:t>
                      </a:r>
                    </a:p>
                  </a:txBody>
                  <a:tcPr anchor="ctr">
                    <a:solidFill>
                      <a:srgbClr val="5B8FC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dirty="0" err="1"/>
                        <a:t>Polarion</a:t>
                      </a:r>
                      <a:r>
                        <a:rPr lang="en-US" sz="1800" dirty="0"/>
                        <a:t> Cloud</a:t>
                      </a:r>
                    </a:p>
                  </a:txBody>
                  <a:tcPr anchor="ctr">
                    <a:solidFill>
                      <a:srgbClr val="5B8FC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dirty="0" err="1"/>
                        <a:t>Polarion</a:t>
                      </a:r>
                      <a:r>
                        <a:rPr lang="en-US" sz="1800" dirty="0"/>
                        <a:t> On-Premise</a:t>
                      </a:r>
                    </a:p>
                  </a:txBody>
                  <a:tcPr anchor="ctr">
                    <a:solidFill>
                      <a:srgbClr val="5B8FC2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800" dirty="0" err="1"/>
                        <a:t>Polarion</a:t>
                      </a:r>
                      <a:r>
                        <a:rPr lang="en-US" sz="1800" dirty="0"/>
                        <a:t> X</a:t>
                      </a:r>
                    </a:p>
                  </a:txBody>
                  <a:tcPr anchor="ctr">
                    <a:solidFill>
                      <a:srgbClr val="5B8F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128378"/>
                  </a:ext>
                </a:extLst>
              </a:tr>
              <a:tr h="4929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Maintenance and Update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Managed by provider, with automatic updates and patches</a:t>
                      </a:r>
                    </a:p>
                    <a:p>
                      <a:pPr algn="l"/>
                      <a:endParaRPr lang="en-US" sz="12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Requires internal team for updates, patches, and maintenance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noProof="0" dirty="0">
                          <a:solidFill>
                            <a:srgbClr val="063853"/>
                          </a:solidFill>
                        </a:rPr>
                        <a:t>Managed by the cloud provider with automatic updates and patches</a:t>
                      </a:r>
                    </a:p>
                    <a:p>
                      <a:pPr lvl="0" algn="l">
                        <a:buNone/>
                      </a:pPr>
                      <a:endParaRPr lang="en-US" sz="12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092466"/>
                  </a:ext>
                </a:extLst>
              </a:tr>
              <a:tr h="492956">
                <a:tc>
                  <a:txBody>
                    <a:bodyPr/>
                    <a:lstStyle/>
                    <a:p>
                      <a:r>
                        <a:rPr lang="en-US" sz="1200" dirty="0"/>
                        <a:t>Infrastructure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Hosted on the cloud, reducing hardware costs</a:t>
                      </a:r>
                    </a:p>
                    <a:p>
                      <a:pPr algn="l"/>
                      <a:endParaRPr lang="en-US" sz="12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Requires internal servers and hardware, increasing setup cost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 dirty="0">
                          <a:latin typeface="Montserrat Medium"/>
                        </a:rPr>
                        <a:t>Managed by the cloud provider, no hardware to manage</a:t>
                      </a:r>
                      <a:endParaRPr lang="en-US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4453171"/>
                  </a:ext>
                </a:extLst>
              </a:tr>
              <a:tr h="526720">
                <a:tc>
                  <a:txBody>
                    <a:bodyPr/>
                    <a:lstStyle/>
                    <a:p>
                      <a:r>
                        <a:rPr lang="en-US" sz="1200" dirty="0"/>
                        <a:t>Scalability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Easily scalable to meet business needs</a:t>
                      </a:r>
                    </a:p>
                    <a:p>
                      <a:pPr algn="l"/>
                      <a:endParaRPr lang="en-US" sz="12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Dependent on internal resources, may need hardware upgrade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2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0391024"/>
                  </a:ext>
                </a:extLst>
              </a:tr>
              <a:tr h="492956">
                <a:tc>
                  <a:txBody>
                    <a:bodyPr/>
                    <a:lstStyle/>
                    <a:p>
                      <a:r>
                        <a:rPr lang="en-US" sz="1200" dirty="0"/>
                        <a:t>Acces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Accessible from anywhere with internet</a:t>
                      </a:r>
                    </a:p>
                    <a:p>
                      <a:pPr algn="l"/>
                      <a:endParaRPr lang="en-US" sz="12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May have restricted remote access due to security policie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 dirty="0">
                          <a:latin typeface="Montserrat Medium"/>
                        </a:rPr>
                        <a:t>Accessible from anywhere with internet</a:t>
                      </a:r>
                      <a:endParaRPr lang="en-US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6477780"/>
                  </a:ext>
                </a:extLst>
              </a:tr>
              <a:tr h="526720">
                <a:tc>
                  <a:txBody>
                    <a:bodyPr/>
                    <a:lstStyle/>
                    <a:p>
                      <a:r>
                        <a:rPr lang="en-US" sz="1200" dirty="0"/>
                        <a:t>Security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High security managed by provider</a:t>
                      </a:r>
                    </a:p>
                    <a:p>
                      <a:pPr algn="l"/>
                      <a:endParaRPr lang="en-US" sz="12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Full control over security measures, aligning with internal standard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noProof="0" dirty="0">
                          <a:solidFill>
                            <a:srgbClr val="063853"/>
                          </a:solidFill>
                          <a:latin typeface="Montserrat Medium"/>
                        </a:rPr>
                        <a:t>High security managed by provider</a:t>
                      </a:r>
                    </a:p>
                    <a:p>
                      <a:pPr lvl="0" algn="l">
                        <a:buNone/>
                      </a:pPr>
                      <a:endParaRPr lang="en-US" sz="12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3876169"/>
                  </a:ext>
                </a:extLst>
              </a:tr>
              <a:tr h="526720">
                <a:tc>
                  <a:txBody>
                    <a:bodyPr/>
                    <a:lstStyle/>
                    <a:p>
                      <a:r>
                        <a:rPr lang="en-US" sz="1200" dirty="0"/>
                        <a:t>Backup and Recovery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Automated backups and disaster recovery handled by provider</a:t>
                      </a:r>
                    </a:p>
                    <a:p>
                      <a:pPr algn="l"/>
                      <a:endParaRPr lang="en-US" sz="12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Backup and recovery managed internally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 dirty="0">
                          <a:solidFill>
                            <a:srgbClr val="063853"/>
                          </a:solidFill>
                          <a:latin typeface="Montserrat Medium"/>
                        </a:rPr>
                        <a:t>Automated backups and disaster recovery handled by provider</a:t>
                      </a:r>
                      <a:endParaRPr lang="en-US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6280535"/>
                  </a:ext>
                </a:extLst>
              </a:tr>
              <a:tr h="447787">
                <a:tc>
                  <a:txBody>
                    <a:bodyPr/>
                    <a:lstStyle/>
                    <a:p>
                      <a:r>
                        <a:rPr lang="en-US" sz="1200" dirty="0"/>
                        <a:t>Integration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Limited flexibility for some on-premise or legacy tool integration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Greater flexibility for integrating with existing on-premise system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 dirty="0">
                          <a:solidFill>
                            <a:srgbClr val="063853"/>
                          </a:solidFill>
                          <a:latin typeface="Montserrat Medium"/>
                        </a:rPr>
                        <a:t>Limited flexibility for some on-premise or legacy tool integrations</a:t>
                      </a:r>
                      <a:endParaRPr lang="en-US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7065014"/>
                  </a:ext>
                </a:extLst>
              </a:tr>
            </a:tbl>
          </a:graphicData>
        </a:graphic>
      </p:graphicFrame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B726E234-46A9-B0A4-D839-3D0670C40E81}"/>
              </a:ext>
            </a:extLst>
          </p:cNvPr>
          <p:cNvSpPr/>
          <p:nvPr/>
        </p:nvSpPr>
        <p:spPr>
          <a:xfrm>
            <a:off x="4940710" y="1474703"/>
            <a:ext cx="6930927" cy="3074912"/>
          </a:xfrm>
          <a:prstGeom prst="roundRect">
            <a:avLst/>
          </a:prstGeom>
          <a:solidFill>
            <a:srgbClr val="00D0C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 err="1"/>
              <a:t>Polarion</a:t>
            </a:r>
            <a:r>
              <a:rPr lang="en-IN" sz="1200" dirty="0"/>
              <a:t> X, </a:t>
            </a:r>
            <a:r>
              <a:rPr lang="en-IN" sz="1200" dirty="0" err="1"/>
              <a:t>Polarion</a:t>
            </a:r>
            <a:r>
              <a:rPr lang="en-IN" sz="1200" dirty="0"/>
              <a:t> Cloud, </a:t>
            </a:r>
            <a:r>
              <a:rPr lang="en-IN" sz="1200" dirty="0" err="1"/>
              <a:t>Polarion</a:t>
            </a:r>
            <a:r>
              <a:rPr lang="en-IN" sz="1200" dirty="0"/>
              <a:t> on-prem</a:t>
            </a:r>
          </a:p>
          <a:p>
            <a:pPr algn="ctr"/>
            <a:r>
              <a:rPr lang="en-IN" sz="1200" dirty="0"/>
              <a:t>Was </a:t>
            </a:r>
            <a:r>
              <a:rPr lang="en-IN" sz="1200" dirty="0" err="1"/>
              <a:t>sind</a:t>
            </a:r>
            <a:r>
              <a:rPr lang="en-IN" sz="1200" dirty="0"/>
              <a:t> die </a:t>
            </a:r>
            <a:r>
              <a:rPr lang="en-IN" sz="1200" dirty="0" err="1"/>
              <a:t>üblichen</a:t>
            </a:r>
            <a:r>
              <a:rPr lang="en-IN" sz="1200" dirty="0"/>
              <a:t> </a:t>
            </a:r>
            <a:r>
              <a:rPr lang="en-IN" sz="1200" dirty="0" err="1"/>
              <a:t>Schmerzpunkte</a:t>
            </a:r>
            <a:r>
              <a:rPr lang="en-IN" sz="1200" dirty="0"/>
              <a:t>, wo man </a:t>
            </a:r>
            <a:r>
              <a:rPr lang="en-IN" sz="1200" dirty="0" err="1"/>
              <a:t>stoplert</a:t>
            </a:r>
            <a:r>
              <a:rPr lang="en-IN" sz="1200" dirty="0"/>
              <a:t> und wo das </a:t>
            </a:r>
            <a:r>
              <a:rPr lang="en-IN" sz="1200" dirty="0" err="1"/>
              <a:t>häufig</a:t>
            </a:r>
            <a:r>
              <a:rPr lang="en-IN" sz="1200" dirty="0"/>
              <a:t> </a:t>
            </a:r>
            <a:r>
              <a:rPr lang="en-IN" sz="1200" dirty="0" err="1"/>
              <a:t>passiert</a:t>
            </a:r>
            <a:r>
              <a:rPr lang="en-IN" sz="1200" dirty="0"/>
              <a:t> -&gt; das </a:t>
            </a:r>
            <a:r>
              <a:rPr lang="en-IN" sz="1200" dirty="0" err="1"/>
              <a:t>können</a:t>
            </a:r>
            <a:r>
              <a:rPr lang="en-IN" sz="1200" dirty="0"/>
              <a:t> </a:t>
            </a:r>
            <a:r>
              <a:rPr lang="en-IN" sz="1200" dirty="0" err="1"/>
              <a:t>wir</a:t>
            </a:r>
            <a:r>
              <a:rPr lang="en-IN" sz="1200" dirty="0"/>
              <a:t> gut, das </a:t>
            </a:r>
            <a:r>
              <a:rPr lang="en-IN" sz="1200" dirty="0" err="1"/>
              <a:t>kann</a:t>
            </a:r>
            <a:r>
              <a:rPr lang="en-IN" sz="1200" dirty="0"/>
              <a:t> ich </a:t>
            </a:r>
            <a:r>
              <a:rPr lang="en-IN" sz="1200" dirty="0" err="1"/>
              <a:t>dir</a:t>
            </a:r>
            <a:r>
              <a:rPr lang="en-IN" sz="1200" dirty="0"/>
              <a:t> </a:t>
            </a:r>
            <a:r>
              <a:rPr lang="en-IN" sz="1200" dirty="0" err="1"/>
              <a:t>anbieten</a:t>
            </a:r>
            <a:r>
              <a:rPr lang="en-IN" sz="1200" dirty="0"/>
              <a:t>. Das </a:t>
            </a:r>
            <a:r>
              <a:rPr lang="en-IN" sz="1200" dirty="0" err="1"/>
              <a:t>passiert</a:t>
            </a:r>
            <a:r>
              <a:rPr lang="en-IN" sz="1200" dirty="0"/>
              <a:t> </a:t>
            </a:r>
            <a:r>
              <a:rPr lang="en-IN" sz="1200" dirty="0" err="1"/>
              <a:t>öfter</a:t>
            </a:r>
            <a:r>
              <a:rPr lang="en-IN" sz="1200" dirty="0"/>
              <a:t> und </a:t>
            </a:r>
            <a:r>
              <a:rPr lang="en-IN" sz="1200" dirty="0" err="1"/>
              <a:t>letztlich</a:t>
            </a:r>
            <a:r>
              <a:rPr lang="en-IN" sz="1200" dirty="0"/>
              <a:t> </a:t>
            </a:r>
            <a:r>
              <a:rPr lang="en-IN" sz="1200" dirty="0" err="1"/>
              <a:t>scheitern</a:t>
            </a:r>
            <a:r>
              <a:rPr lang="en-IN" sz="1200" dirty="0"/>
              <a:t> </a:t>
            </a:r>
            <a:r>
              <a:rPr lang="en-IN" sz="1200" dirty="0" err="1"/>
              <a:t>daran</a:t>
            </a:r>
            <a:r>
              <a:rPr lang="en-IN" sz="1200" dirty="0"/>
              <a:t> </a:t>
            </a:r>
            <a:r>
              <a:rPr lang="en-IN" sz="1200" dirty="0" err="1"/>
              <a:t>kunden</a:t>
            </a:r>
            <a:endParaRPr lang="en-IN" sz="1200" dirty="0"/>
          </a:p>
          <a:p>
            <a:pPr algn="ctr"/>
            <a:endParaRPr lang="en-IN" sz="1200" dirty="0"/>
          </a:p>
          <a:p>
            <a:pPr algn="ctr"/>
            <a:r>
              <a:rPr lang="en-IN" sz="1200" dirty="0"/>
              <a:t>Das hat mir </a:t>
            </a:r>
            <a:r>
              <a:rPr lang="en-IN" sz="1200" dirty="0" err="1"/>
              <a:t>öfter</a:t>
            </a:r>
            <a:r>
              <a:rPr lang="en-IN" sz="1200" dirty="0"/>
              <a:t> </a:t>
            </a:r>
            <a:r>
              <a:rPr lang="en-IN" sz="1200" dirty="0" err="1"/>
              <a:t>gefehlt</a:t>
            </a:r>
            <a:r>
              <a:rPr lang="en-IN" sz="1200" dirty="0"/>
              <a:t>: </a:t>
            </a:r>
            <a:r>
              <a:rPr lang="en-IN" sz="1200" dirty="0" err="1"/>
              <a:t>abfragen</a:t>
            </a:r>
            <a:r>
              <a:rPr lang="en-IN" sz="1200" dirty="0"/>
              <a:t> was ich </a:t>
            </a:r>
            <a:r>
              <a:rPr lang="en-IN" sz="1200" dirty="0" err="1"/>
              <a:t>brauche</a:t>
            </a:r>
            <a:r>
              <a:rPr lang="en-IN" sz="1200" dirty="0"/>
              <a:t> und </a:t>
            </a:r>
            <a:r>
              <a:rPr lang="en-IN" sz="1200" dirty="0" err="1"/>
              <a:t>nicht</a:t>
            </a:r>
            <a:r>
              <a:rPr lang="en-IN" sz="1200" dirty="0"/>
              <a:t> so </a:t>
            </a:r>
            <a:r>
              <a:rPr lang="en-IN" sz="1200" dirty="0" err="1"/>
              <a:t>ganz</a:t>
            </a:r>
            <a:r>
              <a:rPr lang="en-IN" sz="1200" dirty="0"/>
              <a:t> customised! Most common pitfalls for a project</a:t>
            </a:r>
          </a:p>
          <a:p>
            <a:pPr algn="ctr"/>
            <a:endParaRPr lang="en-IN" sz="1200" dirty="0"/>
          </a:p>
          <a:p>
            <a:pPr algn="ctr"/>
            <a:r>
              <a:rPr lang="en-IN" sz="1200" dirty="0" err="1"/>
              <a:t>Betriebliche</a:t>
            </a:r>
            <a:r>
              <a:rPr lang="en-IN" sz="1200" dirty="0"/>
              <a:t> insights und das past auf </a:t>
            </a:r>
            <a:r>
              <a:rPr lang="en-IN" sz="1200" dirty="0" err="1"/>
              <a:t>dein</a:t>
            </a:r>
            <a:r>
              <a:rPr lang="en-IN" sz="1200" dirty="0"/>
              <a:t> system</a:t>
            </a:r>
          </a:p>
          <a:p>
            <a:pPr algn="ctr"/>
            <a:endParaRPr lang="en-IN" sz="1200" dirty="0"/>
          </a:p>
          <a:p>
            <a:pPr algn="ctr"/>
            <a:r>
              <a:rPr lang="en-IN" sz="1200" dirty="0"/>
              <a:t>Das </a:t>
            </a:r>
            <a:r>
              <a:rPr lang="en-IN" sz="1200" dirty="0" err="1"/>
              <a:t>ist</a:t>
            </a:r>
            <a:r>
              <a:rPr lang="en-IN" sz="1200" dirty="0"/>
              <a:t> </a:t>
            </a:r>
            <a:r>
              <a:rPr lang="en-IN" sz="1200" dirty="0" err="1"/>
              <a:t>nicht</a:t>
            </a:r>
            <a:r>
              <a:rPr lang="en-IN" sz="1200" dirty="0"/>
              <a:t> </a:t>
            </a:r>
            <a:r>
              <a:rPr lang="en-IN" sz="1200" dirty="0" err="1"/>
              <a:t>generisch</a:t>
            </a:r>
            <a:r>
              <a:rPr lang="en-IN" sz="1200" dirty="0"/>
              <a:t>: most common pitfalls </a:t>
            </a:r>
          </a:p>
          <a:p>
            <a:pPr algn="ctr"/>
            <a:endParaRPr lang="en-IN" sz="1200" dirty="0"/>
          </a:p>
          <a:p>
            <a:pPr algn="ctr"/>
            <a:r>
              <a:rPr lang="en-IN" sz="1200" dirty="0"/>
              <a:t>“Da </a:t>
            </a:r>
            <a:r>
              <a:rPr lang="en-IN" sz="1200" dirty="0" err="1"/>
              <a:t>sitzt</a:t>
            </a:r>
            <a:r>
              <a:rPr lang="en-IN" sz="1200" dirty="0"/>
              <a:t> </a:t>
            </a:r>
            <a:r>
              <a:rPr lang="en-IN" sz="1200" dirty="0" err="1"/>
              <a:t>ein</a:t>
            </a:r>
            <a:r>
              <a:rPr lang="en-IN" sz="1200" dirty="0"/>
              <a:t> </a:t>
            </a:r>
            <a:r>
              <a:rPr lang="en-IN" sz="1200" dirty="0" err="1"/>
              <a:t>Entscheider</a:t>
            </a:r>
            <a:r>
              <a:rPr lang="en-IN" sz="1200" dirty="0"/>
              <a:t> </a:t>
            </a:r>
            <a:r>
              <a:rPr lang="en-IN" sz="1200" dirty="0" err="1"/>
              <a:t>mit</a:t>
            </a:r>
            <a:r>
              <a:rPr lang="en-IN" sz="1200" dirty="0"/>
              <a:t> </a:t>
            </a:r>
            <a:r>
              <a:rPr lang="en-IN" sz="1200" dirty="0" err="1"/>
              <a:t>dabei</a:t>
            </a:r>
            <a:r>
              <a:rPr lang="en-IN" sz="1200" dirty="0"/>
              <a:t> und was für den </a:t>
            </a:r>
            <a:r>
              <a:rPr lang="en-IN" sz="1200" dirty="0" err="1"/>
              <a:t>wichtig</a:t>
            </a:r>
            <a:r>
              <a:rPr lang="en-IN" sz="1200" dirty="0"/>
              <a:t> </a:t>
            </a:r>
            <a:r>
              <a:rPr lang="en-IN" sz="1200" dirty="0" err="1"/>
              <a:t>ist</a:t>
            </a:r>
            <a:r>
              <a:rPr lang="en-IN" sz="1200" dirty="0"/>
              <a:t> und </a:t>
            </a:r>
            <a:r>
              <a:rPr lang="en-IN" sz="1200" dirty="0" err="1"/>
              <a:t>ein</a:t>
            </a:r>
            <a:r>
              <a:rPr lang="en-IN" sz="1200" dirty="0"/>
              <a:t> “OK die </a:t>
            </a:r>
            <a:r>
              <a:rPr lang="en-IN" sz="1200" dirty="0" err="1"/>
              <a:t>haben</a:t>
            </a:r>
            <a:r>
              <a:rPr lang="en-IN" sz="1200" dirty="0"/>
              <a:t> </a:t>
            </a:r>
            <a:r>
              <a:rPr lang="en-IN" sz="1200" dirty="0" err="1"/>
              <a:t>meinen</a:t>
            </a:r>
            <a:r>
              <a:rPr lang="en-IN" sz="1200" dirty="0"/>
              <a:t> </a:t>
            </a:r>
            <a:r>
              <a:rPr lang="en-IN" sz="1200" dirty="0" err="1"/>
              <a:t>Schmerz</a:t>
            </a:r>
            <a:r>
              <a:rPr lang="en-IN" sz="1200" dirty="0"/>
              <a:t> </a:t>
            </a:r>
            <a:r>
              <a:rPr lang="en-IN" sz="1200" dirty="0" err="1"/>
              <a:t>verstanden</a:t>
            </a:r>
            <a:r>
              <a:rPr lang="en-IN" sz="1200" dirty="0"/>
              <a:t> und das tut den </a:t>
            </a:r>
            <a:r>
              <a:rPr lang="en-IN" sz="1200" dirty="0" err="1"/>
              <a:t>Leuten</a:t>
            </a:r>
            <a:r>
              <a:rPr lang="en-IN" sz="1200" dirty="0"/>
              <a:t> oft </a:t>
            </a:r>
            <a:r>
              <a:rPr lang="en-IN" sz="1200" dirty="0" err="1"/>
              <a:t>weh</a:t>
            </a:r>
            <a:r>
              <a:rPr lang="en-IN" sz="1200" dirty="0"/>
              <a:t>” … da </a:t>
            </a:r>
            <a:r>
              <a:rPr lang="en-IN" sz="1200" dirty="0" err="1"/>
              <a:t>läuft</a:t>
            </a:r>
            <a:r>
              <a:rPr lang="en-IN" sz="1200" dirty="0"/>
              <a:t> man oft rein, das </a:t>
            </a:r>
            <a:r>
              <a:rPr lang="en-IN" sz="1200" dirty="0" err="1"/>
              <a:t>könnt</a:t>
            </a:r>
            <a:r>
              <a:rPr lang="en-IN" sz="1200" dirty="0"/>
              <a:t> bald </a:t>
            </a:r>
            <a:r>
              <a:rPr lang="en-IN" sz="1200" dirty="0" err="1"/>
              <a:t>eintreten</a:t>
            </a:r>
            <a:r>
              <a:rPr lang="en-IN" sz="1200" dirty="0"/>
              <a:t> </a:t>
            </a:r>
            <a:r>
              <a:rPr lang="en-IN" sz="1200" dirty="0" err="1"/>
              <a:t>bei</a:t>
            </a:r>
            <a:r>
              <a:rPr lang="en-IN" sz="1200" dirty="0"/>
              <a:t> </a:t>
            </a:r>
            <a:r>
              <a:rPr lang="en-IN" sz="1200" dirty="0" err="1"/>
              <a:t>dir</a:t>
            </a:r>
            <a:r>
              <a:rPr lang="en-IN" sz="1200" dirty="0"/>
              <a:t> und </a:t>
            </a:r>
            <a:r>
              <a:rPr lang="en-IN" sz="1200" dirty="0" err="1"/>
              <a:t>zu</a:t>
            </a:r>
            <a:r>
              <a:rPr lang="en-IN" sz="1200" dirty="0"/>
              <a:t> </a:t>
            </a:r>
            <a:r>
              <a:rPr lang="en-IN" sz="1200" dirty="0" err="1"/>
              <a:t>problemen</a:t>
            </a:r>
            <a:r>
              <a:rPr lang="en-IN" sz="1200" dirty="0"/>
              <a:t> </a:t>
            </a:r>
            <a:r>
              <a:rPr lang="en-IN" sz="1200" dirty="0" err="1"/>
              <a:t>führen</a:t>
            </a:r>
            <a:endParaRPr lang="en-IN" sz="1200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CECBA335-AB53-8DF8-6B01-52F9F38D1385}"/>
              </a:ext>
            </a:extLst>
          </p:cNvPr>
          <p:cNvSpPr/>
          <p:nvPr/>
        </p:nvSpPr>
        <p:spPr>
          <a:xfrm>
            <a:off x="8407566" y="5898404"/>
            <a:ext cx="2942482" cy="754248"/>
          </a:xfrm>
          <a:prstGeom prst="roundRect">
            <a:avLst/>
          </a:prstGeom>
          <a:solidFill>
            <a:srgbClr val="00D0C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IN" sz="1000"/>
              <a:t>Polarion X includes everything from Polarion On-Premise, in a cloud-based deployment. With Polarion X, updates a</a:t>
            </a:r>
            <a:r>
              <a:rPr lang="en-IN" sz="1000">
                <a:ea typeface="+mn-lt"/>
                <a:cs typeface="+mn-lt"/>
              </a:rPr>
              <a:t>re deployed faster.</a:t>
            </a:r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35731830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849EC12-79E8-CE09-4E57-ADDAC44005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Montserrat SemiBold"/>
              </a:rPr>
              <a:t>Common Pitfalls for a Polarion Project</a:t>
            </a:r>
            <a:endParaRPr lang="en-US"/>
          </a:p>
        </p:txBody>
      </p:sp>
      <p:graphicFrame>
        <p:nvGraphicFramePr>
          <p:cNvPr id="5" name="Tabelle 3">
            <a:extLst>
              <a:ext uri="{FF2B5EF4-FFF2-40B4-BE49-F238E27FC236}">
                <a16:creationId xmlns:a16="http://schemas.microsoft.com/office/drawing/2014/main" id="{5D87EDB3-E1E1-03EE-40D9-51D521DAB1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8439135"/>
              </p:ext>
            </p:extLst>
          </p:nvPr>
        </p:nvGraphicFramePr>
        <p:xfrm>
          <a:off x="491289" y="1092868"/>
          <a:ext cx="11222187" cy="54968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8917">
                  <a:extLst>
                    <a:ext uri="{9D8B030D-6E8A-4147-A177-3AD203B41FA5}">
                      <a16:colId xmlns:a16="http://schemas.microsoft.com/office/drawing/2014/main" val="1662723419"/>
                    </a:ext>
                  </a:extLst>
                </a:gridCol>
                <a:gridCol w="4531635">
                  <a:extLst>
                    <a:ext uri="{9D8B030D-6E8A-4147-A177-3AD203B41FA5}">
                      <a16:colId xmlns:a16="http://schemas.microsoft.com/office/drawing/2014/main" val="1987853307"/>
                    </a:ext>
                  </a:extLst>
                </a:gridCol>
                <a:gridCol w="4531635">
                  <a:extLst>
                    <a:ext uri="{9D8B030D-6E8A-4147-A177-3AD203B41FA5}">
                      <a16:colId xmlns:a16="http://schemas.microsoft.com/office/drawing/2014/main" val="3966629566"/>
                    </a:ext>
                  </a:extLst>
                </a:gridCol>
              </a:tblGrid>
              <a:tr h="557566">
                <a:tc>
                  <a:txBody>
                    <a:bodyPr/>
                    <a:lstStyle/>
                    <a:p>
                      <a:r>
                        <a:rPr lang="en-US" sz="1800" dirty="0"/>
                        <a:t>Feature</a:t>
                      </a:r>
                    </a:p>
                  </a:txBody>
                  <a:tcPr anchor="ctr">
                    <a:solidFill>
                      <a:srgbClr val="5B8FC2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800" b="1" i="0" u="none" strike="noStrike" noProof="0">
                          <a:latin typeface="Montserrat Medium"/>
                        </a:rPr>
                        <a:t>Common Pitfalls</a:t>
                      </a:r>
                      <a:endParaRPr lang="en-US"/>
                    </a:p>
                  </a:txBody>
                  <a:tcPr anchor="ctr">
                    <a:solidFill>
                      <a:srgbClr val="5B8FC2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800"/>
                        <a:t>Intelizign Solution</a:t>
                      </a:r>
                    </a:p>
                  </a:txBody>
                  <a:tcPr anchor="ctr">
                    <a:solidFill>
                      <a:srgbClr val="5B8F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128378"/>
                  </a:ext>
                </a:extLst>
              </a:tr>
              <a:tr h="890336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noProof="0"/>
                        <a:t>Requirements Management Practices</a:t>
                      </a:r>
                      <a:endParaRPr lang="en-US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/>
                        <a:t>Polarion excels in requirements management, but teams may fail to structure or organize their requirements properly</a:t>
                      </a:r>
                      <a:endParaRPr lang="en-US"/>
                    </a:p>
                    <a:p>
                      <a:pPr algn="l"/>
                      <a:endParaRPr lang="en-US" sz="12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63853"/>
                          </a:solidFill>
                          <a:latin typeface="Montserrat Medium"/>
                        </a:rPr>
                        <a:t>We invest time in setting up a </a:t>
                      </a:r>
                      <a:r>
                        <a:rPr lang="en-US" sz="1200" b="1" i="0" u="none" strike="noStrike" noProof="0" dirty="0">
                          <a:solidFill>
                            <a:srgbClr val="063853"/>
                          </a:solidFill>
                          <a:latin typeface="Montserrat Medium"/>
                        </a:rPr>
                        <a:t>clear requirements framework</a:t>
                      </a:r>
                      <a:r>
                        <a:rPr lang="en-US" sz="1200" b="0" i="0" u="none" strike="noStrike" noProof="0" dirty="0">
                          <a:solidFill>
                            <a:srgbClr val="063853"/>
                          </a:solidFill>
                          <a:latin typeface="Montserrat Medium"/>
                        </a:rPr>
                        <a:t> with proper categorization, traceability links, and version control. Ensure that every requirement is linked to corresponding test cases and deliverables</a:t>
                      </a:r>
                      <a:endParaRPr lang="en-US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092466"/>
                  </a:ext>
                </a:extLst>
              </a:tr>
              <a:tr h="1136993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0" i="0" u="none" strike="noStrike" noProof="0"/>
                        <a:t>Overcomplicating Configuration and Customization</a:t>
                      </a:r>
                      <a:endParaRPr lang="en-US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/>
                        <a:t>Polarion allows significant customization, including workflows, templates, and fields. However, over-customizing or incorrectly configuring can lead to system complexity and performance degradation</a:t>
                      </a:r>
                      <a:endParaRPr lang="en-US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/>
                        <a:t>With our expertise and experience, we </a:t>
                      </a:r>
                      <a:r>
                        <a:rPr lang="en-US" sz="1200" b="1" i="0" u="none" strike="noStrike" noProof="0"/>
                        <a:t>k</a:t>
                      </a:r>
                      <a:r>
                        <a:rPr lang="en-US" sz="1200" b="1" i="0" u="none" strike="noStrike" noProof="0">
                          <a:latin typeface="Montserrat Medium"/>
                        </a:rPr>
                        <a:t>eep </a:t>
                      </a:r>
                      <a:r>
                        <a:rPr lang="en-US" sz="1200" b="1" i="0" u="none" strike="noStrike" noProof="0" dirty="0">
                          <a:latin typeface="Montserrat Medium"/>
                        </a:rPr>
                        <a:t>configurations simple</a:t>
                      </a:r>
                      <a:r>
                        <a:rPr lang="en-US" sz="1200" b="0" i="0" u="none" strike="noStrike" noProof="0" dirty="0">
                          <a:latin typeface="Montserrat Medium"/>
                        </a:rPr>
                        <a:t> and focus on what’s essential for </a:t>
                      </a:r>
                      <a:r>
                        <a:rPr lang="en-US" sz="1200" b="0" i="0" u="none" strike="noStrike" noProof="0">
                          <a:latin typeface="Montserrat Medium"/>
                        </a:rPr>
                        <a:t>the team</a:t>
                      </a:r>
                      <a:endParaRPr lang="en-US" sz="1200" b="0" i="0" u="none" strike="noStrike" noProof="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4453171"/>
                  </a:ext>
                </a:extLst>
              </a:tr>
              <a:tr h="710624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0" i="0" u="none" strike="noStrike" noProof="0" dirty="0">
                          <a:latin typeface="Montserrat Medium"/>
                        </a:rPr>
                        <a:t>Replicating the ongoing procedures and </a:t>
                      </a:r>
                      <a:r>
                        <a:rPr lang="en-US" sz="1200" b="0" i="0" u="none" strike="noStrike" noProof="0">
                          <a:latin typeface="Montserrat Medium"/>
                        </a:rPr>
                        <a:t>templates</a:t>
                      </a:r>
                      <a:endParaRPr lang="en-US" sz="1200" b="0" i="0" u="none" strike="noStrike" noProof="0" dirty="0">
                        <a:latin typeface="Montserrat Medium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63853"/>
                          </a:solidFill>
                        </a:rPr>
                        <a:t>Polarion is a flexible tool, but failing to align its setup with the organization’s established processes can result in resistance or inefficiencies</a:t>
                      </a:r>
                      <a:endParaRPr lang="en-US" sz="1200" b="0" i="0" u="none" strike="noStrike" noProof="0">
                        <a:solidFill>
                          <a:srgbClr val="063853"/>
                        </a:solidFill>
                        <a:latin typeface="Montserrat Medium"/>
                      </a:endParaRPr>
                    </a:p>
                    <a:p>
                      <a:pPr lvl="0" algn="l">
                        <a:buNone/>
                      </a:pPr>
                      <a:endParaRPr lang="en-US" sz="1200" b="0" i="0" u="none" strike="noStrike" noProof="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63853"/>
                          </a:solidFill>
                        </a:rPr>
                        <a:t>We ensure that Polarion is </a:t>
                      </a:r>
                      <a:r>
                        <a:rPr lang="en-US" sz="1200" b="1" i="0" u="none" strike="noStrike" noProof="0">
                          <a:solidFill>
                            <a:srgbClr val="063853"/>
                          </a:solidFill>
                        </a:rPr>
                        <a:t>configured to fit with organization's workflows</a:t>
                      </a:r>
                      <a:endParaRPr lang="en-US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0391024"/>
                  </a:ext>
                </a:extLst>
              </a:tr>
              <a:tr h="710624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0" i="0" u="none" strike="noStrike" noProof="0"/>
                        <a:t>Overloading the System with Excessive Data</a:t>
                      </a:r>
                      <a:endParaRPr lang="en-US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/>
                        <a:t>Teams may enter too much information into Polarion, such as excessive metadata or over-detailed requirements</a:t>
                      </a:r>
                      <a:endParaRPr lang="en-US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/>
                        <a:t>We e</a:t>
                      </a:r>
                      <a:r>
                        <a:rPr lang="en-US" sz="1200" b="0" i="0" u="none" strike="noStrike" noProof="0">
                          <a:latin typeface="Montserrat Medium"/>
                        </a:rPr>
                        <a:t>nsure that the data you enter is </a:t>
                      </a:r>
                      <a:r>
                        <a:rPr lang="en-US" sz="1200" b="1" i="0" u="none" strike="noStrike" noProof="0" dirty="0">
                          <a:latin typeface="Montserrat Medium"/>
                        </a:rPr>
                        <a:t>concise and relevant</a:t>
                      </a:r>
                      <a:r>
                        <a:rPr lang="en-US" sz="1200" b="0" i="0" u="none" strike="noStrike" noProof="0" dirty="0">
                          <a:latin typeface="Montserrat Medium"/>
                        </a:rPr>
                        <a:t>. Periodically review and clean up the system by </a:t>
                      </a:r>
                      <a:r>
                        <a:rPr lang="en-US" sz="1200" b="0" i="0" u="none" strike="noStrike" noProof="0">
                          <a:latin typeface="Montserrat Medium"/>
                        </a:rPr>
                        <a:t>archiving outdated or unnecessary data.</a:t>
                      </a:r>
                      <a:endParaRPr lang="en-US" sz="1200" b="0" i="0" u="none" strike="noStrike" noProof="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6477780"/>
                  </a:ext>
                </a:extLst>
              </a:tr>
              <a:tr h="667752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0" i="0" u="none" strike="noStrike" noProof="0"/>
                        <a:t>Neglecting to Monitor and Maintain the System</a:t>
                      </a:r>
                      <a:endParaRPr lang="en-US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/>
                        <a:t>Polarion requires ongoing maintenance and monitoring to ensure it remains efficient and secure</a:t>
                      </a:r>
                      <a:endParaRPr lang="en-US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63853"/>
                          </a:solidFill>
                          <a:latin typeface="Montserrat Medium"/>
                        </a:rPr>
                        <a:t>Regularly </a:t>
                      </a:r>
                      <a:r>
                        <a:rPr lang="en-US" sz="1200" b="1" i="0" u="none" strike="noStrike" noProof="0">
                          <a:solidFill>
                            <a:srgbClr val="063853"/>
                          </a:solidFill>
                          <a:latin typeface="Montserrat Medium"/>
                        </a:rPr>
                        <a:t>monitor and maintain Polarion</a:t>
                      </a:r>
                      <a:r>
                        <a:rPr lang="en-US" sz="1200" b="0" i="0" u="none" strike="noStrike" noProof="0">
                          <a:solidFill>
                            <a:srgbClr val="063853"/>
                          </a:solidFill>
                          <a:latin typeface="Montserrat Medium"/>
                        </a:rPr>
                        <a:t>. Implement system updates, patches, and security checks as part of a routine schedule</a:t>
                      </a:r>
                      <a:endParaRPr lang="en-US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3876169"/>
                  </a:ext>
                </a:extLst>
              </a:tr>
              <a:tr h="710624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0" i="0" u="none" strike="noStrike" noProof="0">
                          <a:latin typeface="Montserrat Medium"/>
                        </a:rPr>
                        <a:t>Data Migration</a:t>
                      </a:r>
                      <a:endParaRPr lang="en-US" sz="1200" b="0" i="0" u="none" strike="noStrike" noProof="0" dirty="0">
                        <a:latin typeface="Montserrat Medium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 dirty="0"/>
                        <a:t>Migrating data from previous systems may lead to the </a:t>
                      </a:r>
                      <a:r>
                        <a:rPr lang="en-US" sz="1200" b="0" i="0" u="none" strike="noStrike" noProof="0"/>
                        <a:t>loss of data</a:t>
                      </a:r>
                      <a:endParaRPr lang="en-US" sz="1200" b="0" i="0" u="none" strike="noStrike" noProof="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>
                          <a:solidFill>
                            <a:srgbClr val="063853"/>
                          </a:solidFill>
                          <a:latin typeface="Montserrat Medium"/>
                        </a:rPr>
                        <a:t>With our expertise and experience, we m</a:t>
                      </a:r>
                      <a:r>
                        <a:rPr lang="en-US" sz="1200" b="0" i="0" u="none" strike="noStrike" noProof="0">
                          <a:solidFill>
                            <a:srgbClr val="063853"/>
                          </a:solidFill>
                        </a:rPr>
                        <a:t>ake sure to extract and migrate the data</a:t>
                      </a:r>
                      <a:endParaRPr lang="en-US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62805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7470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4" name="think-cell data - do not delete" hidden="1">
            <a:extLst>
              <a:ext uri="{FF2B5EF4-FFF2-40B4-BE49-F238E27FC236}">
                <a16:creationId xmlns:a16="http://schemas.microsoft.com/office/drawing/2014/main" id="{20506C4D-ABD5-5160-F404-E09EBF2513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1753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506C4D-ABD5-5160-F404-E09EBF2513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7F77DDF-23EB-DA39-E0E8-C7C63838B0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2800" b="1" dirty="0"/>
              <a:t>Configuration in </a:t>
            </a:r>
            <a:r>
              <a:rPr lang="en-US" sz="2800" b="1" dirty="0" err="1"/>
              <a:t>Polarion</a:t>
            </a:r>
            <a:r>
              <a:rPr lang="en-US" sz="2800" b="1" dirty="0"/>
              <a:t> (No coding)</a:t>
            </a:r>
            <a:endParaRPr lang="en-US" dirty="0"/>
          </a:p>
        </p:txBody>
      </p:sp>
      <p:sp>
        <p:nvSpPr>
          <p:cNvPr id="4" name="Oval 6">
            <a:extLst>
              <a:ext uri="{FF2B5EF4-FFF2-40B4-BE49-F238E27FC236}">
                <a16:creationId xmlns:a16="http://schemas.microsoft.com/office/drawing/2014/main" id="{3F2CC6B5-D411-8038-86CC-0EBBE930CE55}"/>
              </a:ext>
            </a:extLst>
          </p:cNvPr>
          <p:cNvSpPr/>
          <p:nvPr/>
        </p:nvSpPr>
        <p:spPr>
          <a:xfrm>
            <a:off x="615931" y="1368441"/>
            <a:ext cx="914400" cy="914400"/>
          </a:xfrm>
          <a:prstGeom prst="ellipse">
            <a:avLst/>
          </a:prstGeom>
          <a:solidFill>
            <a:srgbClr val="00D0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12">
            <a:extLst>
              <a:ext uri="{FF2B5EF4-FFF2-40B4-BE49-F238E27FC236}">
                <a16:creationId xmlns:a16="http://schemas.microsoft.com/office/drawing/2014/main" id="{9216CD88-A4E3-E968-40BC-99D9F23FF951}"/>
              </a:ext>
            </a:extLst>
          </p:cNvPr>
          <p:cNvSpPr/>
          <p:nvPr/>
        </p:nvSpPr>
        <p:spPr>
          <a:xfrm>
            <a:off x="615931" y="3461322"/>
            <a:ext cx="914400" cy="914400"/>
          </a:xfrm>
          <a:prstGeom prst="ellipse">
            <a:avLst/>
          </a:prstGeom>
          <a:solidFill>
            <a:srgbClr val="5C8E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4">
            <a:extLst>
              <a:ext uri="{FF2B5EF4-FFF2-40B4-BE49-F238E27FC236}">
                <a16:creationId xmlns:a16="http://schemas.microsoft.com/office/drawing/2014/main" id="{2AD4E706-73F9-D198-8807-592967215366}"/>
              </a:ext>
            </a:extLst>
          </p:cNvPr>
          <p:cNvSpPr/>
          <p:nvPr/>
        </p:nvSpPr>
        <p:spPr>
          <a:xfrm>
            <a:off x="615931" y="4855893"/>
            <a:ext cx="914400" cy="914400"/>
          </a:xfrm>
          <a:prstGeom prst="ellipse">
            <a:avLst/>
          </a:prstGeom>
          <a:solidFill>
            <a:srgbClr val="686C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9">
            <a:extLst>
              <a:ext uri="{FF2B5EF4-FFF2-40B4-BE49-F238E27FC236}">
                <a16:creationId xmlns:a16="http://schemas.microsoft.com/office/drawing/2014/main" id="{6A4671E8-B29D-B0A2-EF20-310CF7F7EB8B}"/>
              </a:ext>
            </a:extLst>
          </p:cNvPr>
          <p:cNvSpPr/>
          <p:nvPr/>
        </p:nvSpPr>
        <p:spPr>
          <a:xfrm>
            <a:off x="1707217" y="1368441"/>
            <a:ext cx="4140000" cy="209288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00" b="1">
                <a:latin typeface="Montserrat" panose="00000500000000000000" pitchFamily="2" charset="0"/>
              </a:rPr>
              <a:t>Work Item Configuration</a:t>
            </a:r>
            <a:r>
              <a:rPr lang="en-US" sz="1000">
                <a:latin typeface="Montserrat" panose="00000500000000000000" pitchFamily="2" charset="0"/>
              </a:rPr>
              <a:t>:</a:t>
            </a:r>
            <a:endParaRPr lang="en-US" sz="1000" b="1">
              <a:latin typeface="Montserrat" panose="00000500000000000000" pitchFamily="2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b="1">
                <a:latin typeface="Montserrat" panose="00000500000000000000" pitchFamily="2" charset="0"/>
              </a:rPr>
              <a:t>Custom Fields</a:t>
            </a:r>
            <a:r>
              <a:rPr lang="en-US" sz="1000">
                <a:latin typeface="Montserrat" panose="00000500000000000000" pitchFamily="2" charset="0"/>
              </a:rPr>
              <a:t>: Add custom fields to work items to capture specific information relevant to your business process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b="1">
                <a:latin typeface="Montserrat" panose="00000500000000000000" pitchFamily="2" charset="0"/>
              </a:rPr>
              <a:t>Form Configuration</a:t>
            </a:r>
            <a:r>
              <a:rPr lang="en-US" sz="1000">
                <a:latin typeface="Montserrat" panose="00000500000000000000" pitchFamily="2" charset="0"/>
              </a:rPr>
              <a:t>: Modify the layout and structure of work item forms, deciding which fields are mandatory, optional, or hidden based on user roles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b="1">
                <a:latin typeface="Montserrat" panose="00000500000000000000" pitchFamily="2" charset="0"/>
              </a:rPr>
              <a:t>Workflows</a:t>
            </a:r>
            <a:r>
              <a:rPr lang="en-US" sz="1000">
                <a:latin typeface="Montserrat" panose="00000500000000000000" pitchFamily="2" charset="0"/>
              </a:rPr>
              <a:t>: Define workflows for each work item type. This includes setting up statuses, transitions, approvals, and automated notifications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b="1">
                <a:latin typeface="Montserrat" panose="00000500000000000000" pitchFamily="2" charset="0"/>
              </a:rPr>
              <a:t>Role-based Permissions</a:t>
            </a:r>
            <a:r>
              <a:rPr lang="en-US" sz="1000">
                <a:latin typeface="Montserrat" panose="00000500000000000000" pitchFamily="2" charset="0"/>
              </a:rPr>
              <a:t>: Assign permissions to roles and users, specifying who can view, edit, create, or delete work items and documents.</a:t>
            </a:r>
          </a:p>
          <a:p>
            <a:endParaRPr lang="en-US" sz="1000">
              <a:latin typeface="Montserrat" panose="00000500000000000000" pitchFamily="2" charset="0"/>
            </a:endParaRPr>
          </a:p>
        </p:txBody>
      </p:sp>
      <p:sp>
        <p:nvSpPr>
          <p:cNvPr id="26" name="Rectangle 31">
            <a:extLst>
              <a:ext uri="{FF2B5EF4-FFF2-40B4-BE49-F238E27FC236}">
                <a16:creationId xmlns:a16="http://schemas.microsoft.com/office/drawing/2014/main" id="{F8DC66A8-9619-DDEC-AC2A-D62F1CC6F5EF}"/>
              </a:ext>
            </a:extLst>
          </p:cNvPr>
          <p:cNvSpPr/>
          <p:nvPr/>
        </p:nvSpPr>
        <p:spPr>
          <a:xfrm>
            <a:off x="1707217" y="3468656"/>
            <a:ext cx="4140000" cy="132343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00" b="1">
                <a:latin typeface="Montserrat" panose="00000500000000000000" pitchFamily="2" charset="0"/>
              </a:rPr>
              <a:t>Document Management</a:t>
            </a:r>
            <a:r>
              <a:rPr lang="en-US" sz="1000">
                <a:latin typeface="Montserrat" panose="00000500000000000000" pitchFamily="2" charset="0"/>
              </a:rPr>
              <a:t>:</a:t>
            </a:r>
            <a:endParaRPr lang="en-US" sz="1000" b="1">
              <a:latin typeface="Montserrat" panose="00000500000000000000" pitchFamily="2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b="1">
                <a:latin typeface="Montserrat" panose="00000500000000000000" pitchFamily="2" charset="0"/>
              </a:rPr>
              <a:t>Live Documents</a:t>
            </a:r>
            <a:r>
              <a:rPr lang="en-US" sz="1000">
                <a:latin typeface="Montserrat" panose="00000500000000000000" pitchFamily="2" charset="0"/>
              </a:rPr>
              <a:t>: Organize and configure live documents to manage content collaboratively with real-time tracking and version control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b="1">
                <a:latin typeface="Montserrat" panose="00000500000000000000" pitchFamily="2" charset="0"/>
              </a:rPr>
              <a:t>Traceability</a:t>
            </a:r>
            <a:r>
              <a:rPr lang="en-US" sz="1000">
                <a:latin typeface="Montserrat" panose="00000500000000000000" pitchFamily="2" charset="0"/>
              </a:rPr>
              <a:t>: Configure traceability views and matrices to track relationships between requirements, test cases, and defects for compliance and auditing purposes.</a:t>
            </a:r>
          </a:p>
          <a:p>
            <a:endParaRPr lang="en-US" sz="1000">
              <a:latin typeface="Montserrat" panose="00000500000000000000" pitchFamily="2" charset="0"/>
            </a:endParaRPr>
          </a:p>
        </p:txBody>
      </p:sp>
      <p:sp>
        <p:nvSpPr>
          <p:cNvPr id="27" name="Rectangle 32">
            <a:extLst>
              <a:ext uri="{FF2B5EF4-FFF2-40B4-BE49-F238E27FC236}">
                <a16:creationId xmlns:a16="http://schemas.microsoft.com/office/drawing/2014/main" id="{BCA1192B-FFBC-62DE-BF8E-F80289D86C90}"/>
              </a:ext>
            </a:extLst>
          </p:cNvPr>
          <p:cNvSpPr/>
          <p:nvPr/>
        </p:nvSpPr>
        <p:spPr>
          <a:xfrm>
            <a:off x="7435314" y="1368442"/>
            <a:ext cx="4140000" cy="147732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00" b="1">
                <a:latin typeface="Montserrat" panose="00000500000000000000" pitchFamily="2" charset="0"/>
              </a:rPr>
              <a:t>Project and Template Setup</a:t>
            </a:r>
            <a:r>
              <a:rPr lang="en-US" sz="1000">
                <a:latin typeface="Montserrat" panose="00000500000000000000" pitchFamily="2" charset="0"/>
              </a:rPr>
              <a:t>: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b="1">
                <a:latin typeface="Montserrat" panose="00000500000000000000" pitchFamily="2" charset="0"/>
              </a:rPr>
              <a:t>Project Templates</a:t>
            </a:r>
            <a:r>
              <a:rPr lang="en-US" sz="1000">
                <a:latin typeface="Montserrat" panose="00000500000000000000" pitchFamily="2" charset="0"/>
              </a:rPr>
              <a:t>: Configure reusable project templates with predefined work item types, workflows, and document structures, streamlining project setup for similar use cases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b="1">
                <a:latin typeface="Montserrat" panose="00000500000000000000" pitchFamily="2" charset="0"/>
              </a:rPr>
              <a:t>Project Roles and Permissions</a:t>
            </a:r>
            <a:r>
              <a:rPr lang="en-US" sz="1000">
                <a:latin typeface="Montserrat" panose="00000500000000000000" pitchFamily="2" charset="0"/>
              </a:rPr>
              <a:t>: Set up user roles within projects, such as project managers, developers, and quality assurance, each with appropriate permissions.</a:t>
            </a:r>
          </a:p>
          <a:p>
            <a:endParaRPr lang="en-US" sz="1000">
              <a:latin typeface="Montserrat" panose="00000500000000000000" pitchFamily="2" charset="0"/>
            </a:endParaRPr>
          </a:p>
        </p:txBody>
      </p:sp>
      <p:sp>
        <p:nvSpPr>
          <p:cNvPr id="28" name="Oval 3">
            <a:extLst>
              <a:ext uri="{FF2B5EF4-FFF2-40B4-BE49-F238E27FC236}">
                <a16:creationId xmlns:a16="http://schemas.microsoft.com/office/drawing/2014/main" id="{063E4E9A-948F-9959-3D49-6A77AB724907}"/>
              </a:ext>
            </a:extLst>
          </p:cNvPr>
          <p:cNvSpPr/>
          <p:nvPr/>
        </p:nvSpPr>
        <p:spPr>
          <a:xfrm>
            <a:off x="6344030" y="1368441"/>
            <a:ext cx="914400" cy="914400"/>
          </a:xfrm>
          <a:prstGeom prst="ellipse">
            <a:avLst/>
          </a:prstGeom>
          <a:solidFill>
            <a:srgbClr val="0E7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5">
            <a:extLst>
              <a:ext uri="{FF2B5EF4-FFF2-40B4-BE49-F238E27FC236}">
                <a16:creationId xmlns:a16="http://schemas.microsoft.com/office/drawing/2014/main" id="{3ADA2986-6A3B-DA63-DCFF-6E94654892C2}"/>
              </a:ext>
            </a:extLst>
          </p:cNvPr>
          <p:cNvSpPr/>
          <p:nvPr/>
        </p:nvSpPr>
        <p:spPr>
          <a:xfrm>
            <a:off x="6344030" y="2845770"/>
            <a:ext cx="914400" cy="914400"/>
          </a:xfrm>
          <a:prstGeom prst="ellipse">
            <a:avLst/>
          </a:prstGeom>
          <a:solidFill>
            <a:srgbClr val="345E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6">
            <a:extLst>
              <a:ext uri="{FF2B5EF4-FFF2-40B4-BE49-F238E27FC236}">
                <a16:creationId xmlns:a16="http://schemas.microsoft.com/office/drawing/2014/main" id="{66C4C0CE-ABD3-C7B7-B509-7C9A59F2130F}"/>
              </a:ext>
            </a:extLst>
          </p:cNvPr>
          <p:cNvSpPr/>
          <p:nvPr/>
        </p:nvSpPr>
        <p:spPr>
          <a:xfrm>
            <a:off x="6344030" y="5236591"/>
            <a:ext cx="914400" cy="914400"/>
          </a:xfrm>
          <a:prstGeom prst="ellipse">
            <a:avLst/>
          </a:prstGeom>
          <a:solidFill>
            <a:srgbClr val="0D73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7">
            <a:extLst>
              <a:ext uri="{FF2B5EF4-FFF2-40B4-BE49-F238E27FC236}">
                <a16:creationId xmlns:a16="http://schemas.microsoft.com/office/drawing/2014/main" id="{EF83CF58-87A4-33B6-83FC-2BFFBED8DD0A}"/>
              </a:ext>
            </a:extLst>
          </p:cNvPr>
          <p:cNvSpPr/>
          <p:nvPr/>
        </p:nvSpPr>
        <p:spPr>
          <a:xfrm>
            <a:off x="6344030" y="4182797"/>
            <a:ext cx="914400" cy="914400"/>
          </a:xfrm>
          <a:prstGeom prst="ellipse">
            <a:avLst/>
          </a:prstGeom>
          <a:solidFill>
            <a:srgbClr val="0638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50">
            <a:extLst>
              <a:ext uri="{FF2B5EF4-FFF2-40B4-BE49-F238E27FC236}">
                <a16:creationId xmlns:a16="http://schemas.microsoft.com/office/drawing/2014/main" id="{FA1945A6-232D-11F5-CB3A-567FFBA80FB5}"/>
              </a:ext>
            </a:extLst>
          </p:cNvPr>
          <p:cNvSpPr/>
          <p:nvPr/>
        </p:nvSpPr>
        <p:spPr>
          <a:xfrm>
            <a:off x="7435314" y="2852564"/>
            <a:ext cx="4140000" cy="132343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00" b="1">
                <a:latin typeface="Montserrat" panose="00000500000000000000" pitchFamily="2" charset="0"/>
              </a:rPr>
              <a:t>Reporting and Dashboards</a:t>
            </a:r>
            <a:r>
              <a:rPr lang="en-US" sz="1000">
                <a:latin typeface="Montserrat" panose="00000500000000000000" pitchFamily="2" charset="0"/>
              </a:rPr>
              <a:t>:</a:t>
            </a:r>
            <a:endParaRPr lang="en-US" sz="1000" b="1">
              <a:latin typeface="Montserrat" panose="00000500000000000000" pitchFamily="2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b="1">
                <a:latin typeface="Montserrat" panose="00000500000000000000" pitchFamily="2" charset="0"/>
              </a:rPr>
              <a:t>Predefined Reports</a:t>
            </a:r>
            <a:r>
              <a:rPr lang="en-US" sz="1000">
                <a:latin typeface="Montserrat" panose="00000500000000000000" pitchFamily="2" charset="0"/>
              </a:rPr>
              <a:t>: Use built-in reports to visualize project data, progress, and KPIs. Reports can be scheduled for automatic generation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b="1">
                <a:latin typeface="Montserrat" panose="00000500000000000000" pitchFamily="2" charset="0"/>
              </a:rPr>
              <a:t>Dashboards</a:t>
            </a:r>
            <a:r>
              <a:rPr lang="en-US" sz="1000">
                <a:latin typeface="Montserrat" panose="00000500000000000000" pitchFamily="2" charset="0"/>
              </a:rPr>
              <a:t>: Configure project or user dashboards to show key metrics and data in real time, including charts, tables, and progress trackers.</a:t>
            </a:r>
          </a:p>
          <a:p>
            <a:endParaRPr lang="en-US" sz="1000">
              <a:latin typeface="Montserrat" panose="00000500000000000000" pitchFamily="2" charset="0"/>
            </a:endParaRPr>
          </a:p>
        </p:txBody>
      </p:sp>
      <p:sp>
        <p:nvSpPr>
          <p:cNvPr id="49" name="Rectangle 51">
            <a:extLst>
              <a:ext uri="{FF2B5EF4-FFF2-40B4-BE49-F238E27FC236}">
                <a16:creationId xmlns:a16="http://schemas.microsoft.com/office/drawing/2014/main" id="{B211D701-81A6-395D-6F17-7F70027DFAF8}"/>
              </a:ext>
            </a:extLst>
          </p:cNvPr>
          <p:cNvSpPr/>
          <p:nvPr/>
        </p:nvSpPr>
        <p:spPr>
          <a:xfrm>
            <a:off x="1707217" y="4855893"/>
            <a:ext cx="4140000" cy="101566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00" b="1">
                <a:latin typeface="Montserrat" panose="00000500000000000000" pitchFamily="2" charset="0"/>
              </a:rPr>
              <a:t>Notifications and Alerts</a:t>
            </a:r>
            <a:r>
              <a:rPr lang="en-US" sz="1000">
                <a:latin typeface="Montserrat" panose="00000500000000000000" pitchFamily="2" charset="0"/>
              </a:rPr>
              <a:t>:</a:t>
            </a:r>
            <a:endParaRPr lang="en-US" sz="1000" b="1">
              <a:latin typeface="Montserrat" panose="00000500000000000000" pitchFamily="2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>
                <a:latin typeface="Montserrat" panose="00000500000000000000" pitchFamily="2" charset="0"/>
              </a:rPr>
              <a:t>Set up email notifications for events such as work item status changes, workflow transitions, and task assignments. Notifications can be configured based on user preferences or roles.</a:t>
            </a:r>
          </a:p>
          <a:p>
            <a:endParaRPr lang="en-US" sz="1000">
              <a:latin typeface="Montserrat" panose="00000500000000000000" pitchFamily="2" charset="0"/>
            </a:endParaRPr>
          </a:p>
        </p:txBody>
      </p:sp>
      <p:sp>
        <p:nvSpPr>
          <p:cNvPr id="50" name="Rectangle 52">
            <a:extLst>
              <a:ext uri="{FF2B5EF4-FFF2-40B4-BE49-F238E27FC236}">
                <a16:creationId xmlns:a16="http://schemas.microsoft.com/office/drawing/2014/main" id="{C52993EF-4EEE-CE9A-C3D6-471F1228B660}"/>
              </a:ext>
            </a:extLst>
          </p:cNvPr>
          <p:cNvSpPr/>
          <p:nvPr/>
        </p:nvSpPr>
        <p:spPr>
          <a:xfrm>
            <a:off x="7435314" y="4182797"/>
            <a:ext cx="4140000" cy="86177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00" b="1">
                <a:latin typeface="Montserrat" panose="00000500000000000000" pitchFamily="2" charset="0"/>
              </a:rPr>
              <a:t>Integration Setup</a:t>
            </a:r>
            <a:r>
              <a:rPr lang="en-US" sz="1000">
                <a:latin typeface="Montserrat" panose="00000500000000000000" pitchFamily="2" charset="0"/>
              </a:rPr>
              <a:t>: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>
                <a:latin typeface="Montserrat" panose="00000500000000000000" pitchFamily="2" charset="0"/>
              </a:rPr>
              <a:t>Configure integrations with third-party tools using built-in connectors or APIs. This includes synchronizing work items, test results, and source code.</a:t>
            </a:r>
          </a:p>
          <a:p>
            <a:endParaRPr lang="en-US" sz="1000">
              <a:latin typeface="Montserrat" panose="00000500000000000000" pitchFamily="2" charset="0"/>
            </a:endParaRPr>
          </a:p>
        </p:txBody>
      </p:sp>
      <p:sp>
        <p:nvSpPr>
          <p:cNvPr id="51" name="Rectangle 53">
            <a:extLst>
              <a:ext uri="{FF2B5EF4-FFF2-40B4-BE49-F238E27FC236}">
                <a16:creationId xmlns:a16="http://schemas.microsoft.com/office/drawing/2014/main" id="{1CAC07F3-E7C4-CD96-C650-2EDD78B3A18A}"/>
              </a:ext>
            </a:extLst>
          </p:cNvPr>
          <p:cNvSpPr/>
          <p:nvPr/>
        </p:nvSpPr>
        <p:spPr>
          <a:xfrm>
            <a:off x="7435314" y="5230954"/>
            <a:ext cx="4140000" cy="86177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00" b="1">
                <a:latin typeface="Montserrat" panose="00000500000000000000" pitchFamily="2" charset="0"/>
              </a:rPr>
              <a:t>User and License Management</a:t>
            </a:r>
            <a:r>
              <a:rPr lang="en-US" sz="1000">
                <a:latin typeface="Montserrat" panose="00000500000000000000" pitchFamily="2" charset="0"/>
              </a:rPr>
              <a:t>: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>
                <a:latin typeface="Montserrat" panose="00000500000000000000" pitchFamily="2" charset="0"/>
              </a:rPr>
              <a:t>Manage users, roles, and licenses from the administration panel, ensuring proper access control and license allocation.</a:t>
            </a:r>
          </a:p>
          <a:p>
            <a:endParaRPr lang="en-US" sz="1000">
              <a:latin typeface="Montserrat" panose="00000500000000000000" pitchFamily="2" charset="0"/>
            </a:endParaRP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B4E5D1C7-AA60-0D29-C26F-C676A2FE1457}"/>
              </a:ext>
            </a:extLst>
          </p:cNvPr>
          <p:cNvGrpSpPr/>
          <p:nvPr/>
        </p:nvGrpSpPr>
        <p:grpSpPr>
          <a:xfrm>
            <a:off x="739604" y="3627028"/>
            <a:ext cx="667054" cy="503347"/>
            <a:chOff x="8916353" y="5053413"/>
            <a:chExt cx="1878091" cy="1417176"/>
          </a:xfrm>
          <a:solidFill>
            <a:schemeClr val="bg1"/>
          </a:solidFill>
        </p:grpSpPr>
        <p:grpSp>
          <p:nvGrpSpPr>
            <p:cNvPr id="59" name="Group 1186">
              <a:extLst>
                <a:ext uri="{FF2B5EF4-FFF2-40B4-BE49-F238E27FC236}">
                  <a16:creationId xmlns:a16="http://schemas.microsoft.com/office/drawing/2014/main" id="{5E26899B-988A-60BB-4C9B-07EF2D30E061}"/>
                </a:ext>
              </a:extLst>
            </p:cNvPr>
            <p:cNvGrpSpPr/>
            <p:nvPr/>
          </p:nvGrpSpPr>
          <p:grpSpPr>
            <a:xfrm>
              <a:off x="9590556" y="5053413"/>
              <a:ext cx="547688" cy="509587"/>
              <a:chOff x="10974388" y="5022850"/>
              <a:chExt cx="547688" cy="509587"/>
            </a:xfrm>
            <a:grpFill/>
          </p:grpSpPr>
          <p:sp>
            <p:nvSpPr>
              <p:cNvPr id="68" name="Freeform 543">
                <a:extLst>
                  <a:ext uri="{FF2B5EF4-FFF2-40B4-BE49-F238E27FC236}">
                    <a16:creationId xmlns:a16="http://schemas.microsoft.com/office/drawing/2014/main" id="{A6BEE9F8-EE8D-E039-432F-5BC86BF2FB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974388" y="5022850"/>
                <a:ext cx="547688" cy="509587"/>
              </a:xfrm>
              <a:custGeom>
                <a:avLst/>
                <a:gdLst>
                  <a:gd name="T0" fmla="*/ 393 w 3455"/>
                  <a:gd name="T1" fmla="*/ 3089 h 3204"/>
                  <a:gd name="T2" fmla="*/ 3333 w 3455"/>
                  <a:gd name="T3" fmla="*/ 1316 h 3204"/>
                  <a:gd name="T4" fmla="*/ 519 w 3455"/>
                  <a:gd name="T5" fmla="*/ 1086 h 3204"/>
                  <a:gd name="T6" fmla="*/ 2941 w 3455"/>
                  <a:gd name="T7" fmla="*/ 1201 h 3204"/>
                  <a:gd name="T8" fmla="*/ 519 w 3455"/>
                  <a:gd name="T9" fmla="*/ 1086 h 3204"/>
                  <a:gd name="T10" fmla="*/ 577 w 3455"/>
                  <a:gd name="T11" fmla="*/ 972 h 3204"/>
                  <a:gd name="T12" fmla="*/ 2883 w 3455"/>
                  <a:gd name="T13" fmla="*/ 915 h 3204"/>
                  <a:gd name="T14" fmla="*/ 634 w 3455"/>
                  <a:gd name="T15" fmla="*/ 744 h 3204"/>
                  <a:gd name="T16" fmla="*/ 2826 w 3455"/>
                  <a:gd name="T17" fmla="*/ 800 h 3204"/>
                  <a:gd name="T18" fmla="*/ 634 w 3455"/>
                  <a:gd name="T19" fmla="*/ 744 h 3204"/>
                  <a:gd name="T20" fmla="*/ 346 w 3455"/>
                  <a:gd name="T21" fmla="*/ 1201 h 3204"/>
                  <a:gd name="T22" fmla="*/ 404 w 3455"/>
                  <a:gd name="T23" fmla="*/ 972 h 3204"/>
                  <a:gd name="T24" fmla="*/ 461 w 3455"/>
                  <a:gd name="T25" fmla="*/ 800 h 3204"/>
                  <a:gd name="T26" fmla="*/ 519 w 3455"/>
                  <a:gd name="T27" fmla="*/ 629 h 3204"/>
                  <a:gd name="T28" fmla="*/ 2941 w 3455"/>
                  <a:gd name="T29" fmla="*/ 800 h 3204"/>
                  <a:gd name="T30" fmla="*/ 2999 w 3455"/>
                  <a:gd name="T31" fmla="*/ 972 h 3204"/>
                  <a:gd name="T32" fmla="*/ 3056 w 3455"/>
                  <a:gd name="T33" fmla="*/ 1201 h 3204"/>
                  <a:gd name="T34" fmla="*/ 3114 w 3455"/>
                  <a:gd name="T35" fmla="*/ 400 h 3204"/>
                  <a:gd name="T36" fmla="*/ 1331 w 3455"/>
                  <a:gd name="T37" fmla="*/ 398 h 3204"/>
                  <a:gd name="T38" fmla="*/ 1293 w 3455"/>
                  <a:gd name="T39" fmla="*/ 381 h 3204"/>
                  <a:gd name="T40" fmla="*/ 1264 w 3455"/>
                  <a:gd name="T41" fmla="*/ 350 h 3204"/>
                  <a:gd name="T42" fmla="*/ 346 w 3455"/>
                  <a:gd name="T43" fmla="*/ 114 h 3204"/>
                  <a:gd name="T44" fmla="*/ 1128 w 3455"/>
                  <a:gd name="T45" fmla="*/ 0 h 3204"/>
                  <a:gd name="T46" fmla="*/ 1169 w 3455"/>
                  <a:gd name="T47" fmla="*/ 8 h 3204"/>
                  <a:gd name="T48" fmla="*/ 1203 w 3455"/>
                  <a:gd name="T49" fmla="*/ 32 h 3204"/>
                  <a:gd name="T50" fmla="*/ 1359 w 3455"/>
                  <a:gd name="T51" fmla="*/ 285 h 3204"/>
                  <a:gd name="T52" fmla="*/ 3151 w 3455"/>
                  <a:gd name="T53" fmla="*/ 288 h 3204"/>
                  <a:gd name="T54" fmla="*/ 3192 w 3455"/>
                  <a:gd name="T55" fmla="*/ 308 h 3204"/>
                  <a:gd name="T56" fmla="*/ 3219 w 3455"/>
                  <a:gd name="T57" fmla="*/ 342 h 3204"/>
                  <a:gd name="T58" fmla="*/ 3229 w 3455"/>
                  <a:gd name="T59" fmla="*/ 387 h 3204"/>
                  <a:gd name="T60" fmla="*/ 3381 w 3455"/>
                  <a:gd name="T61" fmla="*/ 1201 h 3204"/>
                  <a:gd name="T62" fmla="*/ 3413 w 3455"/>
                  <a:gd name="T63" fmla="*/ 1208 h 3204"/>
                  <a:gd name="T64" fmla="*/ 3437 w 3455"/>
                  <a:gd name="T65" fmla="*/ 1226 h 3204"/>
                  <a:gd name="T66" fmla="*/ 3452 w 3455"/>
                  <a:gd name="T67" fmla="*/ 1253 h 3204"/>
                  <a:gd name="T68" fmla="*/ 3454 w 3455"/>
                  <a:gd name="T69" fmla="*/ 1285 h 3204"/>
                  <a:gd name="T70" fmla="*/ 3165 w 3455"/>
                  <a:gd name="T71" fmla="*/ 3158 h 3204"/>
                  <a:gd name="T72" fmla="*/ 3145 w 3455"/>
                  <a:gd name="T73" fmla="*/ 3187 h 3204"/>
                  <a:gd name="T74" fmla="*/ 3116 w 3455"/>
                  <a:gd name="T75" fmla="*/ 3202 h 3204"/>
                  <a:gd name="T76" fmla="*/ 356 w 3455"/>
                  <a:gd name="T77" fmla="*/ 3204 h 3204"/>
                  <a:gd name="T78" fmla="*/ 318 w 3455"/>
                  <a:gd name="T79" fmla="*/ 3193 h 3204"/>
                  <a:gd name="T80" fmla="*/ 290 w 3455"/>
                  <a:gd name="T81" fmla="*/ 3163 h 3204"/>
                  <a:gd name="T82" fmla="*/ 1 w 3455"/>
                  <a:gd name="T83" fmla="*/ 1285 h 3204"/>
                  <a:gd name="T84" fmla="*/ 3 w 3455"/>
                  <a:gd name="T85" fmla="*/ 1253 h 3204"/>
                  <a:gd name="T86" fmla="*/ 18 w 3455"/>
                  <a:gd name="T87" fmla="*/ 1226 h 3204"/>
                  <a:gd name="T88" fmla="*/ 43 w 3455"/>
                  <a:gd name="T89" fmla="*/ 1208 h 3204"/>
                  <a:gd name="T90" fmla="*/ 73 w 3455"/>
                  <a:gd name="T91" fmla="*/ 1201 h 3204"/>
                  <a:gd name="T92" fmla="*/ 231 w 3455"/>
                  <a:gd name="T93" fmla="*/ 100 h 3204"/>
                  <a:gd name="T94" fmla="*/ 241 w 3455"/>
                  <a:gd name="T95" fmla="*/ 56 h 3204"/>
                  <a:gd name="T96" fmla="*/ 268 w 3455"/>
                  <a:gd name="T97" fmla="*/ 21 h 3204"/>
                  <a:gd name="T98" fmla="*/ 309 w 3455"/>
                  <a:gd name="T99" fmla="*/ 2 h 3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455" h="3204">
                    <a:moveTo>
                      <a:pt x="123" y="1316"/>
                    </a:moveTo>
                    <a:lnTo>
                      <a:pt x="393" y="3089"/>
                    </a:lnTo>
                    <a:lnTo>
                      <a:pt x="3062" y="3089"/>
                    </a:lnTo>
                    <a:lnTo>
                      <a:pt x="3333" y="1316"/>
                    </a:lnTo>
                    <a:lnTo>
                      <a:pt x="123" y="1316"/>
                    </a:lnTo>
                    <a:close/>
                    <a:moveTo>
                      <a:pt x="519" y="1086"/>
                    </a:moveTo>
                    <a:lnTo>
                      <a:pt x="519" y="1201"/>
                    </a:lnTo>
                    <a:lnTo>
                      <a:pt x="2941" y="1201"/>
                    </a:lnTo>
                    <a:lnTo>
                      <a:pt x="2941" y="1086"/>
                    </a:lnTo>
                    <a:lnTo>
                      <a:pt x="519" y="1086"/>
                    </a:lnTo>
                    <a:close/>
                    <a:moveTo>
                      <a:pt x="577" y="915"/>
                    </a:moveTo>
                    <a:lnTo>
                      <a:pt x="577" y="972"/>
                    </a:lnTo>
                    <a:lnTo>
                      <a:pt x="2883" y="972"/>
                    </a:lnTo>
                    <a:lnTo>
                      <a:pt x="2883" y="915"/>
                    </a:lnTo>
                    <a:lnTo>
                      <a:pt x="577" y="915"/>
                    </a:lnTo>
                    <a:close/>
                    <a:moveTo>
                      <a:pt x="634" y="744"/>
                    </a:moveTo>
                    <a:lnTo>
                      <a:pt x="634" y="800"/>
                    </a:lnTo>
                    <a:lnTo>
                      <a:pt x="2826" y="800"/>
                    </a:lnTo>
                    <a:lnTo>
                      <a:pt x="2826" y="744"/>
                    </a:lnTo>
                    <a:lnTo>
                      <a:pt x="634" y="744"/>
                    </a:lnTo>
                    <a:close/>
                    <a:moveTo>
                      <a:pt x="346" y="114"/>
                    </a:moveTo>
                    <a:lnTo>
                      <a:pt x="346" y="1201"/>
                    </a:lnTo>
                    <a:lnTo>
                      <a:pt x="404" y="1201"/>
                    </a:lnTo>
                    <a:lnTo>
                      <a:pt x="404" y="972"/>
                    </a:lnTo>
                    <a:lnTo>
                      <a:pt x="461" y="972"/>
                    </a:lnTo>
                    <a:lnTo>
                      <a:pt x="461" y="800"/>
                    </a:lnTo>
                    <a:lnTo>
                      <a:pt x="519" y="800"/>
                    </a:lnTo>
                    <a:lnTo>
                      <a:pt x="519" y="629"/>
                    </a:lnTo>
                    <a:lnTo>
                      <a:pt x="2941" y="629"/>
                    </a:lnTo>
                    <a:lnTo>
                      <a:pt x="2941" y="800"/>
                    </a:lnTo>
                    <a:lnTo>
                      <a:pt x="2999" y="800"/>
                    </a:lnTo>
                    <a:lnTo>
                      <a:pt x="2999" y="972"/>
                    </a:lnTo>
                    <a:lnTo>
                      <a:pt x="3056" y="972"/>
                    </a:lnTo>
                    <a:lnTo>
                      <a:pt x="3056" y="1201"/>
                    </a:lnTo>
                    <a:lnTo>
                      <a:pt x="3114" y="1201"/>
                    </a:lnTo>
                    <a:lnTo>
                      <a:pt x="3114" y="400"/>
                    </a:lnTo>
                    <a:lnTo>
                      <a:pt x="1351" y="400"/>
                    </a:lnTo>
                    <a:lnTo>
                      <a:pt x="1331" y="398"/>
                    </a:lnTo>
                    <a:lnTo>
                      <a:pt x="1311" y="391"/>
                    </a:lnTo>
                    <a:lnTo>
                      <a:pt x="1293" y="381"/>
                    </a:lnTo>
                    <a:lnTo>
                      <a:pt x="1277" y="367"/>
                    </a:lnTo>
                    <a:lnTo>
                      <a:pt x="1264" y="350"/>
                    </a:lnTo>
                    <a:lnTo>
                      <a:pt x="1121" y="114"/>
                    </a:lnTo>
                    <a:lnTo>
                      <a:pt x="346" y="114"/>
                    </a:lnTo>
                    <a:close/>
                    <a:moveTo>
                      <a:pt x="332" y="0"/>
                    </a:moveTo>
                    <a:lnTo>
                      <a:pt x="1128" y="0"/>
                    </a:lnTo>
                    <a:lnTo>
                      <a:pt x="1149" y="2"/>
                    </a:lnTo>
                    <a:lnTo>
                      <a:pt x="1169" y="8"/>
                    </a:lnTo>
                    <a:lnTo>
                      <a:pt x="1187" y="17"/>
                    </a:lnTo>
                    <a:lnTo>
                      <a:pt x="1203" y="32"/>
                    </a:lnTo>
                    <a:lnTo>
                      <a:pt x="1215" y="48"/>
                    </a:lnTo>
                    <a:lnTo>
                      <a:pt x="1359" y="285"/>
                    </a:lnTo>
                    <a:lnTo>
                      <a:pt x="3128" y="285"/>
                    </a:lnTo>
                    <a:lnTo>
                      <a:pt x="3151" y="288"/>
                    </a:lnTo>
                    <a:lnTo>
                      <a:pt x="3172" y="295"/>
                    </a:lnTo>
                    <a:lnTo>
                      <a:pt x="3192" y="308"/>
                    </a:lnTo>
                    <a:lnTo>
                      <a:pt x="3207" y="323"/>
                    </a:lnTo>
                    <a:lnTo>
                      <a:pt x="3219" y="342"/>
                    </a:lnTo>
                    <a:lnTo>
                      <a:pt x="3226" y="363"/>
                    </a:lnTo>
                    <a:lnTo>
                      <a:pt x="3229" y="387"/>
                    </a:lnTo>
                    <a:lnTo>
                      <a:pt x="3229" y="1201"/>
                    </a:lnTo>
                    <a:lnTo>
                      <a:pt x="3381" y="1201"/>
                    </a:lnTo>
                    <a:lnTo>
                      <a:pt x="3397" y="1202"/>
                    </a:lnTo>
                    <a:lnTo>
                      <a:pt x="3413" y="1208"/>
                    </a:lnTo>
                    <a:lnTo>
                      <a:pt x="3425" y="1216"/>
                    </a:lnTo>
                    <a:lnTo>
                      <a:pt x="3437" y="1226"/>
                    </a:lnTo>
                    <a:lnTo>
                      <a:pt x="3446" y="1239"/>
                    </a:lnTo>
                    <a:lnTo>
                      <a:pt x="3452" y="1253"/>
                    </a:lnTo>
                    <a:lnTo>
                      <a:pt x="3455" y="1269"/>
                    </a:lnTo>
                    <a:lnTo>
                      <a:pt x="3454" y="1285"/>
                    </a:lnTo>
                    <a:lnTo>
                      <a:pt x="3171" y="3142"/>
                    </a:lnTo>
                    <a:lnTo>
                      <a:pt x="3165" y="3158"/>
                    </a:lnTo>
                    <a:lnTo>
                      <a:pt x="3157" y="3174"/>
                    </a:lnTo>
                    <a:lnTo>
                      <a:pt x="3145" y="3187"/>
                    </a:lnTo>
                    <a:lnTo>
                      <a:pt x="3132" y="3196"/>
                    </a:lnTo>
                    <a:lnTo>
                      <a:pt x="3116" y="3202"/>
                    </a:lnTo>
                    <a:lnTo>
                      <a:pt x="3098" y="3204"/>
                    </a:lnTo>
                    <a:lnTo>
                      <a:pt x="356" y="3204"/>
                    </a:lnTo>
                    <a:lnTo>
                      <a:pt x="336" y="3201"/>
                    </a:lnTo>
                    <a:lnTo>
                      <a:pt x="318" y="3193"/>
                    </a:lnTo>
                    <a:lnTo>
                      <a:pt x="302" y="3179"/>
                    </a:lnTo>
                    <a:lnTo>
                      <a:pt x="290" y="3163"/>
                    </a:lnTo>
                    <a:lnTo>
                      <a:pt x="284" y="3142"/>
                    </a:lnTo>
                    <a:lnTo>
                      <a:pt x="1" y="1285"/>
                    </a:lnTo>
                    <a:lnTo>
                      <a:pt x="0" y="1269"/>
                    </a:lnTo>
                    <a:lnTo>
                      <a:pt x="3" y="1253"/>
                    </a:lnTo>
                    <a:lnTo>
                      <a:pt x="8" y="1239"/>
                    </a:lnTo>
                    <a:lnTo>
                      <a:pt x="18" y="1226"/>
                    </a:lnTo>
                    <a:lnTo>
                      <a:pt x="29" y="1215"/>
                    </a:lnTo>
                    <a:lnTo>
                      <a:pt x="43" y="1208"/>
                    </a:lnTo>
                    <a:lnTo>
                      <a:pt x="58" y="1202"/>
                    </a:lnTo>
                    <a:lnTo>
                      <a:pt x="73" y="1201"/>
                    </a:lnTo>
                    <a:lnTo>
                      <a:pt x="231" y="1201"/>
                    </a:lnTo>
                    <a:lnTo>
                      <a:pt x="231" y="100"/>
                    </a:lnTo>
                    <a:lnTo>
                      <a:pt x="234" y="78"/>
                    </a:lnTo>
                    <a:lnTo>
                      <a:pt x="241" y="56"/>
                    </a:lnTo>
                    <a:lnTo>
                      <a:pt x="253" y="37"/>
                    </a:lnTo>
                    <a:lnTo>
                      <a:pt x="268" y="21"/>
                    </a:lnTo>
                    <a:lnTo>
                      <a:pt x="288" y="9"/>
                    </a:lnTo>
                    <a:lnTo>
                      <a:pt x="309" y="2"/>
                    </a:lnTo>
                    <a:lnTo>
                      <a:pt x="33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69" name="Freeform 544">
                <a:extLst>
                  <a:ext uri="{FF2B5EF4-FFF2-40B4-BE49-F238E27FC236}">
                    <a16:creationId xmlns:a16="http://schemas.microsoft.com/office/drawing/2014/main" id="{D59277CF-709D-9FAE-93F1-9F5C44E456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220451" y="5341938"/>
                <a:ext cx="192088" cy="127000"/>
              </a:xfrm>
              <a:custGeom>
                <a:avLst/>
                <a:gdLst>
                  <a:gd name="T0" fmla="*/ 115 w 1210"/>
                  <a:gd name="T1" fmla="*/ 116 h 802"/>
                  <a:gd name="T2" fmla="*/ 115 w 1210"/>
                  <a:gd name="T3" fmla="*/ 688 h 802"/>
                  <a:gd name="T4" fmla="*/ 1096 w 1210"/>
                  <a:gd name="T5" fmla="*/ 688 h 802"/>
                  <a:gd name="T6" fmla="*/ 1096 w 1210"/>
                  <a:gd name="T7" fmla="*/ 116 h 802"/>
                  <a:gd name="T8" fmla="*/ 115 w 1210"/>
                  <a:gd name="T9" fmla="*/ 116 h 802"/>
                  <a:gd name="T10" fmla="*/ 0 w 1210"/>
                  <a:gd name="T11" fmla="*/ 0 h 802"/>
                  <a:gd name="T12" fmla="*/ 1210 w 1210"/>
                  <a:gd name="T13" fmla="*/ 0 h 802"/>
                  <a:gd name="T14" fmla="*/ 1210 w 1210"/>
                  <a:gd name="T15" fmla="*/ 802 h 802"/>
                  <a:gd name="T16" fmla="*/ 0 w 1210"/>
                  <a:gd name="T17" fmla="*/ 802 h 802"/>
                  <a:gd name="T18" fmla="*/ 0 w 1210"/>
                  <a:gd name="T19" fmla="*/ 0 h 8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10" h="802">
                    <a:moveTo>
                      <a:pt x="115" y="116"/>
                    </a:moveTo>
                    <a:lnTo>
                      <a:pt x="115" y="688"/>
                    </a:lnTo>
                    <a:lnTo>
                      <a:pt x="1096" y="688"/>
                    </a:lnTo>
                    <a:lnTo>
                      <a:pt x="1096" y="116"/>
                    </a:lnTo>
                    <a:lnTo>
                      <a:pt x="115" y="116"/>
                    </a:lnTo>
                    <a:close/>
                    <a:moveTo>
                      <a:pt x="0" y="0"/>
                    </a:moveTo>
                    <a:lnTo>
                      <a:pt x="1210" y="0"/>
                    </a:lnTo>
                    <a:lnTo>
                      <a:pt x="1210" y="802"/>
                    </a:lnTo>
                    <a:lnTo>
                      <a:pt x="0" y="80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70" name="Freeform 545">
                <a:extLst>
                  <a:ext uri="{FF2B5EF4-FFF2-40B4-BE49-F238E27FC236}">
                    <a16:creationId xmlns:a16="http://schemas.microsoft.com/office/drawing/2014/main" id="{3D91CAD9-40B3-DFFA-2790-2E36596956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58551" y="5378450"/>
                <a:ext cx="53975" cy="17462"/>
              </a:xfrm>
              <a:custGeom>
                <a:avLst/>
                <a:gdLst>
                  <a:gd name="T0" fmla="*/ 57 w 346"/>
                  <a:gd name="T1" fmla="*/ 0 h 116"/>
                  <a:gd name="T2" fmla="*/ 288 w 346"/>
                  <a:gd name="T3" fmla="*/ 0 h 116"/>
                  <a:gd name="T4" fmla="*/ 306 w 346"/>
                  <a:gd name="T5" fmla="*/ 3 h 116"/>
                  <a:gd name="T6" fmla="*/ 321 w 346"/>
                  <a:gd name="T7" fmla="*/ 12 h 116"/>
                  <a:gd name="T8" fmla="*/ 334 w 346"/>
                  <a:gd name="T9" fmla="*/ 24 h 116"/>
                  <a:gd name="T10" fmla="*/ 342 w 346"/>
                  <a:gd name="T11" fmla="*/ 40 h 116"/>
                  <a:gd name="T12" fmla="*/ 346 w 346"/>
                  <a:gd name="T13" fmla="*/ 59 h 116"/>
                  <a:gd name="T14" fmla="*/ 342 w 346"/>
                  <a:gd name="T15" fmla="*/ 76 h 116"/>
                  <a:gd name="T16" fmla="*/ 334 w 346"/>
                  <a:gd name="T17" fmla="*/ 92 h 116"/>
                  <a:gd name="T18" fmla="*/ 321 w 346"/>
                  <a:gd name="T19" fmla="*/ 104 h 116"/>
                  <a:gd name="T20" fmla="*/ 306 w 346"/>
                  <a:gd name="T21" fmla="*/ 113 h 116"/>
                  <a:gd name="T22" fmla="*/ 288 w 346"/>
                  <a:gd name="T23" fmla="*/ 116 h 116"/>
                  <a:gd name="T24" fmla="*/ 57 w 346"/>
                  <a:gd name="T25" fmla="*/ 116 h 116"/>
                  <a:gd name="T26" fmla="*/ 38 w 346"/>
                  <a:gd name="T27" fmla="*/ 113 h 116"/>
                  <a:gd name="T28" fmla="*/ 23 w 346"/>
                  <a:gd name="T29" fmla="*/ 104 h 116"/>
                  <a:gd name="T30" fmla="*/ 10 w 346"/>
                  <a:gd name="T31" fmla="*/ 92 h 116"/>
                  <a:gd name="T32" fmla="*/ 2 w 346"/>
                  <a:gd name="T33" fmla="*/ 76 h 116"/>
                  <a:gd name="T34" fmla="*/ 0 w 346"/>
                  <a:gd name="T35" fmla="*/ 59 h 116"/>
                  <a:gd name="T36" fmla="*/ 2 w 346"/>
                  <a:gd name="T37" fmla="*/ 40 h 116"/>
                  <a:gd name="T38" fmla="*/ 10 w 346"/>
                  <a:gd name="T39" fmla="*/ 24 h 116"/>
                  <a:gd name="T40" fmla="*/ 23 w 346"/>
                  <a:gd name="T41" fmla="*/ 12 h 116"/>
                  <a:gd name="T42" fmla="*/ 38 w 346"/>
                  <a:gd name="T43" fmla="*/ 3 h 116"/>
                  <a:gd name="T44" fmla="*/ 57 w 346"/>
                  <a:gd name="T45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46" h="116">
                    <a:moveTo>
                      <a:pt x="57" y="0"/>
                    </a:moveTo>
                    <a:lnTo>
                      <a:pt x="288" y="0"/>
                    </a:lnTo>
                    <a:lnTo>
                      <a:pt x="306" y="3"/>
                    </a:lnTo>
                    <a:lnTo>
                      <a:pt x="321" y="12"/>
                    </a:lnTo>
                    <a:lnTo>
                      <a:pt x="334" y="24"/>
                    </a:lnTo>
                    <a:lnTo>
                      <a:pt x="342" y="40"/>
                    </a:lnTo>
                    <a:lnTo>
                      <a:pt x="346" y="59"/>
                    </a:lnTo>
                    <a:lnTo>
                      <a:pt x="342" y="76"/>
                    </a:lnTo>
                    <a:lnTo>
                      <a:pt x="334" y="92"/>
                    </a:lnTo>
                    <a:lnTo>
                      <a:pt x="321" y="104"/>
                    </a:lnTo>
                    <a:lnTo>
                      <a:pt x="306" y="113"/>
                    </a:lnTo>
                    <a:lnTo>
                      <a:pt x="288" y="116"/>
                    </a:lnTo>
                    <a:lnTo>
                      <a:pt x="57" y="116"/>
                    </a:lnTo>
                    <a:lnTo>
                      <a:pt x="38" y="113"/>
                    </a:lnTo>
                    <a:lnTo>
                      <a:pt x="23" y="104"/>
                    </a:lnTo>
                    <a:lnTo>
                      <a:pt x="10" y="92"/>
                    </a:lnTo>
                    <a:lnTo>
                      <a:pt x="2" y="76"/>
                    </a:lnTo>
                    <a:lnTo>
                      <a:pt x="0" y="59"/>
                    </a:lnTo>
                    <a:lnTo>
                      <a:pt x="2" y="40"/>
                    </a:lnTo>
                    <a:lnTo>
                      <a:pt x="10" y="24"/>
                    </a:lnTo>
                    <a:lnTo>
                      <a:pt x="23" y="12"/>
                    </a:lnTo>
                    <a:lnTo>
                      <a:pt x="38" y="3"/>
                    </a:lnTo>
                    <a:lnTo>
                      <a:pt x="5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71" name="Freeform 546">
                <a:extLst>
                  <a:ext uri="{FF2B5EF4-FFF2-40B4-BE49-F238E27FC236}">
                    <a16:creationId xmlns:a16="http://schemas.microsoft.com/office/drawing/2014/main" id="{7B76A36A-1084-8ADA-766A-1583750A63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31576" y="5378450"/>
                <a:ext cx="26988" cy="17462"/>
              </a:xfrm>
              <a:custGeom>
                <a:avLst/>
                <a:gdLst>
                  <a:gd name="T0" fmla="*/ 58 w 173"/>
                  <a:gd name="T1" fmla="*/ 0 h 116"/>
                  <a:gd name="T2" fmla="*/ 115 w 173"/>
                  <a:gd name="T3" fmla="*/ 0 h 116"/>
                  <a:gd name="T4" fmla="*/ 133 w 173"/>
                  <a:gd name="T5" fmla="*/ 3 h 116"/>
                  <a:gd name="T6" fmla="*/ 149 w 173"/>
                  <a:gd name="T7" fmla="*/ 12 h 116"/>
                  <a:gd name="T8" fmla="*/ 161 w 173"/>
                  <a:gd name="T9" fmla="*/ 24 h 116"/>
                  <a:gd name="T10" fmla="*/ 170 w 173"/>
                  <a:gd name="T11" fmla="*/ 40 h 116"/>
                  <a:gd name="T12" fmla="*/ 173 w 173"/>
                  <a:gd name="T13" fmla="*/ 59 h 116"/>
                  <a:gd name="T14" fmla="*/ 170 w 173"/>
                  <a:gd name="T15" fmla="*/ 76 h 116"/>
                  <a:gd name="T16" fmla="*/ 161 w 173"/>
                  <a:gd name="T17" fmla="*/ 92 h 116"/>
                  <a:gd name="T18" fmla="*/ 149 w 173"/>
                  <a:gd name="T19" fmla="*/ 104 h 116"/>
                  <a:gd name="T20" fmla="*/ 133 w 173"/>
                  <a:gd name="T21" fmla="*/ 113 h 116"/>
                  <a:gd name="T22" fmla="*/ 115 w 173"/>
                  <a:gd name="T23" fmla="*/ 116 h 116"/>
                  <a:gd name="T24" fmla="*/ 58 w 173"/>
                  <a:gd name="T25" fmla="*/ 116 h 116"/>
                  <a:gd name="T26" fmla="*/ 39 w 173"/>
                  <a:gd name="T27" fmla="*/ 113 h 116"/>
                  <a:gd name="T28" fmla="*/ 23 w 173"/>
                  <a:gd name="T29" fmla="*/ 104 h 116"/>
                  <a:gd name="T30" fmla="*/ 10 w 173"/>
                  <a:gd name="T31" fmla="*/ 92 h 116"/>
                  <a:gd name="T32" fmla="*/ 2 w 173"/>
                  <a:gd name="T33" fmla="*/ 76 h 116"/>
                  <a:gd name="T34" fmla="*/ 0 w 173"/>
                  <a:gd name="T35" fmla="*/ 59 h 116"/>
                  <a:gd name="T36" fmla="*/ 2 w 173"/>
                  <a:gd name="T37" fmla="*/ 40 h 116"/>
                  <a:gd name="T38" fmla="*/ 10 w 173"/>
                  <a:gd name="T39" fmla="*/ 24 h 116"/>
                  <a:gd name="T40" fmla="*/ 23 w 173"/>
                  <a:gd name="T41" fmla="*/ 12 h 116"/>
                  <a:gd name="T42" fmla="*/ 39 w 173"/>
                  <a:gd name="T43" fmla="*/ 3 h 116"/>
                  <a:gd name="T44" fmla="*/ 58 w 173"/>
                  <a:gd name="T45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73" h="116">
                    <a:moveTo>
                      <a:pt x="58" y="0"/>
                    </a:moveTo>
                    <a:lnTo>
                      <a:pt x="115" y="0"/>
                    </a:lnTo>
                    <a:lnTo>
                      <a:pt x="133" y="3"/>
                    </a:lnTo>
                    <a:lnTo>
                      <a:pt x="149" y="12"/>
                    </a:lnTo>
                    <a:lnTo>
                      <a:pt x="161" y="24"/>
                    </a:lnTo>
                    <a:lnTo>
                      <a:pt x="170" y="40"/>
                    </a:lnTo>
                    <a:lnTo>
                      <a:pt x="173" y="59"/>
                    </a:lnTo>
                    <a:lnTo>
                      <a:pt x="170" y="76"/>
                    </a:lnTo>
                    <a:lnTo>
                      <a:pt x="161" y="92"/>
                    </a:lnTo>
                    <a:lnTo>
                      <a:pt x="149" y="104"/>
                    </a:lnTo>
                    <a:lnTo>
                      <a:pt x="133" y="113"/>
                    </a:lnTo>
                    <a:lnTo>
                      <a:pt x="115" y="116"/>
                    </a:lnTo>
                    <a:lnTo>
                      <a:pt x="58" y="116"/>
                    </a:lnTo>
                    <a:lnTo>
                      <a:pt x="39" y="113"/>
                    </a:lnTo>
                    <a:lnTo>
                      <a:pt x="23" y="104"/>
                    </a:lnTo>
                    <a:lnTo>
                      <a:pt x="10" y="92"/>
                    </a:lnTo>
                    <a:lnTo>
                      <a:pt x="2" y="76"/>
                    </a:lnTo>
                    <a:lnTo>
                      <a:pt x="0" y="59"/>
                    </a:lnTo>
                    <a:lnTo>
                      <a:pt x="2" y="40"/>
                    </a:lnTo>
                    <a:lnTo>
                      <a:pt x="10" y="24"/>
                    </a:lnTo>
                    <a:lnTo>
                      <a:pt x="23" y="12"/>
                    </a:lnTo>
                    <a:lnTo>
                      <a:pt x="39" y="3"/>
                    </a:lnTo>
                    <a:lnTo>
                      <a:pt x="5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72" name="Freeform 547">
                <a:extLst>
                  <a:ext uri="{FF2B5EF4-FFF2-40B4-BE49-F238E27FC236}">
                    <a16:creationId xmlns:a16="http://schemas.microsoft.com/office/drawing/2014/main" id="{E9CA112D-47AF-7E6A-DB1D-838352E3D0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58551" y="5414963"/>
                <a:ext cx="119063" cy="17462"/>
              </a:xfrm>
              <a:custGeom>
                <a:avLst/>
                <a:gdLst>
                  <a:gd name="T0" fmla="*/ 57 w 749"/>
                  <a:gd name="T1" fmla="*/ 0 h 115"/>
                  <a:gd name="T2" fmla="*/ 691 w 749"/>
                  <a:gd name="T3" fmla="*/ 0 h 115"/>
                  <a:gd name="T4" fmla="*/ 709 w 749"/>
                  <a:gd name="T5" fmla="*/ 2 h 115"/>
                  <a:gd name="T6" fmla="*/ 725 w 749"/>
                  <a:gd name="T7" fmla="*/ 11 h 115"/>
                  <a:gd name="T8" fmla="*/ 738 w 749"/>
                  <a:gd name="T9" fmla="*/ 23 h 115"/>
                  <a:gd name="T10" fmla="*/ 746 w 749"/>
                  <a:gd name="T11" fmla="*/ 39 h 115"/>
                  <a:gd name="T12" fmla="*/ 749 w 749"/>
                  <a:gd name="T13" fmla="*/ 56 h 115"/>
                  <a:gd name="T14" fmla="*/ 746 w 749"/>
                  <a:gd name="T15" fmla="*/ 75 h 115"/>
                  <a:gd name="T16" fmla="*/ 738 w 749"/>
                  <a:gd name="T17" fmla="*/ 91 h 115"/>
                  <a:gd name="T18" fmla="*/ 725 w 749"/>
                  <a:gd name="T19" fmla="*/ 103 h 115"/>
                  <a:gd name="T20" fmla="*/ 709 w 749"/>
                  <a:gd name="T21" fmla="*/ 112 h 115"/>
                  <a:gd name="T22" fmla="*/ 691 w 749"/>
                  <a:gd name="T23" fmla="*/ 115 h 115"/>
                  <a:gd name="T24" fmla="*/ 57 w 749"/>
                  <a:gd name="T25" fmla="*/ 115 h 115"/>
                  <a:gd name="T26" fmla="*/ 38 w 749"/>
                  <a:gd name="T27" fmla="*/ 112 h 115"/>
                  <a:gd name="T28" fmla="*/ 23 w 749"/>
                  <a:gd name="T29" fmla="*/ 103 h 115"/>
                  <a:gd name="T30" fmla="*/ 10 w 749"/>
                  <a:gd name="T31" fmla="*/ 91 h 115"/>
                  <a:gd name="T32" fmla="*/ 2 w 749"/>
                  <a:gd name="T33" fmla="*/ 75 h 115"/>
                  <a:gd name="T34" fmla="*/ 0 w 749"/>
                  <a:gd name="T35" fmla="*/ 56 h 115"/>
                  <a:gd name="T36" fmla="*/ 2 w 749"/>
                  <a:gd name="T37" fmla="*/ 39 h 115"/>
                  <a:gd name="T38" fmla="*/ 10 w 749"/>
                  <a:gd name="T39" fmla="*/ 23 h 115"/>
                  <a:gd name="T40" fmla="*/ 23 w 749"/>
                  <a:gd name="T41" fmla="*/ 11 h 115"/>
                  <a:gd name="T42" fmla="*/ 38 w 749"/>
                  <a:gd name="T43" fmla="*/ 2 h 115"/>
                  <a:gd name="T44" fmla="*/ 57 w 749"/>
                  <a:gd name="T4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49" h="115">
                    <a:moveTo>
                      <a:pt x="57" y="0"/>
                    </a:moveTo>
                    <a:lnTo>
                      <a:pt x="691" y="0"/>
                    </a:lnTo>
                    <a:lnTo>
                      <a:pt x="709" y="2"/>
                    </a:lnTo>
                    <a:lnTo>
                      <a:pt x="725" y="11"/>
                    </a:lnTo>
                    <a:lnTo>
                      <a:pt x="738" y="23"/>
                    </a:lnTo>
                    <a:lnTo>
                      <a:pt x="746" y="39"/>
                    </a:lnTo>
                    <a:lnTo>
                      <a:pt x="749" y="56"/>
                    </a:lnTo>
                    <a:lnTo>
                      <a:pt x="746" y="75"/>
                    </a:lnTo>
                    <a:lnTo>
                      <a:pt x="738" y="91"/>
                    </a:lnTo>
                    <a:lnTo>
                      <a:pt x="725" y="103"/>
                    </a:lnTo>
                    <a:lnTo>
                      <a:pt x="709" y="112"/>
                    </a:lnTo>
                    <a:lnTo>
                      <a:pt x="691" y="115"/>
                    </a:lnTo>
                    <a:lnTo>
                      <a:pt x="57" y="115"/>
                    </a:lnTo>
                    <a:lnTo>
                      <a:pt x="38" y="112"/>
                    </a:lnTo>
                    <a:lnTo>
                      <a:pt x="23" y="103"/>
                    </a:lnTo>
                    <a:lnTo>
                      <a:pt x="10" y="91"/>
                    </a:lnTo>
                    <a:lnTo>
                      <a:pt x="2" y="75"/>
                    </a:lnTo>
                    <a:lnTo>
                      <a:pt x="0" y="56"/>
                    </a:lnTo>
                    <a:lnTo>
                      <a:pt x="2" y="39"/>
                    </a:lnTo>
                    <a:lnTo>
                      <a:pt x="10" y="23"/>
                    </a:lnTo>
                    <a:lnTo>
                      <a:pt x="23" y="11"/>
                    </a:lnTo>
                    <a:lnTo>
                      <a:pt x="38" y="2"/>
                    </a:lnTo>
                    <a:lnTo>
                      <a:pt x="5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</p:grpSp>
        <p:sp>
          <p:nvSpPr>
            <p:cNvPr id="60" name="Freeform 552">
              <a:extLst>
                <a:ext uri="{FF2B5EF4-FFF2-40B4-BE49-F238E27FC236}">
                  <a16:creationId xmlns:a16="http://schemas.microsoft.com/office/drawing/2014/main" id="{B8A28977-9436-EA93-3149-66E880320F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16353" y="6019739"/>
              <a:ext cx="547688" cy="450850"/>
            </a:xfrm>
            <a:custGeom>
              <a:avLst/>
              <a:gdLst>
                <a:gd name="T0" fmla="*/ 712 w 3450"/>
                <a:gd name="T1" fmla="*/ 1050 h 2840"/>
                <a:gd name="T2" fmla="*/ 699 w 3450"/>
                <a:gd name="T3" fmla="*/ 1072 h 2840"/>
                <a:gd name="T4" fmla="*/ 115 w 3450"/>
                <a:gd name="T5" fmla="*/ 2697 h 2840"/>
                <a:gd name="T6" fmla="*/ 125 w 3450"/>
                <a:gd name="T7" fmla="*/ 2715 h 2840"/>
                <a:gd name="T8" fmla="*/ 147 w 3450"/>
                <a:gd name="T9" fmla="*/ 2724 h 2840"/>
                <a:gd name="T10" fmla="*/ 2741 w 3450"/>
                <a:gd name="T11" fmla="*/ 2717 h 2840"/>
                <a:gd name="T12" fmla="*/ 3335 w 3450"/>
                <a:gd name="T13" fmla="*/ 1091 h 2840"/>
                <a:gd name="T14" fmla="*/ 3328 w 3450"/>
                <a:gd name="T15" fmla="*/ 1060 h 2840"/>
                <a:gd name="T16" fmla="*/ 3306 w 3450"/>
                <a:gd name="T17" fmla="*/ 1042 h 2840"/>
                <a:gd name="T18" fmla="*/ 369 w 3450"/>
                <a:gd name="T19" fmla="*/ 752 h 2840"/>
                <a:gd name="T20" fmla="*/ 633 w 3450"/>
                <a:gd name="T21" fmla="*/ 522 h 2840"/>
                <a:gd name="T22" fmla="*/ 288 w 3450"/>
                <a:gd name="T23" fmla="*/ 1872 h 2840"/>
                <a:gd name="T24" fmla="*/ 601 w 3450"/>
                <a:gd name="T25" fmla="*/ 1006 h 2840"/>
                <a:gd name="T26" fmla="*/ 656 w 3450"/>
                <a:gd name="T27" fmla="*/ 949 h 2840"/>
                <a:gd name="T28" fmla="*/ 732 w 3450"/>
                <a:gd name="T29" fmla="*/ 927 h 2840"/>
                <a:gd name="T30" fmla="*/ 866 w 3450"/>
                <a:gd name="T31" fmla="*/ 735 h 2840"/>
                <a:gd name="T32" fmla="*/ 902 w 3450"/>
                <a:gd name="T33" fmla="*/ 699 h 2840"/>
                <a:gd name="T34" fmla="*/ 955 w 3450"/>
                <a:gd name="T35" fmla="*/ 706 h 2840"/>
                <a:gd name="T36" fmla="*/ 978 w 3450"/>
                <a:gd name="T37" fmla="*/ 752 h 2840"/>
                <a:gd name="T38" fmla="*/ 1265 w 3450"/>
                <a:gd name="T39" fmla="*/ 752 h 2840"/>
                <a:gd name="T40" fmla="*/ 1289 w 3450"/>
                <a:gd name="T41" fmla="*/ 706 h 2840"/>
                <a:gd name="T42" fmla="*/ 1340 w 3450"/>
                <a:gd name="T43" fmla="*/ 699 h 2840"/>
                <a:gd name="T44" fmla="*/ 1377 w 3450"/>
                <a:gd name="T45" fmla="*/ 735 h 2840"/>
                <a:gd name="T46" fmla="*/ 1668 w 3450"/>
                <a:gd name="T47" fmla="*/ 927 h 2840"/>
                <a:gd name="T48" fmla="*/ 1679 w 3450"/>
                <a:gd name="T49" fmla="*/ 719 h 2840"/>
                <a:gd name="T50" fmla="*/ 1725 w 3450"/>
                <a:gd name="T51" fmla="*/ 696 h 2840"/>
                <a:gd name="T52" fmla="*/ 1771 w 3450"/>
                <a:gd name="T53" fmla="*/ 719 h 2840"/>
                <a:gd name="T54" fmla="*/ 1783 w 3450"/>
                <a:gd name="T55" fmla="*/ 927 h 2840"/>
                <a:gd name="T56" fmla="*/ 2073 w 3450"/>
                <a:gd name="T57" fmla="*/ 735 h 2840"/>
                <a:gd name="T58" fmla="*/ 2110 w 3450"/>
                <a:gd name="T59" fmla="*/ 699 h 2840"/>
                <a:gd name="T60" fmla="*/ 2161 w 3450"/>
                <a:gd name="T61" fmla="*/ 706 h 2840"/>
                <a:gd name="T62" fmla="*/ 2185 w 3450"/>
                <a:gd name="T63" fmla="*/ 752 h 2840"/>
                <a:gd name="T64" fmla="*/ 2473 w 3450"/>
                <a:gd name="T65" fmla="*/ 752 h 2840"/>
                <a:gd name="T66" fmla="*/ 2496 w 3450"/>
                <a:gd name="T67" fmla="*/ 706 h 2840"/>
                <a:gd name="T68" fmla="*/ 2548 w 3450"/>
                <a:gd name="T69" fmla="*/ 699 h 2840"/>
                <a:gd name="T70" fmla="*/ 2584 w 3450"/>
                <a:gd name="T71" fmla="*/ 735 h 2840"/>
                <a:gd name="T72" fmla="*/ 3048 w 3450"/>
                <a:gd name="T73" fmla="*/ 927 h 2840"/>
                <a:gd name="T74" fmla="*/ 157 w 3450"/>
                <a:gd name="T75" fmla="*/ 116 h 2840"/>
                <a:gd name="T76" fmla="*/ 123 w 3450"/>
                <a:gd name="T77" fmla="*/ 133 h 2840"/>
                <a:gd name="T78" fmla="*/ 115 w 3450"/>
                <a:gd name="T79" fmla="*/ 2342 h 2840"/>
                <a:gd name="T80" fmla="*/ 551 w 3450"/>
                <a:gd name="T81" fmla="*/ 406 h 2840"/>
                <a:gd name="T82" fmla="*/ 157 w 3450"/>
                <a:gd name="T83" fmla="*/ 116 h 2840"/>
                <a:gd name="T84" fmla="*/ 1524 w 3450"/>
                <a:gd name="T85" fmla="*/ 406 h 2840"/>
                <a:gd name="T86" fmla="*/ 3306 w 3450"/>
                <a:gd name="T87" fmla="*/ 927 h 2840"/>
                <a:gd name="T88" fmla="*/ 3380 w 3450"/>
                <a:gd name="T89" fmla="*/ 950 h 2840"/>
                <a:gd name="T90" fmla="*/ 3431 w 3450"/>
                <a:gd name="T91" fmla="*/ 1011 h 2840"/>
                <a:gd name="T92" fmla="*/ 3450 w 3450"/>
                <a:gd name="T93" fmla="*/ 1099 h 2840"/>
                <a:gd name="T94" fmla="*/ 2853 w 3450"/>
                <a:gd name="T95" fmla="*/ 2759 h 2840"/>
                <a:gd name="T96" fmla="*/ 2800 w 3450"/>
                <a:gd name="T97" fmla="*/ 2817 h 2840"/>
                <a:gd name="T98" fmla="*/ 2721 w 3450"/>
                <a:gd name="T99" fmla="*/ 2840 h 2840"/>
                <a:gd name="T100" fmla="*/ 94 w 3450"/>
                <a:gd name="T101" fmla="*/ 2830 h 2840"/>
                <a:gd name="T102" fmla="*/ 30 w 3450"/>
                <a:gd name="T103" fmla="*/ 2781 h 2840"/>
                <a:gd name="T104" fmla="*/ 2 w 3450"/>
                <a:gd name="T105" fmla="*/ 2715 h 2840"/>
                <a:gd name="T106" fmla="*/ 0 w 3450"/>
                <a:gd name="T107" fmla="*/ 158 h 2840"/>
                <a:gd name="T108" fmla="*/ 27 w 3450"/>
                <a:gd name="T109" fmla="*/ 70 h 2840"/>
                <a:gd name="T110" fmla="*/ 96 w 3450"/>
                <a:gd name="T111" fmla="*/ 12 h 2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50" h="2840">
                  <a:moveTo>
                    <a:pt x="732" y="1042"/>
                  </a:moveTo>
                  <a:lnTo>
                    <a:pt x="721" y="1044"/>
                  </a:lnTo>
                  <a:lnTo>
                    <a:pt x="712" y="1050"/>
                  </a:lnTo>
                  <a:lnTo>
                    <a:pt x="705" y="1057"/>
                  </a:lnTo>
                  <a:lnTo>
                    <a:pt x="700" y="1068"/>
                  </a:lnTo>
                  <a:lnTo>
                    <a:pt x="699" y="1072"/>
                  </a:lnTo>
                  <a:lnTo>
                    <a:pt x="173" y="2527"/>
                  </a:lnTo>
                  <a:lnTo>
                    <a:pt x="115" y="2688"/>
                  </a:lnTo>
                  <a:lnTo>
                    <a:pt x="115" y="2697"/>
                  </a:lnTo>
                  <a:lnTo>
                    <a:pt x="118" y="2704"/>
                  </a:lnTo>
                  <a:lnTo>
                    <a:pt x="122" y="2711"/>
                  </a:lnTo>
                  <a:lnTo>
                    <a:pt x="125" y="2715"/>
                  </a:lnTo>
                  <a:lnTo>
                    <a:pt x="131" y="2719"/>
                  </a:lnTo>
                  <a:lnTo>
                    <a:pt x="138" y="2722"/>
                  </a:lnTo>
                  <a:lnTo>
                    <a:pt x="147" y="2724"/>
                  </a:lnTo>
                  <a:lnTo>
                    <a:pt x="2721" y="2724"/>
                  </a:lnTo>
                  <a:lnTo>
                    <a:pt x="2732" y="2722"/>
                  </a:lnTo>
                  <a:lnTo>
                    <a:pt x="2741" y="2717"/>
                  </a:lnTo>
                  <a:lnTo>
                    <a:pt x="2749" y="2710"/>
                  </a:lnTo>
                  <a:lnTo>
                    <a:pt x="2753" y="2700"/>
                  </a:lnTo>
                  <a:lnTo>
                    <a:pt x="3335" y="1091"/>
                  </a:lnTo>
                  <a:lnTo>
                    <a:pt x="3334" y="1081"/>
                  </a:lnTo>
                  <a:lnTo>
                    <a:pt x="3332" y="1071"/>
                  </a:lnTo>
                  <a:lnTo>
                    <a:pt x="3328" y="1060"/>
                  </a:lnTo>
                  <a:lnTo>
                    <a:pt x="3322" y="1052"/>
                  </a:lnTo>
                  <a:lnTo>
                    <a:pt x="3315" y="1045"/>
                  </a:lnTo>
                  <a:lnTo>
                    <a:pt x="3306" y="1042"/>
                  </a:lnTo>
                  <a:lnTo>
                    <a:pt x="732" y="1042"/>
                  </a:lnTo>
                  <a:close/>
                  <a:moveTo>
                    <a:pt x="518" y="603"/>
                  </a:moveTo>
                  <a:lnTo>
                    <a:pt x="369" y="752"/>
                  </a:lnTo>
                  <a:lnTo>
                    <a:pt x="518" y="752"/>
                  </a:lnTo>
                  <a:lnTo>
                    <a:pt x="518" y="603"/>
                  </a:lnTo>
                  <a:close/>
                  <a:moveTo>
                    <a:pt x="633" y="522"/>
                  </a:moveTo>
                  <a:lnTo>
                    <a:pt x="633" y="869"/>
                  </a:lnTo>
                  <a:lnTo>
                    <a:pt x="288" y="869"/>
                  </a:lnTo>
                  <a:lnTo>
                    <a:pt x="288" y="1872"/>
                  </a:lnTo>
                  <a:lnTo>
                    <a:pt x="573" y="1082"/>
                  </a:lnTo>
                  <a:lnTo>
                    <a:pt x="592" y="1032"/>
                  </a:lnTo>
                  <a:lnTo>
                    <a:pt x="601" y="1006"/>
                  </a:lnTo>
                  <a:lnTo>
                    <a:pt x="615" y="984"/>
                  </a:lnTo>
                  <a:lnTo>
                    <a:pt x="634" y="964"/>
                  </a:lnTo>
                  <a:lnTo>
                    <a:pt x="656" y="949"/>
                  </a:lnTo>
                  <a:lnTo>
                    <a:pt x="681" y="936"/>
                  </a:lnTo>
                  <a:lnTo>
                    <a:pt x="708" y="930"/>
                  </a:lnTo>
                  <a:lnTo>
                    <a:pt x="732" y="927"/>
                  </a:lnTo>
                  <a:lnTo>
                    <a:pt x="863" y="927"/>
                  </a:lnTo>
                  <a:lnTo>
                    <a:pt x="863" y="752"/>
                  </a:lnTo>
                  <a:lnTo>
                    <a:pt x="866" y="735"/>
                  </a:lnTo>
                  <a:lnTo>
                    <a:pt x="874" y="719"/>
                  </a:lnTo>
                  <a:lnTo>
                    <a:pt x="887" y="706"/>
                  </a:lnTo>
                  <a:lnTo>
                    <a:pt x="902" y="699"/>
                  </a:lnTo>
                  <a:lnTo>
                    <a:pt x="920" y="696"/>
                  </a:lnTo>
                  <a:lnTo>
                    <a:pt x="938" y="699"/>
                  </a:lnTo>
                  <a:lnTo>
                    <a:pt x="955" y="706"/>
                  </a:lnTo>
                  <a:lnTo>
                    <a:pt x="966" y="719"/>
                  </a:lnTo>
                  <a:lnTo>
                    <a:pt x="974" y="735"/>
                  </a:lnTo>
                  <a:lnTo>
                    <a:pt x="978" y="752"/>
                  </a:lnTo>
                  <a:lnTo>
                    <a:pt x="978" y="927"/>
                  </a:lnTo>
                  <a:lnTo>
                    <a:pt x="1265" y="927"/>
                  </a:lnTo>
                  <a:lnTo>
                    <a:pt x="1265" y="752"/>
                  </a:lnTo>
                  <a:lnTo>
                    <a:pt x="1268" y="735"/>
                  </a:lnTo>
                  <a:lnTo>
                    <a:pt x="1277" y="719"/>
                  </a:lnTo>
                  <a:lnTo>
                    <a:pt x="1289" y="706"/>
                  </a:lnTo>
                  <a:lnTo>
                    <a:pt x="1305" y="699"/>
                  </a:lnTo>
                  <a:lnTo>
                    <a:pt x="1323" y="696"/>
                  </a:lnTo>
                  <a:lnTo>
                    <a:pt x="1340" y="699"/>
                  </a:lnTo>
                  <a:lnTo>
                    <a:pt x="1356" y="706"/>
                  </a:lnTo>
                  <a:lnTo>
                    <a:pt x="1369" y="719"/>
                  </a:lnTo>
                  <a:lnTo>
                    <a:pt x="1377" y="735"/>
                  </a:lnTo>
                  <a:lnTo>
                    <a:pt x="1380" y="752"/>
                  </a:lnTo>
                  <a:lnTo>
                    <a:pt x="1380" y="927"/>
                  </a:lnTo>
                  <a:lnTo>
                    <a:pt x="1668" y="927"/>
                  </a:lnTo>
                  <a:lnTo>
                    <a:pt x="1668" y="752"/>
                  </a:lnTo>
                  <a:lnTo>
                    <a:pt x="1671" y="735"/>
                  </a:lnTo>
                  <a:lnTo>
                    <a:pt x="1679" y="719"/>
                  </a:lnTo>
                  <a:lnTo>
                    <a:pt x="1692" y="706"/>
                  </a:lnTo>
                  <a:lnTo>
                    <a:pt x="1707" y="699"/>
                  </a:lnTo>
                  <a:lnTo>
                    <a:pt x="1725" y="696"/>
                  </a:lnTo>
                  <a:lnTo>
                    <a:pt x="1743" y="699"/>
                  </a:lnTo>
                  <a:lnTo>
                    <a:pt x="1758" y="706"/>
                  </a:lnTo>
                  <a:lnTo>
                    <a:pt x="1771" y="719"/>
                  </a:lnTo>
                  <a:lnTo>
                    <a:pt x="1779" y="735"/>
                  </a:lnTo>
                  <a:lnTo>
                    <a:pt x="1783" y="752"/>
                  </a:lnTo>
                  <a:lnTo>
                    <a:pt x="1783" y="927"/>
                  </a:lnTo>
                  <a:lnTo>
                    <a:pt x="2070" y="927"/>
                  </a:lnTo>
                  <a:lnTo>
                    <a:pt x="2070" y="752"/>
                  </a:lnTo>
                  <a:lnTo>
                    <a:pt x="2073" y="735"/>
                  </a:lnTo>
                  <a:lnTo>
                    <a:pt x="2082" y="719"/>
                  </a:lnTo>
                  <a:lnTo>
                    <a:pt x="2094" y="706"/>
                  </a:lnTo>
                  <a:lnTo>
                    <a:pt x="2110" y="699"/>
                  </a:lnTo>
                  <a:lnTo>
                    <a:pt x="2128" y="696"/>
                  </a:lnTo>
                  <a:lnTo>
                    <a:pt x="2145" y="699"/>
                  </a:lnTo>
                  <a:lnTo>
                    <a:pt x="2161" y="706"/>
                  </a:lnTo>
                  <a:lnTo>
                    <a:pt x="2174" y="719"/>
                  </a:lnTo>
                  <a:lnTo>
                    <a:pt x="2182" y="735"/>
                  </a:lnTo>
                  <a:lnTo>
                    <a:pt x="2185" y="752"/>
                  </a:lnTo>
                  <a:lnTo>
                    <a:pt x="2185" y="927"/>
                  </a:lnTo>
                  <a:lnTo>
                    <a:pt x="2473" y="927"/>
                  </a:lnTo>
                  <a:lnTo>
                    <a:pt x="2473" y="752"/>
                  </a:lnTo>
                  <a:lnTo>
                    <a:pt x="2476" y="735"/>
                  </a:lnTo>
                  <a:lnTo>
                    <a:pt x="2484" y="719"/>
                  </a:lnTo>
                  <a:lnTo>
                    <a:pt x="2496" y="706"/>
                  </a:lnTo>
                  <a:lnTo>
                    <a:pt x="2512" y="699"/>
                  </a:lnTo>
                  <a:lnTo>
                    <a:pt x="2530" y="696"/>
                  </a:lnTo>
                  <a:lnTo>
                    <a:pt x="2548" y="699"/>
                  </a:lnTo>
                  <a:lnTo>
                    <a:pt x="2563" y="706"/>
                  </a:lnTo>
                  <a:lnTo>
                    <a:pt x="2576" y="719"/>
                  </a:lnTo>
                  <a:lnTo>
                    <a:pt x="2584" y="735"/>
                  </a:lnTo>
                  <a:lnTo>
                    <a:pt x="2588" y="752"/>
                  </a:lnTo>
                  <a:lnTo>
                    <a:pt x="2588" y="927"/>
                  </a:lnTo>
                  <a:lnTo>
                    <a:pt x="3048" y="927"/>
                  </a:lnTo>
                  <a:lnTo>
                    <a:pt x="3048" y="522"/>
                  </a:lnTo>
                  <a:lnTo>
                    <a:pt x="633" y="522"/>
                  </a:lnTo>
                  <a:close/>
                  <a:moveTo>
                    <a:pt x="157" y="116"/>
                  </a:moveTo>
                  <a:lnTo>
                    <a:pt x="144" y="118"/>
                  </a:lnTo>
                  <a:lnTo>
                    <a:pt x="133" y="124"/>
                  </a:lnTo>
                  <a:lnTo>
                    <a:pt x="123" y="133"/>
                  </a:lnTo>
                  <a:lnTo>
                    <a:pt x="117" y="144"/>
                  </a:lnTo>
                  <a:lnTo>
                    <a:pt x="115" y="158"/>
                  </a:lnTo>
                  <a:lnTo>
                    <a:pt x="115" y="2342"/>
                  </a:lnTo>
                  <a:lnTo>
                    <a:pt x="173" y="2184"/>
                  </a:lnTo>
                  <a:lnTo>
                    <a:pt x="173" y="787"/>
                  </a:lnTo>
                  <a:lnTo>
                    <a:pt x="551" y="406"/>
                  </a:lnTo>
                  <a:lnTo>
                    <a:pt x="1383" y="406"/>
                  </a:lnTo>
                  <a:lnTo>
                    <a:pt x="1178" y="116"/>
                  </a:lnTo>
                  <a:lnTo>
                    <a:pt x="157" y="116"/>
                  </a:lnTo>
                  <a:close/>
                  <a:moveTo>
                    <a:pt x="157" y="0"/>
                  </a:moveTo>
                  <a:lnTo>
                    <a:pt x="1237" y="0"/>
                  </a:lnTo>
                  <a:lnTo>
                    <a:pt x="1524" y="406"/>
                  </a:lnTo>
                  <a:lnTo>
                    <a:pt x="3163" y="406"/>
                  </a:lnTo>
                  <a:lnTo>
                    <a:pt x="3163" y="927"/>
                  </a:lnTo>
                  <a:lnTo>
                    <a:pt x="3306" y="927"/>
                  </a:lnTo>
                  <a:lnTo>
                    <a:pt x="3333" y="930"/>
                  </a:lnTo>
                  <a:lnTo>
                    <a:pt x="3358" y="937"/>
                  </a:lnTo>
                  <a:lnTo>
                    <a:pt x="3380" y="950"/>
                  </a:lnTo>
                  <a:lnTo>
                    <a:pt x="3400" y="966"/>
                  </a:lnTo>
                  <a:lnTo>
                    <a:pt x="3418" y="986"/>
                  </a:lnTo>
                  <a:lnTo>
                    <a:pt x="3431" y="1011"/>
                  </a:lnTo>
                  <a:lnTo>
                    <a:pt x="3442" y="1037"/>
                  </a:lnTo>
                  <a:lnTo>
                    <a:pt x="3448" y="1067"/>
                  </a:lnTo>
                  <a:lnTo>
                    <a:pt x="3450" y="1099"/>
                  </a:lnTo>
                  <a:lnTo>
                    <a:pt x="3450" y="1110"/>
                  </a:lnTo>
                  <a:lnTo>
                    <a:pt x="2862" y="2735"/>
                  </a:lnTo>
                  <a:lnTo>
                    <a:pt x="2853" y="2759"/>
                  </a:lnTo>
                  <a:lnTo>
                    <a:pt x="2838" y="2782"/>
                  </a:lnTo>
                  <a:lnTo>
                    <a:pt x="2821" y="2801"/>
                  </a:lnTo>
                  <a:lnTo>
                    <a:pt x="2800" y="2817"/>
                  </a:lnTo>
                  <a:lnTo>
                    <a:pt x="2776" y="2830"/>
                  </a:lnTo>
                  <a:lnTo>
                    <a:pt x="2750" y="2837"/>
                  </a:lnTo>
                  <a:lnTo>
                    <a:pt x="2721" y="2840"/>
                  </a:lnTo>
                  <a:lnTo>
                    <a:pt x="147" y="2840"/>
                  </a:lnTo>
                  <a:lnTo>
                    <a:pt x="120" y="2837"/>
                  </a:lnTo>
                  <a:lnTo>
                    <a:pt x="94" y="2830"/>
                  </a:lnTo>
                  <a:lnTo>
                    <a:pt x="70" y="2818"/>
                  </a:lnTo>
                  <a:lnTo>
                    <a:pt x="49" y="2802"/>
                  </a:lnTo>
                  <a:lnTo>
                    <a:pt x="30" y="2781"/>
                  </a:lnTo>
                  <a:lnTo>
                    <a:pt x="17" y="2760"/>
                  </a:lnTo>
                  <a:lnTo>
                    <a:pt x="7" y="2738"/>
                  </a:lnTo>
                  <a:lnTo>
                    <a:pt x="2" y="2715"/>
                  </a:lnTo>
                  <a:lnTo>
                    <a:pt x="0" y="2691"/>
                  </a:lnTo>
                  <a:lnTo>
                    <a:pt x="0" y="2691"/>
                  </a:lnTo>
                  <a:lnTo>
                    <a:pt x="0" y="158"/>
                  </a:lnTo>
                  <a:lnTo>
                    <a:pt x="3" y="126"/>
                  </a:lnTo>
                  <a:lnTo>
                    <a:pt x="13" y="96"/>
                  </a:lnTo>
                  <a:lnTo>
                    <a:pt x="27" y="70"/>
                  </a:lnTo>
                  <a:lnTo>
                    <a:pt x="46" y="46"/>
                  </a:lnTo>
                  <a:lnTo>
                    <a:pt x="69" y="26"/>
                  </a:lnTo>
                  <a:lnTo>
                    <a:pt x="96" y="12"/>
                  </a:lnTo>
                  <a:lnTo>
                    <a:pt x="125" y="3"/>
                  </a:lnTo>
                  <a:lnTo>
                    <a:pt x="1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grpSp>
          <p:nvGrpSpPr>
            <p:cNvPr id="61" name="Group 1198">
              <a:extLst>
                <a:ext uri="{FF2B5EF4-FFF2-40B4-BE49-F238E27FC236}">
                  <a16:creationId xmlns:a16="http://schemas.microsoft.com/office/drawing/2014/main" id="{F98BEFD1-9D9C-E828-597E-0B5A16CCD2F9}"/>
                </a:ext>
              </a:extLst>
            </p:cNvPr>
            <p:cNvGrpSpPr/>
            <p:nvPr/>
          </p:nvGrpSpPr>
          <p:grpSpPr>
            <a:xfrm>
              <a:off x="9600566" y="5922902"/>
              <a:ext cx="547687" cy="547687"/>
              <a:chOff x="9145588" y="5008563"/>
              <a:chExt cx="547687" cy="547687"/>
            </a:xfrm>
            <a:grpFill/>
          </p:grpSpPr>
          <p:sp>
            <p:nvSpPr>
              <p:cNvPr id="64" name="Freeform 557">
                <a:extLst>
                  <a:ext uri="{FF2B5EF4-FFF2-40B4-BE49-F238E27FC236}">
                    <a16:creationId xmlns:a16="http://schemas.microsoft.com/office/drawing/2014/main" id="{EC99EAA6-F6EE-5478-88AD-69608D1B80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45588" y="5008563"/>
                <a:ext cx="547687" cy="547687"/>
              </a:xfrm>
              <a:custGeom>
                <a:avLst/>
                <a:gdLst>
                  <a:gd name="T0" fmla="*/ 721 w 3450"/>
                  <a:gd name="T1" fmla="*/ 1670 h 3450"/>
                  <a:gd name="T2" fmla="*/ 705 w 3450"/>
                  <a:gd name="T3" fmla="*/ 1682 h 3450"/>
                  <a:gd name="T4" fmla="*/ 699 w 3450"/>
                  <a:gd name="T5" fmla="*/ 1696 h 3450"/>
                  <a:gd name="T6" fmla="*/ 460 w 3450"/>
                  <a:gd name="T7" fmla="*/ 2351 h 3450"/>
                  <a:gd name="T8" fmla="*/ 115 w 3450"/>
                  <a:gd name="T9" fmla="*/ 3308 h 3450"/>
                  <a:gd name="T10" fmla="*/ 122 w 3450"/>
                  <a:gd name="T11" fmla="*/ 3322 h 3450"/>
                  <a:gd name="T12" fmla="*/ 131 w 3450"/>
                  <a:gd name="T13" fmla="*/ 3331 h 3450"/>
                  <a:gd name="T14" fmla="*/ 147 w 3450"/>
                  <a:gd name="T15" fmla="*/ 3335 h 3450"/>
                  <a:gd name="T16" fmla="*/ 2732 w 3450"/>
                  <a:gd name="T17" fmla="*/ 3333 h 3450"/>
                  <a:gd name="T18" fmla="*/ 2749 w 3450"/>
                  <a:gd name="T19" fmla="*/ 3320 h 3450"/>
                  <a:gd name="T20" fmla="*/ 3335 w 3450"/>
                  <a:gd name="T21" fmla="*/ 1715 h 3450"/>
                  <a:gd name="T22" fmla="*/ 3332 w 3450"/>
                  <a:gd name="T23" fmla="*/ 1696 h 3450"/>
                  <a:gd name="T24" fmla="*/ 3322 w 3450"/>
                  <a:gd name="T25" fmla="*/ 1676 h 3450"/>
                  <a:gd name="T26" fmla="*/ 3306 w 3450"/>
                  <a:gd name="T27" fmla="*/ 1668 h 3450"/>
                  <a:gd name="T28" fmla="*/ 2760 w 3450"/>
                  <a:gd name="T29" fmla="*/ 1150 h 3450"/>
                  <a:gd name="T30" fmla="*/ 2990 w 3450"/>
                  <a:gd name="T31" fmla="*/ 1553 h 3450"/>
                  <a:gd name="T32" fmla="*/ 2988 w 3450"/>
                  <a:gd name="T33" fmla="*/ 1179 h 3450"/>
                  <a:gd name="T34" fmla="*/ 2973 w 3450"/>
                  <a:gd name="T35" fmla="*/ 1158 h 3450"/>
                  <a:gd name="T36" fmla="*/ 2948 w 3450"/>
                  <a:gd name="T37" fmla="*/ 1150 h 3450"/>
                  <a:gd name="T38" fmla="*/ 157 w 3450"/>
                  <a:gd name="T39" fmla="*/ 748 h 3450"/>
                  <a:gd name="T40" fmla="*/ 133 w 3450"/>
                  <a:gd name="T41" fmla="*/ 756 h 3450"/>
                  <a:gd name="T42" fmla="*/ 117 w 3450"/>
                  <a:gd name="T43" fmla="*/ 777 h 3450"/>
                  <a:gd name="T44" fmla="*/ 115 w 3450"/>
                  <a:gd name="T45" fmla="*/ 2956 h 3450"/>
                  <a:gd name="T46" fmla="*/ 460 w 3450"/>
                  <a:gd name="T47" fmla="*/ 748 h 3450"/>
                  <a:gd name="T48" fmla="*/ 1898 w 3450"/>
                  <a:gd name="T49" fmla="*/ 197 h 3450"/>
                  <a:gd name="T50" fmla="*/ 2563 w 3450"/>
                  <a:gd name="T51" fmla="*/ 863 h 3450"/>
                  <a:gd name="T52" fmla="*/ 575 w 3450"/>
                  <a:gd name="T53" fmla="*/ 115 h 3450"/>
                  <a:gd name="T54" fmla="*/ 592 w 3450"/>
                  <a:gd name="T55" fmla="*/ 1657 h 3450"/>
                  <a:gd name="T56" fmla="*/ 615 w 3450"/>
                  <a:gd name="T57" fmla="*/ 1609 h 3450"/>
                  <a:gd name="T58" fmla="*/ 656 w 3450"/>
                  <a:gd name="T59" fmla="*/ 1573 h 3450"/>
                  <a:gd name="T60" fmla="*/ 708 w 3450"/>
                  <a:gd name="T61" fmla="*/ 1555 h 3450"/>
                  <a:gd name="T62" fmla="*/ 2645 w 3450"/>
                  <a:gd name="T63" fmla="*/ 1553 h 3450"/>
                  <a:gd name="T64" fmla="*/ 1783 w 3450"/>
                  <a:gd name="T65" fmla="*/ 978 h 3450"/>
                  <a:gd name="T66" fmla="*/ 575 w 3450"/>
                  <a:gd name="T67" fmla="*/ 115 h 3450"/>
                  <a:gd name="T68" fmla="*/ 1864 w 3450"/>
                  <a:gd name="T69" fmla="*/ 0 h 3450"/>
                  <a:gd name="T70" fmla="*/ 2732 w 3450"/>
                  <a:gd name="T71" fmla="*/ 868 h 3450"/>
                  <a:gd name="T72" fmla="*/ 2760 w 3450"/>
                  <a:gd name="T73" fmla="*/ 896 h 3450"/>
                  <a:gd name="T74" fmla="*/ 2948 w 3450"/>
                  <a:gd name="T75" fmla="*/ 1035 h 3450"/>
                  <a:gd name="T76" fmla="*/ 3009 w 3450"/>
                  <a:gd name="T77" fmla="*/ 1048 h 3450"/>
                  <a:gd name="T78" fmla="*/ 3059 w 3450"/>
                  <a:gd name="T79" fmla="*/ 1081 h 3450"/>
                  <a:gd name="T80" fmla="*/ 3092 w 3450"/>
                  <a:gd name="T81" fmla="*/ 1131 h 3450"/>
                  <a:gd name="T82" fmla="*/ 3105 w 3450"/>
                  <a:gd name="T83" fmla="*/ 1192 h 3450"/>
                  <a:gd name="T84" fmla="*/ 3306 w 3450"/>
                  <a:gd name="T85" fmla="*/ 1553 h 3450"/>
                  <a:gd name="T86" fmla="*/ 3358 w 3450"/>
                  <a:gd name="T87" fmla="*/ 1563 h 3450"/>
                  <a:gd name="T88" fmla="*/ 3400 w 3450"/>
                  <a:gd name="T89" fmla="*/ 1591 h 3450"/>
                  <a:gd name="T90" fmla="*/ 3431 w 3450"/>
                  <a:gd name="T91" fmla="*/ 1635 h 3450"/>
                  <a:gd name="T92" fmla="*/ 3448 w 3450"/>
                  <a:gd name="T93" fmla="*/ 1692 h 3450"/>
                  <a:gd name="T94" fmla="*/ 3450 w 3450"/>
                  <a:gd name="T95" fmla="*/ 1733 h 3450"/>
                  <a:gd name="T96" fmla="*/ 2853 w 3450"/>
                  <a:gd name="T97" fmla="*/ 3371 h 3450"/>
                  <a:gd name="T98" fmla="*/ 2821 w 3450"/>
                  <a:gd name="T99" fmla="*/ 3411 h 3450"/>
                  <a:gd name="T100" fmla="*/ 2776 w 3450"/>
                  <a:gd name="T101" fmla="*/ 3440 h 3450"/>
                  <a:gd name="T102" fmla="*/ 2721 w 3450"/>
                  <a:gd name="T103" fmla="*/ 3450 h 3450"/>
                  <a:gd name="T104" fmla="*/ 120 w 3450"/>
                  <a:gd name="T105" fmla="*/ 3448 h 3450"/>
                  <a:gd name="T106" fmla="*/ 70 w 3450"/>
                  <a:gd name="T107" fmla="*/ 3428 h 3450"/>
                  <a:gd name="T108" fmla="*/ 30 w 3450"/>
                  <a:gd name="T109" fmla="*/ 3393 h 3450"/>
                  <a:gd name="T110" fmla="*/ 7 w 3450"/>
                  <a:gd name="T111" fmla="*/ 3350 h 3450"/>
                  <a:gd name="T112" fmla="*/ 0 w 3450"/>
                  <a:gd name="T113" fmla="*/ 3302 h 3450"/>
                  <a:gd name="T114" fmla="*/ 0 w 3450"/>
                  <a:gd name="T115" fmla="*/ 789 h 3450"/>
                  <a:gd name="T116" fmla="*/ 13 w 3450"/>
                  <a:gd name="T117" fmla="*/ 729 h 3450"/>
                  <a:gd name="T118" fmla="*/ 46 w 3450"/>
                  <a:gd name="T119" fmla="*/ 679 h 3450"/>
                  <a:gd name="T120" fmla="*/ 96 w 3450"/>
                  <a:gd name="T121" fmla="*/ 645 h 3450"/>
                  <a:gd name="T122" fmla="*/ 157 w 3450"/>
                  <a:gd name="T123" fmla="*/ 633 h 3450"/>
                  <a:gd name="T124" fmla="*/ 460 w 3450"/>
                  <a:gd name="T125" fmla="*/ 0 h 3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450" h="3450">
                    <a:moveTo>
                      <a:pt x="732" y="1668"/>
                    </a:moveTo>
                    <a:lnTo>
                      <a:pt x="721" y="1670"/>
                    </a:lnTo>
                    <a:lnTo>
                      <a:pt x="712" y="1674"/>
                    </a:lnTo>
                    <a:lnTo>
                      <a:pt x="705" y="1682"/>
                    </a:lnTo>
                    <a:lnTo>
                      <a:pt x="700" y="1692"/>
                    </a:lnTo>
                    <a:lnTo>
                      <a:pt x="699" y="1696"/>
                    </a:lnTo>
                    <a:lnTo>
                      <a:pt x="460" y="2352"/>
                    </a:lnTo>
                    <a:lnTo>
                      <a:pt x="460" y="2351"/>
                    </a:lnTo>
                    <a:lnTo>
                      <a:pt x="115" y="3298"/>
                    </a:lnTo>
                    <a:lnTo>
                      <a:pt x="115" y="3308"/>
                    </a:lnTo>
                    <a:lnTo>
                      <a:pt x="118" y="3316"/>
                    </a:lnTo>
                    <a:lnTo>
                      <a:pt x="122" y="3322"/>
                    </a:lnTo>
                    <a:lnTo>
                      <a:pt x="125" y="3327"/>
                    </a:lnTo>
                    <a:lnTo>
                      <a:pt x="131" y="3331"/>
                    </a:lnTo>
                    <a:lnTo>
                      <a:pt x="138" y="3334"/>
                    </a:lnTo>
                    <a:lnTo>
                      <a:pt x="147" y="3335"/>
                    </a:lnTo>
                    <a:lnTo>
                      <a:pt x="2721" y="3335"/>
                    </a:lnTo>
                    <a:lnTo>
                      <a:pt x="2732" y="3333"/>
                    </a:lnTo>
                    <a:lnTo>
                      <a:pt x="2741" y="3329"/>
                    </a:lnTo>
                    <a:lnTo>
                      <a:pt x="2749" y="3320"/>
                    </a:lnTo>
                    <a:lnTo>
                      <a:pt x="2753" y="3311"/>
                    </a:lnTo>
                    <a:lnTo>
                      <a:pt x="3335" y="1715"/>
                    </a:lnTo>
                    <a:lnTo>
                      <a:pt x="3334" y="1705"/>
                    </a:lnTo>
                    <a:lnTo>
                      <a:pt x="3332" y="1696"/>
                    </a:lnTo>
                    <a:lnTo>
                      <a:pt x="3328" y="1685"/>
                    </a:lnTo>
                    <a:lnTo>
                      <a:pt x="3322" y="1676"/>
                    </a:lnTo>
                    <a:lnTo>
                      <a:pt x="3315" y="1670"/>
                    </a:lnTo>
                    <a:lnTo>
                      <a:pt x="3306" y="1668"/>
                    </a:lnTo>
                    <a:lnTo>
                      <a:pt x="732" y="1668"/>
                    </a:lnTo>
                    <a:close/>
                    <a:moveTo>
                      <a:pt x="2760" y="1150"/>
                    </a:moveTo>
                    <a:lnTo>
                      <a:pt x="2760" y="1553"/>
                    </a:lnTo>
                    <a:lnTo>
                      <a:pt x="2990" y="1553"/>
                    </a:lnTo>
                    <a:lnTo>
                      <a:pt x="2990" y="1192"/>
                    </a:lnTo>
                    <a:lnTo>
                      <a:pt x="2988" y="1179"/>
                    </a:lnTo>
                    <a:lnTo>
                      <a:pt x="2982" y="1167"/>
                    </a:lnTo>
                    <a:lnTo>
                      <a:pt x="2973" y="1158"/>
                    </a:lnTo>
                    <a:lnTo>
                      <a:pt x="2961" y="1152"/>
                    </a:lnTo>
                    <a:lnTo>
                      <a:pt x="2948" y="1150"/>
                    </a:lnTo>
                    <a:lnTo>
                      <a:pt x="2760" y="1150"/>
                    </a:lnTo>
                    <a:close/>
                    <a:moveTo>
                      <a:pt x="157" y="748"/>
                    </a:moveTo>
                    <a:lnTo>
                      <a:pt x="144" y="750"/>
                    </a:lnTo>
                    <a:lnTo>
                      <a:pt x="133" y="756"/>
                    </a:lnTo>
                    <a:lnTo>
                      <a:pt x="123" y="764"/>
                    </a:lnTo>
                    <a:lnTo>
                      <a:pt x="117" y="777"/>
                    </a:lnTo>
                    <a:lnTo>
                      <a:pt x="115" y="789"/>
                    </a:lnTo>
                    <a:lnTo>
                      <a:pt x="115" y="2956"/>
                    </a:lnTo>
                    <a:lnTo>
                      <a:pt x="460" y="2015"/>
                    </a:lnTo>
                    <a:lnTo>
                      <a:pt x="460" y="748"/>
                    </a:lnTo>
                    <a:lnTo>
                      <a:pt x="157" y="748"/>
                    </a:lnTo>
                    <a:close/>
                    <a:moveTo>
                      <a:pt x="1898" y="197"/>
                    </a:moveTo>
                    <a:lnTo>
                      <a:pt x="1898" y="863"/>
                    </a:lnTo>
                    <a:lnTo>
                      <a:pt x="2563" y="863"/>
                    </a:lnTo>
                    <a:lnTo>
                      <a:pt x="1898" y="197"/>
                    </a:lnTo>
                    <a:close/>
                    <a:moveTo>
                      <a:pt x="575" y="115"/>
                    </a:moveTo>
                    <a:lnTo>
                      <a:pt x="575" y="1701"/>
                    </a:lnTo>
                    <a:lnTo>
                      <a:pt x="592" y="1657"/>
                    </a:lnTo>
                    <a:lnTo>
                      <a:pt x="601" y="1632"/>
                    </a:lnTo>
                    <a:lnTo>
                      <a:pt x="615" y="1609"/>
                    </a:lnTo>
                    <a:lnTo>
                      <a:pt x="634" y="1589"/>
                    </a:lnTo>
                    <a:lnTo>
                      <a:pt x="656" y="1573"/>
                    </a:lnTo>
                    <a:lnTo>
                      <a:pt x="681" y="1562"/>
                    </a:lnTo>
                    <a:lnTo>
                      <a:pt x="708" y="1555"/>
                    </a:lnTo>
                    <a:lnTo>
                      <a:pt x="732" y="1553"/>
                    </a:lnTo>
                    <a:lnTo>
                      <a:pt x="2645" y="1553"/>
                    </a:lnTo>
                    <a:lnTo>
                      <a:pt x="2645" y="978"/>
                    </a:lnTo>
                    <a:lnTo>
                      <a:pt x="1783" y="978"/>
                    </a:lnTo>
                    <a:lnTo>
                      <a:pt x="1783" y="115"/>
                    </a:lnTo>
                    <a:lnTo>
                      <a:pt x="575" y="115"/>
                    </a:lnTo>
                    <a:close/>
                    <a:moveTo>
                      <a:pt x="460" y="0"/>
                    </a:moveTo>
                    <a:lnTo>
                      <a:pt x="1864" y="0"/>
                    </a:lnTo>
                    <a:lnTo>
                      <a:pt x="2313" y="449"/>
                    </a:lnTo>
                    <a:lnTo>
                      <a:pt x="2732" y="868"/>
                    </a:lnTo>
                    <a:lnTo>
                      <a:pt x="2732" y="868"/>
                    </a:lnTo>
                    <a:lnTo>
                      <a:pt x="2760" y="896"/>
                    </a:lnTo>
                    <a:lnTo>
                      <a:pt x="2760" y="1035"/>
                    </a:lnTo>
                    <a:lnTo>
                      <a:pt x="2948" y="1035"/>
                    </a:lnTo>
                    <a:lnTo>
                      <a:pt x="2980" y="1038"/>
                    </a:lnTo>
                    <a:lnTo>
                      <a:pt x="3009" y="1048"/>
                    </a:lnTo>
                    <a:lnTo>
                      <a:pt x="3036" y="1062"/>
                    </a:lnTo>
                    <a:lnTo>
                      <a:pt x="3059" y="1081"/>
                    </a:lnTo>
                    <a:lnTo>
                      <a:pt x="3078" y="1104"/>
                    </a:lnTo>
                    <a:lnTo>
                      <a:pt x="3092" y="1131"/>
                    </a:lnTo>
                    <a:lnTo>
                      <a:pt x="3102" y="1160"/>
                    </a:lnTo>
                    <a:lnTo>
                      <a:pt x="3105" y="1192"/>
                    </a:lnTo>
                    <a:lnTo>
                      <a:pt x="3105" y="1553"/>
                    </a:lnTo>
                    <a:lnTo>
                      <a:pt x="3306" y="1553"/>
                    </a:lnTo>
                    <a:lnTo>
                      <a:pt x="3333" y="1556"/>
                    </a:lnTo>
                    <a:lnTo>
                      <a:pt x="3358" y="1563"/>
                    </a:lnTo>
                    <a:lnTo>
                      <a:pt x="3380" y="1574"/>
                    </a:lnTo>
                    <a:lnTo>
                      <a:pt x="3400" y="1591"/>
                    </a:lnTo>
                    <a:lnTo>
                      <a:pt x="3418" y="1611"/>
                    </a:lnTo>
                    <a:lnTo>
                      <a:pt x="3431" y="1635"/>
                    </a:lnTo>
                    <a:lnTo>
                      <a:pt x="3442" y="1662"/>
                    </a:lnTo>
                    <a:lnTo>
                      <a:pt x="3448" y="1692"/>
                    </a:lnTo>
                    <a:lnTo>
                      <a:pt x="3450" y="1723"/>
                    </a:lnTo>
                    <a:lnTo>
                      <a:pt x="3450" y="1733"/>
                    </a:lnTo>
                    <a:lnTo>
                      <a:pt x="2862" y="3345"/>
                    </a:lnTo>
                    <a:lnTo>
                      <a:pt x="2853" y="3371"/>
                    </a:lnTo>
                    <a:lnTo>
                      <a:pt x="2838" y="3393"/>
                    </a:lnTo>
                    <a:lnTo>
                      <a:pt x="2821" y="3411"/>
                    </a:lnTo>
                    <a:lnTo>
                      <a:pt x="2800" y="3428"/>
                    </a:lnTo>
                    <a:lnTo>
                      <a:pt x="2776" y="3440"/>
                    </a:lnTo>
                    <a:lnTo>
                      <a:pt x="2750" y="3447"/>
                    </a:lnTo>
                    <a:lnTo>
                      <a:pt x="2721" y="3450"/>
                    </a:lnTo>
                    <a:lnTo>
                      <a:pt x="147" y="3450"/>
                    </a:lnTo>
                    <a:lnTo>
                      <a:pt x="120" y="3448"/>
                    </a:lnTo>
                    <a:lnTo>
                      <a:pt x="94" y="3441"/>
                    </a:lnTo>
                    <a:lnTo>
                      <a:pt x="70" y="3428"/>
                    </a:lnTo>
                    <a:lnTo>
                      <a:pt x="49" y="3412"/>
                    </a:lnTo>
                    <a:lnTo>
                      <a:pt x="30" y="3393"/>
                    </a:lnTo>
                    <a:lnTo>
                      <a:pt x="17" y="3372"/>
                    </a:lnTo>
                    <a:lnTo>
                      <a:pt x="7" y="3350"/>
                    </a:lnTo>
                    <a:lnTo>
                      <a:pt x="2" y="3326"/>
                    </a:lnTo>
                    <a:lnTo>
                      <a:pt x="0" y="3302"/>
                    </a:lnTo>
                    <a:lnTo>
                      <a:pt x="0" y="3302"/>
                    </a:lnTo>
                    <a:lnTo>
                      <a:pt x="0" y="789"/>
                    </a:lnTo>
                    <a:lnTo>
                      <a:pt x="3" y="758"/>
                    </a:lnTo>
                    <a:lnTo>
                      <a:pt x="13" y="729"/>
                    </a:lnTo>
                    <a:lnTo>
                      <a:pt x="27" y="702"/>
                    </a:lnTo>
                    <a:lnTo>
                      <a:pt x="46" y="679"/>
                    </a:lnTo>
                    <a:lnTo>
                      <a:pt x="69" y="660"/>
                    </a:lnTo>
                    <a:lnTo>
                      <a:pt x="96" y="645"/>
                    </a:lnTo>
                    <a:lnTo>
                      <a:pt x="125" y="636"/>
                    </a:lnTo>
                    <a:lnTo>
                      <a:pt x="157" y="633"/>
                    </a:lnTo>
                    <a:lnTo>
                      <a:pt x="460" y="633"/>
                    </a:lnTo>
                    <a:lnTo>
                      <a:pt x="46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65" name="Freeform 558">
                <a:extLst>
                  <a:ext uri="{FF2B5EF4-FFF2-40B4-BE49-F238E27FC236}">
                    <a16:creationId xmlns:a16="http://schemas.microsoft.com/office/drawing/2014/main" id="{60D18E27-F6BD-DC54-1022-B7DC122A8A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82113" y="5145088"/>
                <a:ext cx="109537" cy="19050"/>
              </a:xfrm>
              <a:custGeom>
                <a:avLst/>
                <a:gdLst>
                  <a:gd name="T0" fmla="*/ 57 w 690"/>
                  <a:gd name="T1" fmla="*/ 0 h 115"/>
                  <a:gd name="T2" fmla="*/ 632 w 690"/>
                  <a:gd name="T3" fmla="*/ 0 h 115"/>
                  <a:gd name="T4" fmla="*/ 650 w 690"/>
                  <a:gd name="T5" fmla="*/ 3 h 115"/>
                  <a:gd name="T6" fmla="*/ 667 w 690"/>
                  <a:gd name="T7" fmla="*/ 11 h 115"/>
                  <a:gd name="T8" fmla="*/ 678 w 690"/>
                  <a:gd name="T9" fmla="*/ 24 h 115"/>
                  <a:gd name="T10" fmla="*/ 686 w 690"/>
                  <a:gd name="T11" fmla="*/ 39 h 115"/>
                  <a:gd name="T12" fmla="*/ 690 w 690"/>
                  <a:gd name="T13" fmla="*/ 57 h 115"/>
                  <a:gd name="T14" fmla="*/ 686 w 690"/>
                  <a:gd name="T15" fmla="*/ 75 h 115"/>
                  <a:gd name="T16" fmla="*/ 678 w 690"/>
                  <a:gd name="T17" fmla="*/ 92 h 115"/>
                  <a:gd name="T18" fmla="*/ 667 w 690"/>
                  <a:gd name="T19" fmla="*/ 103 h 115"/>
                  <a:gd name="T20" fmla="*/ 650 w 690"/>
                  <a:gd name="T21" fmla="*/ 111 h 115"/>
                  <a:gd name="T22" fmla="*/ 632 w 690"/>
                  <a:gd name="T23" fmla="*/ 115 h 115"/>
                  <a:gd name="T24" fmla="*/ 57 w 690"/>
                  <a:gd name="T25" fmla="*/ 115 h 115"/>
                  <a:gd name="T26" fmla="*/ 39 w 690"/>
                  <a:gd name="T27" fmla="*/ 111 h 115"/>
                  <a:gd name="T28" fmla="*/ 24 w 690"/>
                  <a:gd name="T29" fmla="*/ 103 h 115"/>
                  <a:gd name="T30" fmla="*/ 11 w 690"/>
                  <a:gd name="T31" fmla="*/ 92 h 115"/>
                  <a:gd name="T32" fmla="*/ 3 w 690"/>
                  <a:gd name="T33" fmla="*/ 75 h 115"/>
                  <a:gd name="T34" fmla="*/ 0 w 690"/>
                  <a:gd name="T35" fmla="*/ 57 h 115"/>
                  <a:gd name="T36" fmla="*/ 3 w 690"/>
                  <a:gd name="T37" fmla="*/ 39 h 115"/>
                  <a:gd name="T38" fmla="*/ 11 w 690"/>
                  <a:gd name="T39" fmla="*/ 24 h 115"/>
                  <a:gd name="T40" fmla="*/ 24 w 690"/>
                  <a:gd name="T41" fmla="*/ 11 h 115"/>
                  <a:gd name="T42" fmla="*/ 39 w 690"/>
                  <a:gd name="T43" fmla="*/ 3 h 115"/>
                  <a:gd name="T44" fmla="*/ 57 w 690"/>
                  <a:gd name="T4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90" h="115">
                    <a:moveTo>
                      <a:pt x="57" y="0"/>
                    </a:moveTo>
                    <a:lnTo>
                      <a:pt x="632" y="0"/>
                    </a:lnTo>
                    <a:lnTo>
                      <a:pt x="650" y="3"/>
                    </a:lnTo>
                    <a:lnTo>
                      <a:pt x="667" y="11"/>
                    </a:lnTo>
                    <a:lnTo>
                      <a:pt x="678" y="24"/>
                    </a:lnTo>
                    <a:lnTo>
                      <a:pt x="686" y="39"/>
                    </a:lnTo>
                    <a:lnTo>
                      <a:pt x="690" y="57"/>
                    </a:lnTo>
                    <a:lnTo>
                      <a:pt x="686" y="75"/>
                    </a:lnTo>
                    <a:lnTo>
                      <a:pt x="678" y="92"/>
                    </a:lnTo>
                    <a:lnTo>
                      <a:pt x="667" y="103"/>
                    </a:lnTo>
                    <a:lnTo>
                      <a:pt x="650" y="111"/>
                    </a:lnTo>
                    <a:lnTo>
                      <a:pt x="632" y="115"/>
                    </a:lnTo>
                    <a:lnTo>
                      <a:pt x="57" y="115"/>
                    </a:lnTo>
                    <a:lnTo>
                      <a:pt x="39" y="111"/>
                    </a:lnTo>
                    <a:lnTo>
                      <a:pt x="24" y="103"/>
                    </a:lnTo>
                    <a:lnTo>
                      <a:pt x="11" y="92"/>
                    </a:lnTo>
                    <a:lnTo>
                      <a:pt x="3" y="75"/>
                    </a:lnTo>
                    <a:lnTo>
                      <a:pt x="0" y="57"/>
                    </a:lnTo>
                    <a:lnTo>
                      <a:pt x="3" y="39"/>
                    </a:lnTo>
                    <a:lnTo>
                      <a:pt x="11" y="24"/>
                    </a:lnTo>
                    <a:lnTo>
                      <a:pt x="24" y="11"/>
                    </a:lnTo>
                    <a:lnTo>
                      <a:pt x="39" y="3"/>
                    </a:lnTo>
                    <a:lnTo>
                      <a:pt x="5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66" name="Freeform 559">
                <a:extLst>
                  <a:ext uri="{FF2B5EF4-FFF2-40B4-BE49-F238E27FC236}">
                    <a16:creationId xmlns:a16="http://schemas.microsoft.com/office/drawing/2014/main" id="{26384BD7-B74A-AEB8-D4DB-FCBCF99518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82113" y="5081588"/>
                <a:ext cx="109537" cy="19050"/>
              </a:xfrm>
              <a:custGeom>
                <a:avLst/>
                <a:gdLst>
                  <a:gd name="T0" fmla="*/ 57 w 690"/>
                  <a:gd name="T1" fmla="*/ 0 h 115"/>
                  <a:gd name="T2" fmla="*/ 632 w 690"/>
                  <a:gd name="T3" fmla="*/ 0 h 115"/>
                  <a:gd name="T4" fmla="*/ 650 w 690"/>
                  <a:gd name="T5" fmla="*/ 3 h 115"/>
                  <a:gd name="T6" fmla="*/ 667 w 690"/>
                  <a:gd name="T7" fmla="*/ 12 h 115"/>
                  <a:gd name="T8" fmla="*/ 678 w 690"/>
                  <a:gd name="T9" fmla="*/ 23 h 115"/>
                  <a:gd name="T10" fmla="*/ 686 w 690"/>
                  <a:gd name="T11" fmla="*/ 40 h 115"/>
                  <a:gd name="T12" fmla="*/ 690 w 690"/>
                  <a:gd name="T13" fmla="*/ 58 h 115"/>
                  <a:gd name="T14" fmla="*/ 686 w 690"/>
                  <a:gd name="T15" fmla="*/ 75 h 115"/>
                  <a:gd name="T16" fmla="*/ 678 w 690"/>
                  <a:gd name="T17" fmla="*/ 91 h 115"/>
                  <a:gd name="T18" fmla="*/ 667 w 690"/>
                  <a:gd name="T19" fmla="*/ 104 h 115"/>
                  <a:gd name="T20" fmla="*/ 650 w 690"/>
                  <a:gd name="T21" fmla="*/ 112 h 115"/>
                  <a:gd name="T22" fmla="*/ 632 w 690"/>
                  <a:gd name="T23" fmla="*/ 115 h 115"/>
                  <a:gd name="T24" fmla="*/ 57 w 690"/>
                  <a:gd name="T25" fmla="*/ 115 h 115"/>
                  <a:gd name="T26" fmla="*/ 39 w 690"/>
                  <a:gd name="T27" fmla="*/ 112 h 115"/>
                  <a:gd name="T28" fmla="*/ 24 w 690"/>
                  <a:gd name="T29" fmla="*/ 104 h 115"/>
                  <a:gd name="T30" fmla="*/ 11 w 690"/>
                  <a:gd name="T31" fmla="*/ 91 h 115"/>
                  <a:gd name="T32" fmla="*/ 3 w 690"/>
                  <a:gd name="T33" fmla="*/ 75 h 115"/>
                  <a:gd name="T34" fmla="*/ 0 w 690"/>
                  <a:gd name="T35" fmla="*/ 58 h 115"/>
                  <a:gd name="T36" fmla="*/ 3 w 690"/>
                  <a:gd name="T37" fmla="*/ 40 h 115"/>
                  <a:gd name="T38" fmla="*/ 11 w 690"/>
                  <a:gd name="T39" fmla="*/ 23 h 115"/>
                  <a:gd name="T40" fmla="*/ 24 w 690"/>
                  <a:gd name="T41" fmla="*/ 12 h 115"/>
                  <a:gd name="T42" fmla="*/ 39 w 690"/>
                  <a:gd name="T43" fmla="*/ 3 h 115"/>
                  <a:gd name="T44" fmla="*/ 57 w 690"/>
                  <a:gd name="T4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90" h="115">
                    <a:moveTo>
                      <a:pt x="57" y="0"/>
                    </a:moveTo>
                    <a:lnTo>
                      <a:pt x="632" y="0"/>
                    </a:lnTo>
                    <a:lnTo>
                      <a:pt x="650" y="3"/>
                    </a:lnTo>
                    <a:lnTo>
                      <a:pt x="667" y="12"/>
                    </a:lnTo>
                    <a:lnTo>
                      <a:pt x="678" y="23"/>
                    </a:lnTo>
                    <a:lnTo>
                      <a:pt x="686" y="40"/>
                    </a:lnTo>
                    <a:lnTo>
                      <a:pt x="690" y="58"/>
                    </a:lnTo>
                    <a:lnTo>
                      <a:pt x="686" y="75"/>
                    </a:lnTo>
                    <a:lnTo>
                      <a:pt x="678" y="91"/>
                    </a:lnTo>
                    <a:lnTo>
                      <a:pt x="667" y="104"/>
                    </a:lnTo>
                    <a:lnTo>
                      <a:pt x="650" y="112"/>
                    </a:lnTo>
                    <a:lnTo>
                      <a:pt x="632" y="115"/>
                    </a:lnTo>
                    <a:lnTo>
                      <a:pt x="57" y="115"/>
                    </a:lnTo>
                    <a:lnTo>
                      <a:pt x="39" y="112"/>
                    </a:lnTo>
                    <a:lnTo>
                      <a:pt x="24" y="104"/>
                    </a:lnTo>
                    <a:lnTo>
                      <a:pt x="11" y="91"/>
                    </a:lnTo>
                    <a:lnTo>
                      <a:pt x="3" y="75"/>
                    </a:lnTo>
                    <a:lnTo>
                      <a:pt x="0" y="58"/>
                    </a:lnTo>
                    <a:lnTo>
                      <a:pt x="3" y="40"/>
                    </a:lnTo>
                    <a:lnTo>
                      <a:pt x="11" y="23"/>
                    </a:lnTo>
                    <a:lnTo>
                      <a:pt x="24" y="12"/>
                    </a:lnTo>
                    <a:lnTo>
                      <a:pt x="39" y="3"/>
                    </a:lnTo>
                    <a:lnTo>
                      <a:pt x="5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67" name="Freeform 560">
                <a:extLst>
                  <a:ext uri="{FF2B5EF4-FFF2-40B4-BE49-F238E27FC236}">
                    <a16:creationId xmlns:a16="http://schemas.microsoft.com/office/drawing/2014/main" id="{46249554-D417-67BA-57DA-3C0354B179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82113" y="5210175"/>
                <a:ext cx="238125" cy="17462"/>
              </a:xfrm>
              <a:custGeom>
                <a:avLst/>
                <a:gdLst>
                  <a:gd name="T0" fmla="*/ 57 w 1495"/>
                  <a:gd name="T1" fmla="*/ 0 h 115"/>
                  <a:gd name="T2" fmla="*/ 1437 w 1495"/>
                  <a:gd name="T3" fmla="*/ 0 h 115"/>
                  <a:gd name="T4" fmla="*/ 1455 w 1495"/>
                  <a:gd name="T5" fmla="*/ 3 h 115"/>
                  <a:gd name="T6" fmla="*/ 1470 w 1495"/>
                  <a:gd name="T7" fmla="*/ 12 h 115"/>
                  <a:gd name="T8" fmla="*/ 1483 w 1495"/>
                  <a:gd name="T9" fmla="*/ 24 h 115"/>
                  <a:gd name="T10" fmla="*/ 1491 w 1495"/>
                  <a:gd name="T11" fmla="*/ 40 h 115"/>
                  <a:gd name="T12" fmla="*/ 1495 w 1495"/>
                  <a:gd name="T13" fmla="*/ 58 h 115"/>
                  <a:gd name="T14" fmla="*/ 1491 w 1495"/>
                  <a:gd name="T15" fmla="*/ 75 h 115"/>
                  <a:gd name="T16" fmla="*/ 1483 w 1495"/>
                  <a:gd name="T17" fmla="*/ 91 h 115"/>
                  <a:gd name="T18" fmla="*/ 1470 w 1495"/>
                  <a:gd name="T19" fmla="*/ 104 h 115"/>
                  <a:gd name="T20" fmla="*/ 1455 w 1495"/>
                  <a:gd name="T21" fmla="*/ 112 h 115"/>
                  <a:gd name="T22" fmla="*/ 1437 w 1495"/>
                  <a:gd name="T23" fmla="*/ 115 h 115"/>
                  <a:gd name="T24" fmla="*/ 57 w 1495"/>
                  <a:gd name="T25" fmla="*/ 115 h 115"/>
                  <a:gd name="T26" fmla="*/ 39 w 1495"/>
                  <a:gd name="T27" fmla="*/ 112 h 115"/>
                  <a:gd name="T28" fmla="*/ 24 w 1495"/>
                  <a:gd name="T29" fmla="*/ 104 h 115"/>
                  <a:gd name="T30" fmla="*/ 11 w 1495"/>
                  <a:gd name="T31" fmla="*/ 91 h 115"/>
                  <a:gd name="T32" fmla="*/ 3 w 1495"/>
                  <a:gd name="T33" fmla="*/ 75 h 115"/>
                  <a:gd name="T34" fmla="*/ 0 w 1495"/>
                  <a:gd name="T35" fmla="*/ 58 h 115"/>
                  <a:gd name="T36" fmla="*/ 3 w 1495"/>
                  <a:gd name="T37" fmla="*/ 40 h 115"/>
                  <a:gd name="T38" fmla="*/ 11 w 1495"/>
                  <a:gd name="T39" fmla="*/ 24 h 115"/>
                  <a:gd name="T40" fmla="*/ 24 w 1495"/>
                  <a:gd name="T41" fmla="*/ 12 h 115"/>
                  <a:gd name="T42" fmla="*/ 39 w 1495"/>
                  <a:gd name="T43" fmla="*/ 3 h 115"/>
                  <a:gd name="T44" fmla="*/ 57 w 1495"/>
                  <a:gd name="T4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95" h="115">
                    <a:moveTo>
                      <a:pt x="57" y="0"/>
                    </a:moveTo>
                    <a:lnTo>
                      <a:pt x="1437" y="0"/>
                    </a:lnTo>
                    <a:lnTo>
                      <a:pt x="1455" y="3"/>
                    </a:lnTo>
                    <a:lnTo>
                      <a:pt x="1470" y="12"/>
                    </a:lnTo>
                    <a:lnTo>
                      <a:pt x="1483" y="24"/>
                    </a:lnTo>
                    <a:lnTo>
                      <a:pt x="1491" y="40"/>
                    </a:lnTo>
                    <a:lnTo>
                      <a:pt x="1495" y="58"/>
                    </a:lnTo>
                    <a:lnTo>
                      <a:pt x="1491" y="75"/>
                    </a:lnTo>
                    <a:lnTo>
                      <a:pt x="1483" y="91"/>
                    </a:lnTo>
                    <a:lnTo>
                      <a:pt x="1470" y="104"/>
                    </a:lnTo>
                    <a:lnTo>
                      <a:pt x="1455" y="112"/>
                    </a:lnTo>
                    <a:lnTo>
                      <a:pt x="1437" y="115"/>
                    </a:lnTo>
                    <a:lnTo>
                      <a:pt x="57" y="115"/>
                    </a:lnTo>
                    <a:lnTo>
                      <a:pt x="39" y="112"/>
                    </a:lnTo>
                    <a:lnTo>
                      <a:pt x="24" y="104"/>
                    </a:lnTo>
                    <a:lnTo>
                      <a:pt x="11" y="91"/>
                    </a:lnTo>
                    <a:lnTo>
                      <a:pt x="3" y="75"/>
                    </a:lnTo>
                    <a:lnTo>
                      <a:pt x="0" y="58"/>
                    </a:lnTo>
                    <a:lnTo>
                      <a:pt x="3" y="40"/>
                    </a:lnTo>
                    <a:lnTo>
                      <a:pt x="11" y="24"/>
                    </a:lnTo>
                    <a:lnTo>
                      <a:pt x="24" y="12"/>
                    </a:lnTo>
                    <a:lnTo>
                      <a:pt x="39" y="3"/>
                    </a:lnTo>
                    <a:lnTo>
                      <a:pt x="5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</p:grpSp>
        <p:sp>
          <p:nvSpPr>
            <p:cNvPr id="62" name="Freeform 714">
              <a:extLst>
                <a:ext uri="{FF2B5EF4-FFF2-40B4-BE49-F238E27FC236}">
                  <a16:creationId xmlns:a16="http://schemas.microsoft.com/office/drawing/2014/main" id="{C7F79CDC-F57C-B6D0-85CC-8758D252F3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84778" y="6019880"/>
              <a:ext cx="509666" cy="450709"/>
            </a:xfrm>
            <a:custGeom>
              <a:avLst/>
              <a:gdLst>
                <a:gd name="T0" fmla="*/ 1608 w 3450"/>
                <a:gd name="T1" fmla="*/ 520 h 3064"/>
                <a:gd name="T2" fmla="*/ 1814 w 3450"/>
                <a:gd name="T3" fmla="*/ 810 h 3064"/>
                <a:gd name="T4" fmla="*/ 3335 w 3450"/>
                <a:gd name="T5" fmla="*/ 810 h 3064"/>
                <a:gd name="T6" fmla="*/ 3335 w 3450"/>
                <a:gd name="T7" fmla="*/ 520 h 3064"/>
                <a:gd name="T8" fmla="*/ 1608 w 3450"/>
                <a:gd name="T9" fmla="*/ 520 h 3064"/>
                <a:gd name="T10" fmla="*/ 115 w 3450"/>
                <a:gd name="T11" fmla="*/ 116 h 3064"/>
                <a:gd name="T12" fmla="*/ 115 w 3450"/>
                <a:gd name="T13" fmla="*/ 2949 h 3064"/>
                <a:gd name="T14" fmla="*/ 3335 w 3450"/>
                <a:gd name="T15" fmla="*/ 2949 h 3064"/>
                <a:gd name="T16" fmla="*/ 3335 w 3450"/>
                <a:gd name="T17" fmla="*/ 925 h 3064"/>
                <a:gd name="T18" fmla="*/ 1783 w 3450"/>
                <a:gd name="T19" fmla="*/ 925 h 3064"/>
                <a:gd name="T20" fmla="*/ 1783 w 3450"/>
                <a:gd name="T21" fmla="*/ 923 h 3064"/>
                <a:gd name="T22" fmla="*/ 1769 w 3450"/>
                <a:gd name="T23" fmla="*/ 921 h 3064"/>
                <a:gd name="T24" fmla="*/ 1756 w 3450"/>
                <a:gd name="T25" fmla="*/ 917 h 3064"/>
                <a:gd name="T26" fmla="*/ 1745 w 3450"/>
                <a:gd name="T27" fmla="*/ 909 h 3064"/>
                <a:gd name="T28" fmla="*/ 1735 w 3450"/>
                <a:gd name="T29" fmla="*/ 899 h 3064"/>
                <a:gd name="T30" fmla="*/ 1466 w 3450"/>
                <a:gd name="T31" fmla="*/ 520 h 3064"/>
                <a:gd name="T32" fmla="*/ 1466 w 3450"/>
                <a:gd name="T33" fmla="*/ 520 h 3064"/>
                <a:gd name="T34" fmla="*/ 1178 w 3450"/>
                <a:gd name="T35" fmla="*/ 116 h 3064"/>
                <a:gd name="T36" fmla="*/ 115 w 3450"/>
                <a:gd name="T37" fmla="*/ 116 h 3064"/>
                <a:gd name="T38" fmla="*/ 0 w 3450"/>
                <a:gd name="T39" fmla="*/ 0 h 3064"/>
                <a:gd name="T40" fmla="*/ 1237 w 3450"/>
                <a:gd name="T41" fmla="*/ 0 h 3064"/>
                <a:gd name="T42" fmla="*/ 1260 w 3450"/>
                <a:gd name="T43" fmla="*/ 32 h 3064"/>
                <a:gd name="T44" fmla="*/ 1525 w 3450"/>
                <a:gd name="T45" fmla="*/ 405 h 3064"/>
                <a:gd name="T46" fmla="*/ 3450 w 3450"/>
                <a:gd name="T47" fmla="*/ 405 h 3064"/>
                <a:gd name="T48" fmla="*/ 3450 w 3450"/>
                <a:gd name="T49" fmla="*/ 3064 h 3064"/>
                <a:gd name="T50" fmla="*/ 0 w 3450"/>
                <a:gd name="T51" fmla="*/ 3064 h 3064"/>
                <a:gd name="T52" fmla="*/ 0 w 3450"/>
                <a:gd name="T53" fmla="*/ 0 h 3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450" h="3064">
                  <a:moveTo>
                    <a:pt x="1608" y="520"/>
                  </a:moveTo>
                  <a:lnTo>
                    <a:pt x="1814" y="810"/>
                  </a:lnTo>
                  <a:lnTo>
                    <a:pt x="3335" y="810"/>
                  </a:lnTo>
                  <a:lnTo>
                    <a:pt x="3335" y="520"/>
                  </a:lnTo>
                  <a:lnTo>
                    <a:pt x="1608" y="520"/>
                  </a:lnTo>
                  <a:close/>
                  <a:moveTo>
                    <a:pt x="115" y="116"/>
                  </a:moveTo>
                  <a:lnTo>
                    <a:pt x="115" y="2949"/>
                  </a:lnTo>
                  <a:lnTo>
                    <a:pt x="3335" y="2949"/>
                  </a:lnTo>
                  <a:lnTo>
                    <a:pt x="3335" y="925"/>
                  </a:lnTo>
                  <a:lnTo>
                    <a:pt x="1783" y="925"/>
                  </a:lnTo>
                  <a:lnTo>
                    <a:pt x="1783" y="923"/>
                  </a:lnTo>
                  <a:lnTo>
                    <a:pt x="1769" y="921"/>
                  </a:lnTo>
                  <a:lnTo>
                    <a:pt x="1756" y="917"/>
                  </a:lnTo>
                  <a:lnTo>
                    <a:pt x="1745" y="909"/>
                  </a:lnTo>
                  <a:lnTo>
                    <a:pt x="1735" y="899"/>
                  </a:lnTo>
                  <a:lnTo>
                    <a:pt x="1466" y="520"/>
                  </a:lnTo>
                  <a:lnTo>
                    <a:pt x="1466" y="520"/>
                  </a:lnTo>
                  <a:lnTo>
                    <a:pt x="1178" y="116"/>
                  </a:lnTo>
                  <a:lnTo>
                    <a:pt x="115" y="116"/>
                  </a:lnTo>
                  <a:close/>
                  <a:moveTo>
                    <a:pt x="0" y="0"/>
                  </a:moveTo>
                  <a:lnTo>
                    <a:pt x="1237" y="0"/>
                  </a:lnTo>
                  <a:lnTo>
                    <a:pt x="1260" y="32"/>
                  </a:lnTo>
                  <a:lnTo>
                    <a:pt x="1525" y="405"/>
                  </a:lnTo>
                  <a:lnTo>
                    <a:pt x="3450" y="405"/>
                  </a:lnTo>
                  <a:lnTo>
                    <a:pt x="3450" y="3064"/>
                  </a:lnTo>
                  <a:lnTo>
                    <a:pt x="0" y="306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63" name="Freeform 304">
              <a:extLst>
                <a:ext uri="{FF2B5EF4-FFF2-40B4-BE49-F238E27FC236}">
                  <a16:creationId xmlns:a16="http://schemas.microsoft.com/office/drawing/2014/main" id="{87A5D96F-1720-C6FD-C242-5B6D0080AF0C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9298" y="5580432"/>
              <a:ext cx="1495010" cy="321018"/>
            </a:xfrm>
            <a:custGeom>
              <a:avLst/>
              <a:gdLst>
                <a:gd name="T0" fmla="*/ 1318 w 2593"/>
                <a:gd name="T1" fmla="*/ 2 h 662"/>
                <a:gd name="T2" fmla="*/ 1349 w 2593"/>
                <a:gd name="T3" fmla="*/ 20 h 662"/>
                <a:gd name="T4" fmla="*/ 1367 w 2593"/>
                <a:gd name="T5" fmla="*/ 52 h 662"/>
                <a:gd name="T6" fmla="*/ 1369 w 2593"/>
                <a:gd name="T7" fmla="*/ 261 h 662"/>
                <a:gd name="T8" fmla="*/ 2542 w 2593"/>
                <a:gd name="T9" fmla="*/ 263 h 662"/>
                <a:gd name="T10" fmla="*/ 2573 w 2593"/>
                <a:gd name="T11" fmla="*/ 281 h 662"/>
                <a:gd name="T12" fmla="*/ 2591 w 2593"/>
                <a:gd name="T13" fmla="*/ 312 h 662"/>
                <a:gd name="T14" fmla="*/ 2593 w 2593"/>
                <a:gd name="T15" fmla="*/ 592 h 662"/>
                <a:gd name="T16" fmla="*/ 2584 w 2593"/>
                <a:gd name="T17" fmla="*/ 628 h 662"/>
                <a:gd name="T18" fmla="*/ 2559 w 2593"/>
                <a:gd name="T19" fmla="*/ 653 h 662"/>
                <a:gd name="T20" fmla="*/ 2523 w 2593"/>
                <a:gd name="T21" fmla="*/ 662 h 662"/>
                <a:gd name="T22" fmla="*/ 2488 w 2593"/>
                <a:gd name="T23" fmla="*/ 653 h 662"/>
                <a:gd name="T24" fmla="*/ 2463 w 2593"/>
                <a:gd name="T25" fmla="*/ 628 h 662"/>
                <a:gd name="T26" fmla="*/ 2454 w 2593"/>
                <a:gd name="T27" fmla="*/ 592 h 662"/>
                <a:gd name="T28" fmla="*/ 1369 w 2593"/>
                <a:gd name="T29" fmla="*/ 401 h 662"/>
                <a:gd name="T30" fmla="*/ 1367 w 2593"/>
                <a:gd name="T31" fmla="*/ 611 h 662"/>
                <a:gd name="T32" fmla="*/ 1349 w 2593"/>
                <a:gd name="T33" fmla="*/ 641 h 662"/>
                <a:gd name="T34" fmla="*/ 1318 w 2593"/>
                <a:gd name="T35" fmla="*/ 659 h 662"/>
                <a:gd name="T36" fmla="*/ 1281 w 2593"/>
                <a:gd name="T37" fmla="*/ 659 h 662"/>
                <a:gd name="T38" fmla="*/ 1250 w 2593"/>
                <a:gd name="T39" fmla="*/ 641 h 662"/>
                <a:gd name="T40" fmla="*/ 1232 w 2593"/>
                <a:gd name="T41" fmla="*/ 611 h 662"/>
                <a:gd name="T42" fmla="*/ 1230 w 2593"/>
                <a:gd name="T43" fmla="*/ 401 h 662"/>
                <a:gd name="T44" fmla="*/ 140 w 2593"/>
                <a:gd name="T45" fmla="*/ 592 h 662"/>
                <a:gd name="T46" fmla="*/ 131 w 2593"/>
                <a:gd name="T47" fmla="*/ 628 h 662"/>
                <a:gd name="T48" fmla="*/ 106 w 2593"/>
                <a:gd name="T49" fmla="*/ 653 h 662"/>
                <a:gd name="T50" fmla="*/ 71 w 2593"/>
                <a:gd name="T51" fmla="*/ 662 h 662"/>
                <a:gd name="T52" fmla="*/ 35 w 2593"/>
                <a:gd name="T53" fmla="*/ 653 h 662"/>
                <a:gd name="T54" fmla="*/ 10 w 2593"/>
                <a:gd name="T55" fmla="*/ 628 h 662"/>
                <a:gd name="T56" fmla="*/ 0 w 2593"/>
                <a:gd name="T57" fmla="*/ 592 h 662"/>
                <a:gd name="T58" fmla="*/ 2 w 2593"/>
                <a:gd name="T59" fmla="*/ 312 h 662"/>
                <a:gd name="T60" fmla="*/ 20 w 2593"/>
                <a:gd name="T61" fmla="*/ 281 h 662"/>
                <a:gd name="T62" fmla="*/ 52 w 2593"/>
                <a:gd name="T63" fmla="*/ 263 h 662"/>
                <a:gd name="T64" fmla="*/ 1230 w 2593"/>
                <a:gd name="T65" fmla="*/ 261 h 662"/>
                <a:gd name="T66" fmla="*/ 1232 w 2593"/>
                <a:gd name="T67" fmla="*/ 52 h 662"/>
                <a:gd name="T68" fmla="*/ 1250 w 2593"/>
                <a:gd name="T69" fmla="*/ 20 h 662"/>
                <a:gd name="T70" fmla="*/ 1281 w 2593"/>
                <a:gd name="T71" fmla="*/ 2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93" h="662">
                  <a:moveTo>
                    <a:pt x="1300" y="0"/>
                  </a:moveTo>
                  <a:lnTo>
                    <a:pt x="1318" y="2"/>
                  </a:lnTo>
                  <a:lnTo>
                    <a:pt x="1335" y="9"/>
                  </a:lnTo>
                  <a:lnTo>
                    <a:pt x="1349" y="20"/>
                  </a:lnTo>
                  <a:lnTo>
                    <a:pt x="1360" y="35"/>
                  </a:lnTo>
                  <a:lnTo>
                    <a:pt x="1367" y="52"/>
                  </a:lnTo>
                  <a:lnTo>
                    <a:pt x="1369" y="69"/>
                  </a:lnTo>
                  <a:lnTo>
                    <a:pt x="1369" y="261"/>
                  </a:lnTo>
                  <a:lnTo>
                    <a:pt x="2523" y="261"/>
                  </a:lnTo>
                  <a:lnTo>
                    <a:pt x="2542" y="263"/>
                  </a:lnTo>
                  <a:lnTo>
                    <a:pt x="2559" y="271"/>
                  </a:lnTo>
                  <a:lnTo>
                    <a:pt x="2573" y="281"/>
                  </a:lnTo>
                  <a:lnTo>
                    <a:pt x="2584" y="295"/>
                  </a:lnTo>
                  <a:lnTo>
                    <a:pt x="2591" y="312"/>
                  </a:lnTo>
                  <a:lnTo>
                    <a:pt x="2593" y="331"/>
                  </a:lnTo>
                  <a:lnTo>
                    <a:pt x="2593" y="592"/>
                  </a:lnTo>
                  <a:lnTo>
                    <a:pt x="2591" y="611"/>
                  </a:lnTo>
                  <a:lnTo>
                    <a:pt x="2584" y="628"/>
                  </a:lnTo>
                  <a:lnTo>
                    <a:pt x="2573" y="641"/>
                  </a:lnTo>
                  <a:lnTo>
                    <a:pt x="2559" y="653"/>
                  </a:lnTo>
                  <a:lnTo>
                    <a:pt x="2542" y="659"/>
                  </a:lnTo>
                  <a:lnTo>
                    <a:pt x="2523" y="662"/>
                  </a:lnTo>
                  <a:lnTo>
                    <a:pt x="2505" y="659"/>
                  </a:lnTo>
                  <a:lnTo>
                    <a:pt x="2488" y="653"/>
                  </a:lnTo>
                  <a:lnTo>
                    <a:pt x="2474" y="641"/>
                  </a:lnTo>
                  <a:lnTo>
                    <a:pt x="2463" y="628"/>
                  </a:lnTo>
                  <a:lnTo>
                    <a:pt x="2456" y="611"/>
                  </a:lnTo>
                  <a:lnTo>
                    <a:pt x="2454" y="592"/>
                  </a:lnTo>
                  <a:lnTo>
                    <a:pt x="2454" y="401"/>
                  </a:lnTo>
                  <a:lnTo>
                    <a:pt x="1369" y="401"/>
                  </a:lnTo>
                  <a:lnTo>
                    <a:pt x="1369" y="592"/>
                  </a:lnTo>
                  <a:lnTo>
                    <a:pt x="1367" y="611"/>
                  </a:lnTo>
                  <a:lnTo>
                    <a:pt x="1360" y="628"/>
                  </a:lnTo>
                  <a:lnTo>
                    <a:pt x="1349" y="641"/>
                  </a:lnTo>
                  <a:lnTo>
                    <a:pt x="1335" y="653"/>
                  </a:lnTo>
                  <a:lnTo>
                    <a:pt x="1318" y="659"/>
                  </a:lnTo>
                  <a:lnTo>
                    <a:pt x="1300" y="662"/>
                  </a:lnTo>
                  <a:lnTo>
                    <a:pt x="1281" y="659"/>
                  </a:lnTo>
                  <a:lnTo>
                    <a:pt x="1264" y="653"/>
                  </a:lnTo>
                  <a:lnTo>
                    <a:pt x="1250" y="641"/>
                  </a:lnTo>
                  <a:lnTo>
                    <a:pt x="1239" y="628"/>
                  </a:lnTo>
                  <a:lnTo>
                    <a:pt x="1232" y="611"/>
                  </a:lnTo>
                  <a:lnTo>
                    <a:pt x="1230" y="592"/>
                  </a:lnTo>
                  <a:lnTo>
                    <a:pt x="1230" y="401"/>
                  </a:lnTo>
                  <a:lnTo>
                    <a:pt x="140" y="401"/>
                  </a:lnTo>
                  <a:lnTo>
                    <a:pt x="140" y="592"/>
                  </a:lnTo>
                  <a:lnTo>
                    <a:pt x="138" y="611"/>
                  </a:lnTo>
                  <a:lnTo>
                    <a:pt x="131" y="628"/>
                  </a:lnTo>
                  <a:lnTo>
                    <a:pt x="120" y="641"/>
                  </a:lnTo>
                  <a:lnTo>
                    <a:pt x="106" y="653"/>
                  </a:lnTo>
                  <a:lnTo>
                    <a:pt x="89" y="659"/>
                  </a:lnTo>
                  <a:lnTo>
                    <a:pt x="71" y="662"/>
                  </a:lnTo>
                  <a:lnTo>
                    <a:pt x="52" y="659"/>
                  </a:lnTo>
                  <a:lnTo>
                    <a:pt x="35" y="653"/>
                  </a:lnTo>
                  <a:lnTo>
                    <a:pt x="20" y="641"/>
                  </a:lnTo>
                  <a:lnTo>
                    <a:pt x="10" y="628"/>
                  </a:lnTo>
                  <a:lnTo>
                    <a:pt x="2" y="611"/>
                  </a:lnTo>
                  <a:lnTo>
                    <a:pt x="0" y="592"/>
                  </a:lnTo>
                  <a:lnTo>
                    <a:pt x="0" y="331"/>
                  </a:lnTo>
                  <a:lnTo>
                    <a:pt x="2" y="312"/>
                  </a:lnTo>
                  <a:lnTo>
                    <a:pt x="10" y="295"/>
                  </a:lnTo>
                  <a:lnTo>
                    <a:pt x="20" y="281"/>
                  </a:lnTo>
                  <a:lnTo>
                    <a:pt x="35" y="271"/>
                  </a:lnTo>
                  <a:lnTo>
                    <a:pt x="52" y="263"/>
                  </a:lnTo>
                  <a:lnTo>
                    <a:pt x="71" y="261"/>
                  </a:lnTo>
                  <a:lnTo>
                    <a:pt x="1230" y="261"/>
                  </a:lnTo>
                  <a:lnTo>
                    <a:pt x="1230" y="69"/>
                  </a:lnTo>
                  <a:lnTo>
                    <a:pt x="1232" y="52"/>
                  </a:lnTo>
                  <a:lnTo>
                    <a:pt x="1239" y="35"/>
                  </a:lnTo>
                  <a:lnTo>
                    <a:pt x="1250" y="20"/>
                  </a:lnTo>
                  <a:lnTo>
                    <a:pt x="1264" y="9"/>
                  </a:lnTo>
                  <a:lnTo>
                    <a:pt x="1281" y="2"/>
                  </a:lnTo>
                  <a:lnTo>
                    <a:pt x="13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BFB11334-6FEC-60C3-C5E2-386A75616A30}"/>
              </a:ext>
            </a:extLst>
          </p:cNvPr>
          <p:cNvGrpSpPr/>
          <p:nvPr/>
        </p:nvGrpSpPr>
        <p:grpSpPr>
          <a:xfrm>
            <a:off x="798410" y="1505874"/>
            <a:ext cx="729095" cy="787649"/>
            <a:chOff x="3929312" y="-1430468"/>
            <a:chExt cx="729095" cy="787649"/>
          </a:xfrm>
        </p:grpSpPr>
        <p:grpSp>
          <p:nvGrpSpPr>
            <p:cNvPr id="91" name="Group 927">
              <a:extLst>
                <a:ext uri="{FF2B5EF4-FFF2-40B4-BE49-F238E27FC236}">
                  <a16:creationId xmlns:a16="http://schemas.microsoft.com/office/drawing/2014/main" id="{E06FD756-690C-D369-6C93-622EBE410081}"/>
                </a:ext>
              </a:extLst>
            </p:cNvPr>
            <p:cNvGrpSpPr/>
            <p:nvPr/>
          </p:nvGrpSpPr>
          <p:grpSpPr>
            <a:xfrm>
              <a:off x="3929312" y="-1430468"/>
              <a:ext cx="368301" cy="444501"/>
              <a:chOff x="7296150" y="4286250"/>
              <a:chExt cx="368301" cy="444501"/>
            </a:xfrm>
            <a:solidFill>
              <a:schemeClr val="bg1"/>
            </a:solidFill>
          </p:grpSpPr>
          <p:sp>
            <p:nvSpPr>
              <p:cNvPr id="92" name="Freeform 328">
                <a:extLst>
                  <a:ext uri="{FF2B5EF4-FFF2-40B4-BE49-F238E27FC236}">
                    <a16:creationId xmlns:a16="http://schemas.microsoft.com/office/drawing/2014/main" id="{9A6FA157-57D4-85BB-0A82-DB20ACC0F8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96150" y="4286250"/>
                <a:ext cx="304800" cy="381000"/>
              </a:xfrm>
              <a:custGeom>
                <a:avLst/>
                <a:gdLst>
                  <a:gd name="T0" fmla="*/ 675 w 2309"/>
                  <a:gd name="T1" fmla="*/ 331 h 2886"/>
                  <a:gd name="T2" fmla="*/ 346 w 2309"/>
                  <a:gd name="T3" fmla="*/ 681 h 2886"/>
                  <a:gd name="T4" fmla="*/ 675 w 2309"/>
                  <a:gd name="T5" fmla="*/ 681 h 2886"/>
                  <a:gd name="T6" fmla="*/ 675 w 2309"/>
                  <a:gd name="T7" fmla="*/ 331 h 2886"/>
                  <a:gd name="T8" fmla="*/ 853 w 2309"/>
                  <a:gd name="T9" fmla="*/ 180 h 2886"/>
                  <a:gd name="T10" fmla="*/ 853 w 2309"/>
                  <a:gd name="T11" fmla="*/ 862 h 2886"/>
                  <a:gd name="T12" fmla="*/ 179 w 2309"/>
                  <a:gd name="T13" fmla="*/ 862 h 2886"/>
                  <a:gd name="T14" fmla="*/ 179 w 2309"/>
                  <a:gd name="T15" fmla="*/ 2706 h 2886"/>
                  <a:gd name="T16" fmla="*/ 2130 w 2309"/>
                  <a:gd name="T17" fmla="*/ 2706 h 2886"/>
                  <a:gd name="T18" fmla="*/ 2130 w 2309"/>
                  <a:gd name="T19" fmla="*/ 180 h 2886"/>
                  <a:gd name="T20" fmla="*/ 853 w 2309"/>
                  <a:gd name="T21" fmla="*/ 180 h 2886"/>
                  <a:gd name="T22" fmla="*/ 740 w 2309"/>
                  <a:gd name="T23" fmla="*/ 0 h 2886"/>
                  <a:gd name="T24" fmla="*/ 2309 w 2309"/>
                  <a:gd name="T25" fmla="*/ 0 h 2886"/>
                  <a:gd name="T26" fmla="*/ 2309 w 2309"/>
                  <a:gd name="T27" fmla="*/ 2886 h 2886"/>
                  <a:gd name="T28" fmla="*/ 0 w 2309"/>
                  <a:gd name="T29" fmla="*/ 2886 h 2886"/>
                  <a:gd name="T30" fmla="*/ 0 w 2309"/>
                  <a:gd name="T31" fmla="*/ 789 h 2886"/>
                  <a:gd name="T32" fmla="*/ 740 w 2309"/>
                  <a:gd name="T33" fmla="*/ 0 h 2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09" h="2886">
                    <a:moveTo>
                      <a:pt x="675" y="331"/>
                    </a:moveTo>
                    <a:lnTo>
                      <a:pt x="346" y="681"/>
                    </a:lnTo>
                    <a:lnTo>
                      <a:pt x="675" y="681"/>
                    </a:lnTo>
                    <a:lnTo>
                      <a:pt x="675" y="331"/>
                    </a:lnTo>
                    <a:close/>
                    <a:moveTo>
                      <a:pt x="853" y="180"/>
                    </a:moveTo>
                    <a:lnTo>
                      <a:pt x="853" y="862"/>
                    </a:lnTo>
                    <a:lnTo>
                      <a:pt x="179" y="862"/>
                    </a:lnTo>
                    <a:lnTo>
                      <a:pt x="179" y="2706"/>
                    </a:lnTo>
                    <a:lnTo>
                      <a:pt x="2130" y="2706"/>
                    </a:lnTo>
                    <a:lnTo>
                      <a:pt x="2130" y="180"/>
                    </a:lnTo>
                    <a:lnTo>
                      <a:pt x="853" y="180"/>
                    </a:lnTo>
                    <a:close/>
                    <a:moveTo>
                      <a:pt x="740" y="0"/>
                    </a:moveTo>
                    <a:lnTo>
                      <a:pt x="2309" y="0"/>
                    </a:lnTo>
                    <a:lnTo>
                      <a:pt x="2309" y="2886"/>
                    </a:lnTo>
                    <a:lnTo>
                      <a:pt x="0" y="2886"/>
                    </a:lnTo>
                    <a:lnTo>
                      <a:pt x="0" y="789"/>
                    </a:lnTo>
                    <a:lnTo>
                      <a:pt x="74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329">
                <a:extLst>
                  <a:ext uri="{FF2B5EF4-FFF2-40B4-BE49-F238E27FC236}">
                    <a16:creationId xmlns:a16="http://schemas.microsoft.com/office/drawing/2014/main" id="{158BCC51-4B14-5F58-CBC4-529FE9CD4C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48538" y="4467225"/>
                <a:ext cx="200025" cy="26988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330">
                <a:extLst>
                  <a:ext uri="{FF2B5EF4-FFF2-40B4-BE49-F238E27FC236}">
                    <a16:creationId xmlns:a16="http://schemas.microsoft.com/office/drawing/2014/main" id="{1EBFD829-B367-BE1C-4862-93D121BF76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48538" y="4519613"/>
                <a:ext cx="200025" cy="26988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331">
                <a:extLst>
                  <a:ext uri="{FF2B5EF4-FFF2-40B4-BE49-F238E27FC236}">
                    <a16:creationId xmlns:a16="http://schemas.microsoft.com/office/drawing/2014/main" id="{F5105C09-03A0-9592-9D9C-A9EC753B1D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48538" y="4575175"/>
                <a:ext cx="200025" cy="26988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332">
                <a:extLst>
                  <a:ext uri="{FF2B5EF4-FFF2-40B4-BE49-F238E27FC236}">
                    <a16:creationId xmlns:a16="http://schemas.microsoft.com/office/drawing/2014/main" id="{68F5288A-2442-F060-57B9-173D5519A4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58063" y="4348163"/>
                <a:ext cx="306388" cy="382588"/>
              </a:xfrm>
              <a:custGeom>
                <a:avLst/>
                <a:gdLst>
                  <a:gd name="T0" fmla="*/ 1932 w 2309"/>
                  <a:gd name="T1" fmla="*/ 0 h 2887"/>
                  <a:gd name="T2" fmla="*/ 2309 w 2309"/>
                  <a:gd name="T3" fmla="*/ 0 h 2887"/>
                  <a:gd name="T4" fmla="*/ 2309 w 2309"/>
                  <a:gd name="T5" fmla="*/ 2887 h 2887"/>
                  <a:gd name="T6" fmla="*/ 0 w 2309"/>
                  <a:gd name="T7" fmla="*/ 2887 h 2887"/>
                  <a:gd name="T8" fmla="*/ 0 w 2309"/>
                  <a:gd name="T9" fmla="*/ 2510 h 2887"/>
                  <a:gd name="T10" fmla="*/ 179 w 2309"/>
                  <a:gd name="T11" fmla="*/ 2510 h 2887"/>
                  <a:gd name="T12" fmla="*/ 179 w 2309"/>
                  <a:gd name="T13" fmla="*/ 2707 h 2887"/>
                  <a:gd name="T14" fmla="*/ 2131 w 2309"/>
                  <a:gd name="T15" fmla="*/ 2707 h 2887"/>
                  <a:gd name="T16" fmla="*/ 2131 w 2309"/>
                  <a:gd name="T17" fmla="*/ 180 h 2887"/>
                  <a:gd name="T18" fmla="*/ 1932 w 2309"/>
                  <a:gd name="T19" fmla="*/ 180 h 2887"/>
                  <a:gd name="T20" fmla="*/ 1932 w 2309"/>
                  <a:gd name="T21" fmla="*/ 0 h 28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09" h="2887">
                    <a:moveTo>
                      <a:pt x="1932" y="0"/>
                    </a:moveTo>
                    <a:lnTo>
                      <a:pt x="2309" y="0"/>
                    </a:lnTo>
                    <a:lnTo>
                      <a:pt x="2309" y="2887"/>
                    </a:lnTo>
                    <a:lnTo>
                      <a:pt x="0" y="2887"/>
                    </a:lnTo>
                    <a:lnTo>
                      <a:pt x="0" y="2510"/>
                    </a:lnTo>
                    <a:lnTo>
                      <a:pt x="179" y="2510"/>
                    </a:lnTo>
                    <a:lnTo>
                      <a:pt x="179" y="2707"/>
                    </a:lnTo>
                    <a:lnTo>
                      <a:pt x="2131" y="2707"/>
                    </a:lnTo>
                    <a:lnTo>
                      <a:pt x="2131" y="180"/>
                    </a:lnTo>
                    <a:lnTo>
                      <a:pt x="1932" y="180"/>
                    </a:lnTo>
                    <a:lnTo>
                      <a:pt x="193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98" name="Grafik 97" descr="Zahnräder mit einfarbiger Füllung">
              <a:extLst>
                <a:ext uri="{FF2B5EF4-FFF2-40B4-BE49-F238E27FC236}">
                  <a16:creationId xmlns:a16="http://schemas.microsoft.com/office/drawing/2014/main" id="{4700D3BF-1293-701E-B114-126D56BEAEE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491407">
              <a:off x="4059920" y="-1241306"/>
              <a:ext cx="598487" cy="598487"/>
            </a:xfrm>
            <a:prstGeom prst="rect">
              <a:avLst/>
            </a:prstGeom>
          </p:spPr>
        </p:pic>
      </p:grpSp>
      <p:grpSp>
        <p:nvGrpSpPr>
          <p:cNvPr id="110" name="Gruppieren 109">
            <a:extLst>
              <a:ext uri="{FF2B5EF4-FFF2-40B4-BE49-F238E27FC236}">
                <a16:creationId xmlns:a16="http://schemas.microsoft.com/office/drawing/2014/main" id="{A965B982-7981-1CF2-05C5-163446AF4000}"/>
              </a:ext>
            </a:extLst>
          </p:cNvPr>
          <p:cNvGrpSpPr/>
          <p:nvPr/>
        </p:nvGrpSpPr>
        <p:grpSpPr>
          <a:xfrm>
            <a:off x="798410" y="5015436"/>
            <a:ext cx="583408" cy="595313"/>
            <a:chOff x="2492531" y="-1350740"/>
            <a:chExt cx="583408" cy="595313"/>
          </a:xfrm>
        </p:grpSpPr>
        <p:grpSp>
          <p:nvGrpSpPr>
            <p:cNvPr id="101" name="Group 927">
              <a:extLst>
                <a:ext uri="{FF2B5EF4-FFF2-40B4-BE49-F238E27FC236}">
                  <a16:creationId xmlns:a16="http://schemas.microsoft.com/office/drawing/2014/main" id="{CEB53FFF-C528-F03E-1341-34073B84A3AB}"/>
                </a:ext>
              </a:extLst>
            </p:cNvPr>
            <p:cNvGrpSpPr/>
            <p:nvPr/>
          </p:nvGrpSpPr>
          <p:grpSpPr>
            <a:xfrm>
              <a:off x="2492531" y="-1350740"/>
              <a:ext cx="368301" cy="444501"/>
              <a:chOff x="7296150" y="4286250"/>
              <a:chExt cx="368301" cy="444501"/>
            </a:xfrm>
            <a:solidFill>
              <a:schemeClr val="bg1"/>
            </a:solidFill>
          </p:grpSpPr>
          <p:sp>
            <p:nvSpPr>
              <p:cNvPr id="103" name="Freeform 328">
                <a:extLst>
                  <a:ext uri="{FF2B5EF4-FFF2-40B4-BE49-F238E27FC236}">
                    <a16:creationId xmlns:a16="http://schemas.microsoft.com/office/drawing/2014/main" id="{A90E40C1-7D66-5801-C468-2F588035E9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96150" y="4286250"/>
                <a:ext cx="304800" cy="381000"/>
              </a:xfrm>
              <a:custGeom>
                <a:avLst/>
                <a:gdLst>
                  <a:gd name="T0" fmla="*/ 675 w 2309"/>
                  <a:gd name="T1" fmla="*/ 331 h 2886"/>
                  <a:gd name="T2" fmla="*/ 346 w 2309"/>
                  <a:gd name="T3" fmla="*/ 681 h 2886"/>
                  <a:gd name="T4" fmla="*/ 675 w 2309"/>
                  <a:gd name="T5" fmla="*/ 681 h 2886"/>
                  <a:gd name="T6" fmla="*/ 675 w 2309"/>
                  <a:gd name="T7" fmla="*/ 331 h 2886"/>
                  <a:gd name="T8" fmla="*/ 853 w 2309"/>
                  <a:gd name="T9" fmla="*/ 180 h 2886"/>
                  <a:gd name="T10" fmla="*/ 853 w 2309"/>
                  <a:gd name="T11" fmla="*/ 862 h 2886"/>
                  <a:gd name="T12" fmla="*/ 179 w 2309"/>
                  <a:gd name="T13" fmla="*/ 862 h 2886"/>
                  <a:gd name="T14" fmla="*/ 179 w 2309"/>
                  <a:gd name="T15" fmla="*/ 2706 h 2886"/>
                  <a:gd name="T16" fmla="*/ 2130 w 2309"/>
                  <a:gd name="T17" fmla="*/ 2706 h 2886"/>
                  <a:gd name="T18" fmla="*/ 2130 w 2309"/>
                  <a:gd name="T19" fmla="*/ 180 h 2886"/>
                  <a:gd name="T20" fmla="*/ 853 w 2309"/>
                  <a:gd name="T21" fmla="*/ 180 h 2886"/>
                  <a:gd name="T22" fmla="*/ 740 w 2309"/>
                  <a:gd name="T23" fmla="*/ 0 h 2886"/>
                  <a:gd name="T24" fmla="*/ 2309 w 2309"/>
                  <a:gd name="T25" fmla="*/ 0 h 2886"/>
                  <a:gd name="T26" fmla="*/ 2309 w 2309"/>
                  <a:gd name="T27" fmla="*/ 2886 h 2886"/>
                  <a:gd name="T28" fmla="*/ 0 w 2309"/>
                  <a:gd name="T29" fmla="*/ 2886 h 2886"/>
                  <a:gd name="T30" fmla="*/ 0 w 2309"/>
                  <a:gd name="T31" fmla="*/ 789 h 2886"/>
                  <a:gd name="T32" fmla="*/ 740 w 2309"/>
                  <a:gd name="T33" fmla="*/ 0 h 2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09" h="2886">
                    <a:moveTo>
                      <a:pt x="675" y="331"/>
                    </a:moveTo>
                    <a:lnTo>
                      <a:pt x="346" y="681"/>
                    </a:lnTo>
                    <a:lnTo>
                      <a:pt x="675" y="681"/>
                    </a:lnTo>
                    <a:lnTo>
                      <a:pt x="675" y="331"/>
                    </a:lnTo>
                    <a:close/>
                    <a:moveTo>
                      <a:pt x="853" y="180"/>
                    </a:moveTo>
                    <a:lnTo>
                      <a:pt x="853" y="862"/>
                    </a:lnTo>
                    <a:lnTo>
                      <a:pt x="179" y="862"/>
                    </a:lnTo>
                    <a:lnTo>
                      <a:pt x="179" y="2706"/>
                    </a:lnTo>
                    <a:lnTo>
                      <a:pt x="2130" y="2706"/>
                    </a:lnTo>
                    <a:lnTo>
                      <a:pt x="2130" y="180"/>
                    </a:lnTo>
                    <a:lnTo>
                      <a:pt x="853" y="180"/>
                    </a:lnTo>
                    <a:close/>
                    <a:moveTo>
                      <a:pt x="740" y="0"/>
                    </a:moveTo>
                    <a:lnTo>
                      <a:pt x="2309" y="0"/>
                    </a:lnTo>
                    <a:lnTo>
                      <a:pt x="2309" y="2886"/>
                    </a:lnTo>
                    <a:lnTo>
                      <a:pt x="0" y="2886"/>
                    </a:lnTo>
                    <a:lnTo>
                      <a:pt x="0" y="789"/>
                    </a:lnTo>
                    <a:lnTo>
                      <a:pt x="74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329">
                <a:extLst>
                  <a:ext uri="{FF2B5EF4-FFF2-40B4-BE49-F238E27FC236}">
                    <a16:creationId xmlns:a16="http://schemas.microsoft.com/office/drawing/2014/main" id="{D3F11B2F-6817-479E-46C5-E9FB808A39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48538" y="4467225"/>
                <a:ext cx="200025" cy="26988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330">
                <a:extLst>
                  <a:ext uri="{FF2B5EF4-FFF2-40B4-BE49-F238E27FC236}">
                    <a16:creationId xmlns:a16="http://schemas.microsoft.com/office/drawing/2014/main" id="{C0F5A9C6-E516-1DCE-9278-5AC56EFC59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48538" y="4519613"/>
                <a:ext cx="200025" cy="26988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Rectangle 331">
                <a:extLst>
                  <a:ext uri="{FF2B5EF4-FFF2-40B4-BE49-F238E27FC236}">
                    <a16:creationId xmlns:a16="http://schemas.microsoft.com/office/drawing/2014/main" id="{56B2F1CD-875B-74BA-C09C-5F115AF305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48538" y="4575175"/>
                <a:ext cx="200025" cy="26988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332">
                <a:extLst>
                  <a:ext uri="{FF2B5EF4-FFF2-40B4-BE49-F238E27FC236}">
                    <a16:creationId xmlns:a16="http://schemas.microsoft.com/office/drawing/2014/main" id="{B7911A61-3DA9-7FAF-13C4-9E9286B3FB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58063" y="4348163"/>
                <a:ext cx="306388" cy="382588"/>
              </a:xfrm>
              <a:custGeom>
                <a:avLst/>
                <a:gdLst>
                  <a:gd name="T0" fmla="*/ 1932 w 2309"/>
                  <a:gd name="T1" fmla="*/ 0 h 2887"/>
                  <a:gd name="T2" fmla="*/ 2309 w 2309"/>
                  <a:gd name="T3" fmla="*/ 0 h 2887"/>
                  <a:gd name="T4" fmla="*/ 2309 w 2309"/>
                  <a:gd name="T5" fmla="*/ 2887 h 2887"/>
                  <a:gd name="T6" fmla="*/ 0 w 2309"/>
                  <a:gd name="T7" fmla="*/ 2887 h 2887"/>
                  <a:gd name="T8" fmla="*/ 0 w 2309"/>
                  <a:gd name="T9" fmla="*/ 2510 h 2887"/>
                  <a:gd name="T10" fmla="*/ 179 w 2309"/>
                  <a:gd name="T11" fmla="*/ 2510 h 2887"/>
                  <a:gd name="T12" fmla="*/ 179 w 2309"/>
                  <a:gd name="T13" fmla="*/ 2707 h 2887"/>
                  <a:gd name="T14" fmla="*/ 2131 w 2309"/>
                  <a:gd name="T15" fmla="*/ 2707 h 2887"/>
                  <a:gd name="T16" fmla="*/ 2131 w 2309"/>
                  <a:gd name="T17" fmla="*/ 180 h 2887"/>
                  <a:gd name="T18" fmla="*/ 1932 w 2309"/>
                  <a:gd name="T19" fmla="*/ 180 h 2887"/>
                  <a:gd name="T20" fmla="*/ 1932 w 2309"/>
                  <a:gd name="T21" fmla="*/ 0 h 28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09" h="2887">
                    <a:moveTo>
                      <a:pt x="1932" y="0"/>
                    </a:moveTo>
                    <a:lnTo>
                      <a:pt x="2309" y="0"/>
                    </a:lnTo>
                    <a:lnTo>
                      <a:pt x="2309" y="2887"/>
                    </a:lnTo>
                    <a:lnTo>
                      <a:pt x="0" y="2887"/>
                    </a:lnTo>
                    <a:lnTo>
                      <a:pt x="0" y="2510"/>
                    </a:lnTo>
                    <a:lnTo>
                      <a:pt x="179" y="2510"/>
                    </a:lnTo>
                    <a:lnTo>
                      <a:pt x="179" y="2707"/>
                    </a:lnTo>
                    <a:lnTo>
                      <a:pt x="2131" y="2707"/>
                    </a:lnTo>
                    <a:lnTo>
                      <a:pt x="2131" y="180"/>
                    </a:lnTo>
                    <a:lnTo>
                      <a:pt x="1932" y="180"/>
                    </a:lnTo>
                    <a:lnTo>
                      <a:pt x="193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109" name="Grafik 108" descr="Warnung mit einfarbiger Füllung">
              <a:extLst>
                <a:ext uri="{FF2B5EF4-FFF2-40B4-BE49-F238E27FC236}">
                  <a16:creationId xmlns:a16="http://schemas.microsoft.com/office/drawing/2014/main" id="{08C5C550-ACE4-1D78-F979-E453EC05561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769551" y="-1061815"/>
              <a:ext cx="306388" cy="306388"/>
            </a:xfrm>
            <a:prstGeom prst="rect">
              <a:avLst/>
            </a:prstGeom>
          </p:spPr>
        </p:pic>
      </p:grp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FA778B1F-4D87-5289-EBD2-36C19ACB0F0A}"/>
              </a:ext>
            </a:extLst>
          </p:cNvPr>
          <p:cNvGrpSpPr/>
          <p:nvPr/>
        </p:nvGrpSpPr>
        <p:grpSpPr>
          <a:xfrm>
            <a:off x="6438709" y="1419855"/>
            <a:ext cx="725046" cy="749888"/>
            <a:chOff x="4235459" y="-2412893"/>
            <a:chExt cx="2137266" cy="2137265"/>
          </a:xfrm>
        </p:grpSpPr>
        <p:grpSp>
          <p:nvGrpSpPr>
            <p:cNvPr id="113" name="Group 146">
              <a:extLst>
                <a:ext uri="{FF2B5EF4-FFF2-40B4-BE49-F238E27FC236}">
                  <a16:creationId xmlns:a16="http://schemas.microsoft.com/office/drawing/2014/main" id="{FAFB9788-6A33-B26A-B679-EE5C00FA04C9}"/>
                </a:ext>
              </a:extLst>
            </p:cNvPr>
            <p:cNvGrpSpPr/>
            <p:nvPr/>
          </p:nvGrpSpPr>
          <p:grpSpPr>
            <a:xfrm>
              <a:off x="5040382" y="-1516870"/>
              <a:ext cx="595254" cy="410640"/>
              <a:chOff x="1603045" y="4430713"/>
              <a:chExt cx="557213" cy="361949"/>
            </a:xfrm>
            <a:solidFill>
              <a:srgbClr val="063853"/>
            </a:solidFill>
          </p:grpSpPr>
          <p:sp>
            <p:nvSpPr>
              <p:cNvPr id="115" name="Freeform 272">
                <a:extLst>
                  <a:ext uri="{FF2B5EF4-FFF2-40B4-BE49-F238E27FC236}">
                    <a16:creationId xmlns:a16="http://schemas.microsoft.com/office/drawing/2014/main" id="{4F1895C0-EA76-796C-5B68-85BD7F532E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2258" y="4430713"/>
                <a:ext cx="458788" cy="173037"/>
              </a:xfrm>
              <a:custGeom>
                <a:avLst/>
                <a:gdLst>
                  <a:gd name="T0" fmla="*/ 1474 w 2892"/>
                  <a:gd name="T1" fmla="*/ 2 h 1090"/>
                  <a:gd name="T2" fmla="*/ 1517 w 2892"/>
                  <a:gd name="T3" fmla="*/ 23 h 1090"/>
                  <a:gd name="T4" fmla="*/ 1546 w 2892"/>
                  <a:gd name="T5" fmla="*/ 60 h 1090"/>
                  <a:gd name="T6" fmla="*/ 1557 w 2892"/>
                  <a:gd name="T7" fmla="*/ 107 h 1090"/>
                  <a:gd name="T8" fmla="*/ 2785 w 2892"/>
                  <a:gd name="T9" fmla="*/ 451 h 1090"/>
                  <a:gd name="T10" fmla="*/ 2833 w 2892"/>
                  <a:gd name="T11" fmla="*/ 463 h 1090"/>
                  <a:gd name="T12" fmla="*/ 2868 w 2892"/>
                  <a:gd name="T13" fmla="*/ 492 h 1090"/>
                  <a:gd name="T14" fmla="*/ 2890 w 2892"/>
                  <a:gd name="T15" fmla="*/ 534 h 1090"/>
                  <a:gd name="T16" fmla="*/ 2892 w 2892"/>
                  <a:gd name="T17" fmla="*/ 983 h 1090"/>
                  <a:gd name="T18" fmla="*/ 2881 w 2892"/>
                  <a:gd name="T19" fmla="*/ 1031 h 1090"/>
                  <a:gd name="T20" fmla="*/ 2852 w 2892"/>
                  <a:gd name="T21" fmla="*/ 1067 h 1090"/>
                  <a:gd name="T22" fmla="*/ 2810 w 2892"/>
                  <a:gd name="T23" fmla="*/ 1088 h 1090"/>
                  <a:gd name="T24" fmla="*/ 2760 w 2892"/>
                  <a:gd name="T25" fmla="*/ 1088 h 1090"/>
                  <a:gd name="T26" fmla="*/ 2718 w 2892"/>
                  <a:gd name="T27" fmla="*/ 1067 h 1090"/>
                  <a:gd name="T28" fmla="*/ 2689 w 2892"/>
                  <a:gd name="T29" fmla="*/ 1031 h 1090"/>
                  <a:gd name="T30" fmla="*/ 2677 w 2892"/>
                  <a:gd name="T31" fmla="*/ 983 h 1090"/>
                  <a:gd name="T32" fmla="*/ 1553 w 2892"/>
                  <a:gd name="T33" fmla="*/ 667 h 1090"/>
                  <a:gd name="T34" fmla="*/ 1551 w 2892"/>
                  <a:gd name="T35" fmla="*/ 1008 h 1090"/>
                  <a:gd name="T36" fmla="*/ 1530 w 2892"/>
                  <a:gd name="T37" fmla="*/ 1050 h 1090"/>
                  <a:gd name="T38" fmla="*/ 1494 w 2892"/>
                  <a:gd name="T39" fmla="*/ 1079 h 1090"/>
                  <a:gd name="T40" fmla="*/ 1446 w 2892"/>
                  <a:gd name="T41" fmla="*/ 1090 h 1090"/>
                  <a:gd name="T42" fmla="*/ 1399 w 2892"/>
                  <a:gd name="T43" fmla="*/ 1079 h 1090"/>
                  <a:gd name="T44" fmla="*/ 1362 w 2892"/>
                  <a:gd name="T45" fmla="*/ 1050 h 1090"/>
                  <a:gd name="T46" fmla="*/ 1341 w 2892"/>
                  <a:gd name="T47" fmla="*/ 1008 h 1090"/>
                  <a:gd name="T48" fmla="*/ 1339 w 2892"/>
                  <a:gd name="T49" fmla="*/ 667 h 1090"/>
                  <a:gd name="T50" fmla="*/ 215 w 2892"/>
                  <a:gd name="T51" fmla="*/ 983 h 1090"/>
                  <a:gd name="T52" fmla="*/ 204 w 2892"/>
                  <a:gd name="T53" fmla="*/ 1031 h 1090"/>
                  <a:gd name="T54" fmla="*/ 174 w 2892"/>
                  <a:gd name="T55" fmla="*/ 1067 h 1090"/>
                  <a:gd name="T56" fmla="*/ 132 w 2892"/>
                  <a:gd name="T57" fmla="*/ 1088 h 1090"/>
                  <a:gd name="T58" fmla="*/ 82 w 2892"/>
                  <a:gd name="T59" fmla="*/ 1088 h 1090"/>
                  <a:gd name="T60" fmla="*/ 40 w 2892"/>
                  <a:gd name="T61" fmla="*/ 1067 h 1090"/>
                  <a:gd name="T62" fmla="*/ 11 w 2892"/>
                  <a:gd name="T63" fmla="*/ 1031 h 1090"/>
                  <a:gd name="T64" fmla="*/ 0 w 2892"/>
                  <a:gd name="T65" fmla="*/ 983 h 1090"/>
                  <a:gd name="T66" fmla="*/ 2 w 2892"/>
                  <a:gd name="T67" fmla="*/ 534 h 1090"/>
                  <a:gd name="T68" fmla="*/ 24 w 2892"/>
                  <a:gd name="T69" fmla="*/ 492 h 1090"/>
                  <a:gd name="T70" fmla="*/ 61 w 2892"/>
                  <a:gd name="T71" fmla="*/ 463 h 1090"/>
                  <a:gd name="T72" fmla="*/ 107 w 2892"/>
                  <a:gd name="T73" fmla="*/ 451 h 1090"/>
                  <a:gd name="T74" fmla="*/ 1343 w 2892"/>
                  <a:gd name="T75" fmla="*/ 107 h 1090"/>
                  <a:gd name="T76" fmla="*/ 1353 w 2892"/>
                  <a:gd name="T77" fmla="*/ 60 h 1090"/>
                  <a:gd name="T78" fmla="*/ 1382 w 2892"/>
                  <a:gd name="T79" fmla="*/ 23 h 1090"/>
                  <a:gd name="T80" fmla="*/ 1426 w 2892"/>
                  <a:gd name="T81" fmla="*/ 2 h 10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892" h="1090">
                    <a:moveTo>
                      <a:pt x="1449" y="0"/>
                    </a:moveTo>
                    <a:lnTo>
                      <a:pt x="1474" y="2"/>
                    </a:lnTo>
                    <a:lnTo>
                      <a:pt x="1497" y="10"/>
                    </a:lnTo>
                    <a:lnTo>
                      <a:pt x="1517" y="23"/>
                    </a:lnTo>
                    <a:lnTo>
                      <a:pt x="1533" y="40"/>
                    </a:lnTo>
                    <a:lnTo>
                      <a:pt x="1546" y="60"/>
                    </a:lnTo>
                    <a:lnTo>
                      <a:pt x="1554" y="82"/>
                    </a:lnTo>
                    <a:lnTo>
                      <a:pt x="1557" y="107"/>
                    </a:lnTo>
                    <a:lnTo>
                      <a:pt x="1557" y="451"/>
                    </a:lnTo>
                    <a:lnTo>
                      <a:pt x="2785" y="451"/>
                    </a:lnTo>
                    <a:lnTo>
                      <a:pt x="2810" y="454"/>
                    </a:lnTo>
                    <a:lnTo>
                      <a:pt x="2833" y="463"/>
                    </a:lnTo>
                    <a:lnTo>
                      <a:pt x="2852" y="475"/>
                    </a:lnTo>
                    <a:lnTo>
                      <a:pt x="2868" y="492"/>
                    </a:lnTo>
                    <a:lnTo>
                      <a:pt x="2881" y="511"/>
                    </a:lnTo>
                    <a:lnTo>
                      <a:pt x="2890" y="534"/>
                    </a:lnTo>
                    <a:lnTo>
                      <a:pt x="2892" y="559"/>
                    </a:lnTo>
                    <a:lnTo>
                      <a:pt x="2892" y="983"/>
                    </a:lnTo>
                    <a:lnTo>
                      <a:pt x="2890" y="1008"/>
                    </a:lnTo>
                    <a:lnTo>
                      <a:pt x="2881" y="1031"/>
                    </a:lnTo>
                    <a:lnTo>
                      <a:pt x="2868" y="1050"/>
                    </a:lnTo>
                    <a:lnTo>
                      <a:pt x="2852" y="1067"/>
                    </a:lnTo>
                    <a:lnTo>
                      <a:pt x="2833" y="1079"/>
                    </a:lnTo>
                    <a:lnTo>
                      <a:pt x="2810" y="1088"/>
                    </a:lnTo>
                    <a:lnTo>
                      <a:pt x="2785" y="1090"/>
                    </a:lnTo>
                    <a:lnTo>
                      <a:pt x="2760" y="1088"/>
                    </a:lnTo>
                    <a:lnTo>
                      <a:pt x="2738" y="1079"/>
                    </a:lnTo>
                    <a:lnTo>
                      <a:pt x="2718" y="1067"/>
                    </a:lnTo>
                    <a:lnTo>
                      <a:pt x="2701" y="1050"/>
                    </a:lnTo>
                    <a:lnTo>
                      <a:pt x="2689" y="1031"/>
                    </a:lnTo>
                    <a:lnTo>
                      <a:pt x="2680" y="1008"/>
                    </a:lnTo>
                    <a:lnTo>
                      <a:pt x="2677" y="983"/>
                    </a:lnTo>
                    <a:lnTo>
                      <a:pt x="2677" y="667"/>
                    </a:lnTo>
                    <a:lnTo>
                      <a:pt x="1553" y="667"/>
                    </a:lnTo>
                    <a:lnTo>
                      <a:pt x="1553" y="983"/>
                    </a:lnTo>
                    <a:lnTo>
                      <a:pt x="1551" y="1008"/>
                    </a:lnTo>
                    <a:lnTo>
                      <a:pt x="1542" y="1031"/>
                    </a:lnTo>
                    <a:lnTo>
                      <a:pt x="1530" y="1050"/>
                    </a:lnTo>
                    <a:lnTo>
                      <a:pt x="1513" y="1067"/>
                    </a:lnTo>
                    <a:lnTo>
                      <a:pt x="1494" y="1079"/>
                    </a:lnTo>
                    <a:lnTo>
                      <a:pt x="1471" y="1088"/>
                    </a:lnTo>
                    <a:lnTo>
                      <a:pt x="1446" y="1090"/>
                    </a:lnTo>
                    <a:lnTo>
                      <a:pt x="1421" y="1088"/>
                    </a:lnTo>
                    <a:lnTo>
                      <a:pt x="1399" y="1079"/>
                    </a:lnTo>
                    <a:lnTo>
                      <a:pt x="1379" y="1067"/>
                    </a:lnTo>
                    <a:lnTo>
                      <a:pt x="1362" y="1050"/>
                    </a:lnTo>
                    <a:lnTo>
                      <a:pt x="1350" y="1031"/>
                    </a:lnTo>
                    <a:lnTo>
                      <a:pt x="1341" y="1008"/>
                    </a:lnTo>
                    <a:lnTo>
                      <a:pt x="1339" y="983"/>
                    </a:lnTo>
                    <a:lnTo>
                      <a:pt x="1339" y="667"/>
                    </a:lnTo>
                    <a:lnTo>
                      <a:pt x="215" y="667"/>
                    </a:lnTo>
                    <a:lnTo>
                      <a:pt x="215" y="983"/>
                    </a:lnTo>
                    <a:lnTo>
                      <a:pt x="212" y="1008"/>
                    </a:lnTo>
                    <a:lnTo>
                      <a:pt x="204" y="1031"/>
                    </a:lnTo>
                    <a:lnTo>
                      <a:pt x="191" y="1050"/>
                    </a:lnTo>
                    <a:lnTo>
                      <a:pt x="174" y="1067"/>
                    </a:lnTo>
                    <a:lnTo>
                      <a:pt x="155" y="1079"/>
                    </a:lnTo>
                    <a:lnTo>
                      <a:pt x="132" y="1088"/>
                    </a:lnTo>
                    <a:lnTo>
                      <a:pt x="107" y="1090"/>
                    </a:lnTo>
                    <a:lnTo>
                      <a:pt x="82" y="1088"/>
                    </a:lnTo>
                    <a:lnTo>
                      <a:pt x="61" y="1079"/>
                    </a:lnTo>
                    <a:lnTo>
                      <a:pt x="40" y="1067"/>
                    </a:lnTo>
                    <a:lnTo>
                      <a:pt x="24" y="1050"/>
                    </a:lnTo>
                    <a:lnTo>
                      <a:pt x="11" y="1031"/>
                    </a:lnTo>
                    <a:lnTo>
                      <a:pt x="2" y="1008"/>
                    </a:lnTo>
                    <a:lnTo>
                      <a:pt x="0" y="983"/>
                    </a:lnTo>
                    <a:lnTo>
                      <a:pt x="0" y="559"/>
                    </a:lnTo>
                    <a:lnTo>
                      <a:pt x="2" y="534"/>
                    </a:lnTo>
                    <a:lnTo>
                      <a:pt x="11" y="511"/>
                    </a:lnTo>
                    <a:lnTo>
                      <a:pt x="24" y="492"/>
                    </a:lnTo>
                    <a:lnTo>
                      <a:pt x="40" y="475"/>
                    </a:lnTo>
                    <a:lnTo>
                      <a:pt x="61" y="463"/>
                    </a:lnTo>
                    <a:lnTo>
                      <a:pt x="82" y="454"/>
                    </a:lnTo>
                    <a:lnTo>
                      <a:pt x="107" y="451"/>
                    </a:lnTo>
                    <a:lnTo>
                      <a:pt x="1343" y="451"/>
                    </a:lnTo>
                    <a:lnTo>
                      <a:pt x="1343" y="107"/>
                    </a:lnTo>
                    <a:lnTo>
                      <a:pt x="1346" y="82"/>
                    </a:lnTo>
                    <a:lnTo>
                      <a:pt x="1353" y="60"/>
                    </a:lnTo>
                    <a:lnTo>
                      <a:pt x="1366" y="40"/>
                    </a:lnTo>
                    <a:lnTo>
                      <a:pt x="1382" y="23"/>
                    </a:lnTo>
                    <a:lnTo>
                      <a:pt x="1403" y="10"/>
                    </a:lnTo>
                    <a:lnTo>
                      <a:pt x="1426" y="2"/>
                    </a:lnTo>
                    <a:lnTo>
                      <a:pt x="1449" y="0"/>
                    </a:ln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16" name="Freeform 273">
                <a:extLst>
                  <a:ext uri="{FF2B5EF4-FFF2-40B4-BE49-F238E27FC236}">
                    <a16:creationId xmlns:a16="http://schemas.microsoft.com/office/drawing/2014/main" id="{CF88967B-5A2D-4805-EC81-4BADB79DD8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7970" y="4629150"/>
                <a:ext cx="61913" cy="80962"/>
              </a:xfrm>
              <a:custGeom>
                <a:avLst/>
                <a:gdLst>
                  <a:gd name="T0" fmla="*/ 208 w 390"/>
                  <a:gd name="T1" fmla="*/ 0 h 503"/>
                  <a:gd name="T2" fmla="*/ 230 w 390"/>
                  <a:gd name="T3" fmla="*/ 3 h 503"/>
                  <a:gd name="T4" fmla="*/ 261 w 390"/>
                  <a:gd name="T5" fmla="*/ 9 h 503"/>
                  <a:gd name="T6" fmla="*/ 294 w 390"/>
                  <a:gd name="T7" fmla="*/ 23 h 503"/>
                  <a:gd name="T8" fmla="*/ 327 w 390"/>
                  <a:gd name="T9" fmla="*/ 47 h 503"/>
                  <a:gd name="T10" fmla="*/ 356 w 390"/>
                  <a:gd name="T11" fmla="*/ 83 h 503"/>
                  <a:gd name="T12" fmla="*/ 378 w 390"/>
                  <a:gd name="T13" fmla="*/ 133 h 503"/>
                  <a:gd name="T14" fmla="*/ 388 w 390"/>
                  <a:gd name="T15" fmla="*/ 199 h 503"/>
                  <a:gd name="T16" fmla="*/ 389 w 390"/>
                  <a:gd name="T17" fmla="*/ 207 h 503"/>
                  <a:gd name="T18" fmla="*/ 390 w 390"/>
                  <a:gd name="T19" fmla="*/ 230 h 503"/>
                  <a:gd name="T20" fmla="*/ 389 w 390"/>
                  <a:gd name="T21" fmla="*/ 264 h 503"/>
                  <a:gd name="T22" fmla="*/ 385 w 390"/>
                  <a:gd name="T23" fmla="*/ 305 h 503"/>
                  <a:gd name="T24" fmla="*/ 376 w 390"/>
                  <a:gd name="T25" fmla="*/ 350 h 503"/>
                  <a:gd name="T26" fmla="*/ 361 w 390"/>
                  <a:gd name="T27" fmla="*/ 394 h 503"/>
                  <a:gd name="T28" fmla="*/ 336 w 390"/>
                  <a:gd name="T29" fmla="*/ 436 h 503"/>
                  <a:gd name="T30" fmla="*/ 301 w 390"/>
                  <a:gd name="T31" fmla="*/ 470 h 503"/>
                  <a:gd name="T32" fmla="*/ 255 w 390"/>
                  <a:gd name="T33" fmla="*/ 493 h 503"/>
                  <a:gd name="T34" fmla="*/ 196 w 390"/>
                  <a:gd name="T35" fmla="*/ 503 h 503"/>
                  <a:gd name="T36" fmla="*/ 161 w 390"/>
                  <a:gd name="T37" fmla="*/ 499 h 503"/>
                  <a:gd name="T38" fmla="*/ 109 w 390"/>
                  <a:gd name="T39" fmla="*/ 483 h 503"/>
                  <a:gd name="T40" fmla="*/ 69 w 390"/>
                  <a:gd name="T41" fmla="*/ 454 h 503"/>
                  <a:gd name="T42" fmla="*/ 40 w 390"/>
                  <a:gd name="T43" fmla="*/ 416 h 503"/>
                  <a:gd name="T44" fmla="*/ 20 w 390"/>
                  <a:gd name="T45" fmla="*/ 373 h 503"/>
                  <a:gd name="T46" fmla="*/ 8 w 390"/>
                  <a:gd name="T47" fmla="*/ 327 h 503"/>
                  <a:gd name="T48" fmla="*/ 2 w 390"/>
                  <a:gd name="T49" fmla="*/ 284 h 503"/>
                  <a:gd name="T50" fmla="*/ 0 w 390"/>
                  <a:gd name="T51" fmla="*/ 246 h 503"/>
                  <a:gd name="T52" fmla="*/ 0 w 390"/>
                  <a:gd name="T53" fmla="*/ 217 h 503"/>
                  <a:gd name="T54" fmla="*/ 1 w 390"/>
                  <a:gd name="T55" fmla="*/ 201 h 503"/>
                  <a:gd name="T56" fmla="*/ 5 w 390"/>
                  <a:gd name="T57" fmla="*/ 164 h 503"/>
                  <a:gd name="T58" fmla="*/ 21 w 390"/>
                  <a:gd name="T59" fmla="*/ 106 h 503"/>
                  <a:gd name="T60" fmla="*/ 47 w 390"/>
                  <a:gd name="T61" fmla="*/ 65 h 503"/>
                  <a:gd name="T62" fmla="*/ 78 w 390"/>
                  <a:gd name="T63" fmla="*/ 35 h 503"/>
                  <a:gd name="T64" fmla="*/ 112 w 390"/>
                  <a:gd name="T65" fmla="*/ 16 h 503"/>
                  <a:gd name="T66" fmla="*/ 144 w 390"/>
                  <a:gd name="T67" fmla="*/ 6 h 503"/>
                  <a:gd name="T68" fmla="*/ 171 w 390"/>
                  <a:gd name="T69" fmla="*/ 2 h 503"/>
                  <a:gd name="T70" fmla="*/ 190 w 390"/>
                  <a:gd name="T71" fmla="*/ 0 h 503"/>
                  <a:gd name="T72" fmla="*/ 199 w 390"/>
                  <a:gd name="T73" fmla="*/ 0 h 5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90" h="503">
                    <a:moveTo>
                      <a:pt x="199" y="0"/>
                    </a:moveTo>
                    <a:lnTo>
                      <a:pt x="208" y="0"/>
                    </a:lnTo>
                    <a:lnTo>
                      <a:pt x="217" y="1"/>
                    </a:lnTo>
                    <a:lnTo>
                      <a:pt x="230" y="3"/>
                    </a:lnTo>
                    <a:lnTo>
                      <a:pt x="245" y="5"/>
                    </a:lnTo>
                    <a:lnTo>
                      <a:pt x="261" y="9"/>
                    </a:lnTo>
                    <a:lnTo>
                      <a:pt x="277" y="16"/>
                    </a:lnTo>
                    <a:lnTo>
                      <a:pt x="294" y="23"/>
                    </a:lnTo>
                    <a:lnTo>
                      <a:pt x="311" y="34"/>
                    </a:lnTo>
                    <a:lnTo>
                      <a:pt x="327" y="47"/>
                    </a:lnTo>
                    <a:lnTo>
                      <a:pt x="342" y="63"/>
                    </a:lnTo>
                    <a:lnTo>
                      <a:pt x="356" y="83"/>
                    </a:lnTo>
                    <a:lnTo>
                      <a:pt x="368" y="106"/>
                    </a:lnTo>
                    <a:lnTo>
                      <a:pt x="378" y="133"/>
                    </a:lnTo>
                    <a:lnTo>
                      <a:pt x="385" y="163"/>
                    </a:lnTo>
                    <a:lnTo>
                      <a:pt x="388" y="199"/>
                    </a:lnTo>
                    <a:lnTo>
                      <a:pt x="388" y="201"/>
                    </a:lnTo>
                    <a:lnTo>
                      <a:pt x="389" y="207"/>
                    </a:lnTo>
                    <a:lnTo>
                      <a:pt x="389" y="217"/>
                    </a:lnTo>
                    <a:lnTo>
                      <a:pt x="390" y="230"/>
                    </a:lnTo>
                    <a:lnTo>
                      <a:pt x="390" y="246"/>
                    </a:lnTo>
                    <a:lnTo>
                      <a:pt x="389" y="264"/>
                    </a:lnTo>
                    <a:lnTo>
                      <a:pt x="388" y="284"/>
                    </a:lnTo>
                    <a:lnTo>
                      <a:pt x="385" y="305"/>
                    </a:lnTo>
                    <a:lnTo>
                      <a:pt x="381" y="327"/>
                    </a:lnTo>
                    <a:lnTo>
                      <a:pt x="376" y="350"/>
                    </a:lnTo>
                    <a:lnTo>
                      <a:pt x="369" y="373"/>
                    </a:lnTo>
                    <a:lnTo>
                      <a:pt x="361" y="394"/>
                    </a:lnTo>
                    <a:lnTo>
                      <a:pt x="349" y="416"/>
                    </a:lnTo>
                    <a:lnTo>
                      <a:pt x="336" y="436"/>
                    </a:lnTo>
                    <a:lnTo>
                      <a:pt x="321" y="454"/>
                    </a:lnTo>
                    <a:lnTo>
                      <a:pt x="301" y="470"/>
                    </a:lnTo>
                    <a:lnTo>
                      <a:pt x="280" y="483"/>
                    </a:lnTo>
                    <a:lnTo>
                      <a:pt x="255" y="493"/>
                    </a:lnTo>
                    <a:lnTo>
                      <a:pt x="227" y="499"/>
                    </a:lnTo>
                    <a:lnTo>
                      <a:pt x="196" y="503"/>
                    </a:lnTo>
                    <a:lnTo>
                      <a:pt x="193" y="503"/>
                    </a:lnTo>
                    <a:lnTo>
                      <a:pt x="161" y="499"/>
                    </a:lnTo>
                    <a:lnTo>
                      <a:pt x="133" y="493"/>
                    </a:lnTo>
                    <a:lnTo>
                      <a:pt x="109" y="483"/>
                    </a:lnTo>
                    <a:lnTo>
                      <a:pt x="87" y="470"/>
                    </a:lnTo>
                    <a:lnTo>
                      <a:pt x="69" y="454"/>
                    </a:lnTo>
                    <a:lnTo>
                      <a:pt x="52" y="436"/>
                    </a:lnTo>
                    <a:lnTo>
                      <a:pt x="40" y="416"/>
                    </a:lnTo>
                    <a:lnTo>
                      <a:pt x="29" y="394"/>
                    </a:lnTo>
                    <a:lnTo>
                      <a:pt x="20" y="373"/>
                    </a:lnTo>
                    <a:lnTo>
                      <a:pt x="13" y="350"/>
                    </a:lnTo>
                    <a:lnTo>
                      <a:pt x="8" y="327"/>
                    </a:lnTo>
                    <a:lnTo>
                      <a:pt x="4" y="305"/>
                    </a:lnTo>
                    <a:lnTo>
                      <a:pt x="2" y="284"/>
                    </a:lnTo>
                    <a:lnTo>
                      <a:pt x="1" y="264"/>
                    </a:lnTo>
                    <a:lnTo>
                      <a:pt x="0" y="246"/>
                    </a:lnTo>
                    <a:lnTo>
                      <a:pt x="0" y="230"/>
                    </a:lnTo>
                    <a:lnTo>
                      <a:pt x="0" y="217"/>
                    </a:lnTo>
                    <a:lnTo>
                      <a:pt x="1" y="207"/>
                    </a:lnTo>
                    <a:lnTo>
                      <a:pt x="1" y="201"/>
                    </a:lnTo>
                    <a:lnTo>
                      <a:pt x="1" y="199"/>
                    </a:lnTo>
                    <a:lnTo>
                      <a:pt x="5" y="164"/>
                    </a:lnTo>
                    <a:lnTo>
                      <a:pt x="11" y="133"/>
                    </a:lnTo>
                    <a:lnTo>
                      <a:pt x="21" y="106"/>
                    </a:lnTo>
                    <a:lnTo>
                      <a:pt x="33" y="83"/>
                    </a:lnTo>
                    <a:lnTo>
                      <a:pt x="47" y="65"/>
                    </a:lnTo>
                    <a:lnTo>
                      <a:pt x="62" y="48"/>
                    </a:lnTo>
                    <a:lnTo>
                      <a:pt x="78" y="35"/>
                    </a:lnTo>
                    <a:lnTo>
                      <a:pt x="94" y="25"/>
                    </a:lnTo>
                    <a:lnTo>
                      <a:pt x="112" y="16"/>
                    </a:lnTo>
                    <a:lnTo>
                      <a:pt x="128" y="10"/>
                    </a:lnTo>
                    <a:lnTo>
                      <a:pt x="144" y="6"/>
                    </a:lnTo>
                    <a:lnTo>
                      <a:pt x="159" y="3"/>
                    </a:lnTo>
                    <a:lnTo>
                      <a:pt x="171" y="2"/>
                    </a:lnTo>
                    <a:lnTo>
                      <a:pt x="182" y="1"/>
                    </a:lnTo>
                    <a:lnTo>
                      <a:pt x="190" y="0"/>
                    </a:lnTo>
                    <a:lnTo>
                      <a:pt x="195" y="0"/>
                    </a:lnTo>
                    <a:lnTo>
                      <a:pt x="199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17" name="Freeform 274">
                <a:extLst>
                  <a:ext uri="{FF2B5EF4-FFF2-40B4-BE49-F238E27FC236}">
                    <a16:creationId xmlns:a16="http://schemas.microsoft.com/office/drawing/2014/main" id="{BA154617-1F23-98D0-A109-E1E15CE3CE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3045" y="4718050"/>
                <a:ext cx="130175" cy="74612"/>
              </a:xfrm>
              <a:custGeom>
                <a:avLst/>
                <a:gdLst>
                  <a:gd name="T0" fmla="*/ 412 w 823"/>
                  <a:gd name="T1" fmla="*/ 0 h 474"/>
                  <a:gd name="T2" fmla="*/ 421 w 823"/>
                  <a:gd name="T3" fmla="*/ 2 h 474"/>
                  <a:gd name="T4" fmla="*/ 437 w 823"/>
                  <a:gd name="T5" fmla="*/ 5 h 474"/>
                  <a:gd name="T6" fmla="*/ 452 w 823"/>
                  <a:gd name="T7" fmla="*/ 12 h 474"/>
                  <a:gd name="T8" fmla="*/ 462 w 823"/>
                  <a:gd name="T9" fmla="*/ 25 h 474"/>
                  <a:gd name="T10" fmla="*/ 466 w 823"/>
                  <a:gd name="T11" fmla="*/ 47 h 474"/>
                  <a:gd name="T12" fmla="*/ 457 w 823"/>
                  <a:gd name="T13" fmla="*/ 77 h 474"/>
                  <a:gd name="T14" fmla="*/ 432 w 823"/>
                  <a:gd name="T15" fmla="*/ 118 h 474"/>
                  <a:gd name="T16" fmla="*/ 556 w 823"/>
                  <a:gd name="T17" fmla="*/ 0 h 474"/>
                  <a:gd name="T18" fmla="*/ 565 w 823"/>
                  <a:gd name="T19" fmla="*/ 5 h 474"/>
                  <a:gd name="T20" fmla="*/ 590 w 823"/>
                  <a:gd name="T21" fmla="*/ 18 h 474"/>
                  <a:gd name="T22" fmla="*/ 626 w 823"/>
                  <a:gd name="T23" fmla="*/ 37 h 474"/>
                  <a:gd name="T24" fmla="*/ 669 w 823"/>
                  <a:gd name="T25" fmla="*/ 61 h 474"/>
                  <a:gd name="T26" fmla="*/ 718 w 823"/>
                  <a:gd name="T27" fmla="*/ 89 h 474"/>
                  <a:gd name="T28" fmla="*/ 766 w 823"/>
                  <a:gd name="T29" fmla="*/ 122 h 474"/>
                  <a:gd name="T30" fmla="*/ 800 w 823"/>
                  <a:gd name="T31" fmla="*/ 161 h 474"/>
                  <a:gd name="T32" fmla="*/ 817 w 823"/>
                  <a:gd name="T33" fmla="*/ 205 h 474"/>
                  <a:gd name="T34" fmla="*/ 823 w 823"/>
                  <a:gd name="T35" fmla="*/ 256 h 474"/>
                  <a:gd name="T36" fmla="*/ 0 w 823"/>
                  <a:gd name="T37" fmla="*/ 474 h 474"/>
                  <a:gd name="T38" fmla="*/ 2 w 823"/>
                  <a:gd name="T39" fmla="*/ 230 h 474"/>
                  <a:gd name="T40" fmla="*/ 12 w 823"/>
                  <a:gd name="T41" fmla="*/ 182 h 474"/>
                  <a:gd name="T42" fmla="*/ 37 w 823"/>
                  <a:gd name="T43" fmla="*/ 141 h 474"/>
                  <a:gd name="T44" fmla="*/ 81 w 823"/>
                  <a:gd name="T45" fmla="*/ 104 h 474"/>
                  <a:gd name="T46" fmla="*/ 129 w 823"/>
                  <a:gd name="T47" fmla="*/ 75 h 474"/>
                  <a:gd name="T48" fmla="*/ 176 w 823"/>
                  <a:gd name="T49" fmla="*/ 49 h 474"/>
                  <a:gd name="T50" fmla="*/ 216 w 823"/>
                  <a:gd name="T51" fmla="*/ 27 h 474"/>
                  <a:gd name="T52" fmla="*/ 247 w 823"/>
                  <a:gd name="T53" fmla="*/ 11 h 474"/>
                  <a:gd name="T54" fmla="*/ 264 w 823"/>
                  <a:gd name="T55" fmla="*/ 3 h 474"/>
                  <a:gd name="T56" fmla="*/ 344 w 823"/>
                  <a:gd name="T57" fmla="*/ 248 h 474"/>
                  <a:gd name="T58" fmla="*/ 375 w 823"/>
                  <a:gd name="T59" fmla="*/ 97 h 474"/>
                  <a:gd name="T60" fmla="*/ 359 w 823"/>
                  <a:gd name="T61" fmla="*/ 60 h 474"/>
                  <a:gd name="T62" fmla="*/ 357 w 823"/>
                  <a:gd name="T63" fmla="*/ 35 h 474"/>
                  <a:gd name="T64" fmla="*/ 364 w 823"/>
                  <a:gd name="T65" fmla="*/ 18 h 474"/>
                  <a:gd name="T66" fmla="*/ 378 w 823"/>
                  <a:gd name="T67" fmla="*/ 8 h 474"/>
                  <a:gd name="T68" fmla="*/ 393 w 823"/>
                  <a:gd name="T69" fmla="*/ 3 h 474"/>
                  <a:gd name="T70" fmla="*/ 406 w 823"/>
                  <a:gd name="T71" fmla="*/ 0 h 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23" h="474">
                    <a:moveTo>
                      <a:pt x="411" y="0"/>
                    </a:moveTo>
                    <a:lnTo>
                      <a:pt x="412" y="0"/>
                    </a:lnTo>
                    <a:lnTo>
                      <a:pt x="416" y="0"/>
                    </a:lnTo>
                    <a:lnTo>
                      <a:pt x="421" y="2"/>
                    </a:lnTo>
                    <a:lnTo>
                      <a:pt x="429" y="3"/>
                    </a:lnTo>
                    <a:lnTo>
                      <a:pt x="437" y="5"/>
                    </a:lnTo>
                    <a:lnTo>
                      <a:pt x="444" y="8"/>
                    </a:lnTo>
                    <a:lnTo>
                      <a:pt x="452" y="12"/>
                    </a:lnTo>
                    <a:lnTo>
                      <a:pt x="458" y="18"/>
                    </a:lnTo>
                    <a:lnTo>
                      <a:pt x="462" y="25"/>
                    </a:lnTo>
                    <a:lnTo>
                      <a:pt x="466" y="35"/>
                    </a:lnTo>
                    <a:lnTo>
                      <a:pt x="466" y="47"/>
                    </a:lnTo>
                    <a:lnTo>
                      <a:pt x="464" y="60"/>
                    </a:lnTo>
                    <a:lnTo>
                      <a:pt x="457" y="77"/>
                    </a:lnTo>
                    <a:lnTo>
                      <a:pt x="447" y="97"/>
                    </a:lnTo>
                    <a:lnTo>
                      <a:pt x="432" y="118"/>
                    </a:lnTo>
                    <a:lnTo>
                      <a:pt x="479" y="248"/>
                    </a:lnTo>
                    <a:lnTo>
                      <a:pt x="556" y="0"/>
                    </a:lnTo>
                    <a:lnTo>
                      <a:pt x="558" y="2"/>
                    </a:lnTo>
                    <a:lnTo>
                      <a:pt x="565" y="5"/>
                    </a:lnTo>
                    <a:lnTo>
                      <a:pt x="576" y="10"/>
                    </a:lnTo>
                    <a:lnTo>
                      <a:pt x="590" y="18"/>
                    </a:lnTo>
                    <a:lnTo>
                      <a:pt x="607" y="26"/>
                    </a:lnTo>
                    <a:lnTo>
                      <a:pt x="626" y="37"/>
                    </a:lnTo>
                    <a:lnTo>
                      <a:pt x="647" y="49"/>
                    </a:lnTo>
                    <a:lnTo>
                      <a:pt x="669" y="61"/>
                    </a:lnTo>
                    <a:lnTo>
                      <a:pt x="693" y="75"/>
                    </a:lnTo>
                    <a:lnTo>
                      <a:pt x="718" y="89"/>
                    </a:lnTo>
                    <a:lnTo>
                      <a:pt x="742" y="104"/>
                    </a:lnTo>
                    <a:lnTo>
                      <a:pt x="766" y="122"/>
                    </a:lnTo>
                    <a:lnTo>
                      <a:pt x="786" y="141"/>
                    </a:lnTo>
                    <a:lnTo>
                      <a:pt x="800" y="161"/>
                    </a:lnTo>
                    <a:lnTo>
                      <a:pt x="811" y="182"/>
                    </a:lnTo>
                    <a:lnTo>
                      <a:pt x="817" y="205"/>
                    </a:lnTo>
                    <a:lnTo>
                      <a:pt x="820" y="229"/>
                    </a:lnTo>
                    <a:lnTo>
                      <a:pt x="823" y="256"/>
                    </a:lnTo>
                    <a:lnTo>
                      <a:pt x="823" y="474"/>
                    </a:lnTo>
                    <a:lnTo>
                      <a:pt x="0" y="474"/>
                    </a:lnTo>
                    <a:lnTo>
                      <a:pt x="0" y="256"/>
                    </a:lnTo>
                    <a:lnTo>
                      <a:pt x="2" y="230"/>
                    </a:lnTo>
                    <a:lnTo>
                      <a:pt x="5" y="205"/>
                    </a:lnTo>
                    <a:lnTo>
                      <a:pt x="12" y="182"/>
                    </a:lnTo>
                    <a:lnTo>
                      <a:pt x="21" y="162"/>
                    </a:lnTo>
                    <a:lnTo>
                      <a:pt x="37" y="141"/>
                    </a:lnTo>
                    <a:lnTo>
                      <a:pt x="56" y="123"/>
                    </a:lnTo>
                    <a:lnTo>
                      <a:pt x="81" y="104"/>
                    </a:lnTo>
                    <a:lnTo>
                      <a:pt x="104" y="89"/>
                    </a:lnTo>
                    <a:lnTo>
                      <a:pt x="129" y="75"/>
                    </a:lnTo>
                    <a:lnTo>
                      <a:pt x="153" y="62"/>
                    </a:lnTo>
                    <a:lnTo>
                      <a:pt x="176" y="49"/>
                    </a:lnTo>
                    <a:lnTo>
                      <a:pt x="196" y="37"/>
                    </a:lnTo>
                    <a:lnTo>
                      <a:pt x="216" y="27"/>
                    </a:lnTo>
                    <a:lnTo>
                      <a:pt x="233" y="19"/>
                    </a:lnTo>
                    <a:lnTo>
                      <a:pt x="247" y="11"/>
                    </a:lnTo>
                    <a:lnTo>
                      <a:pt x="258" y="6"/>
                    </a:lnTo>
                    <a:lnTo>
                      <a:pt x="264" y="3"/>
                    </a:lnTo>
                    <a:lnTo>
                      <a:pt x="266" y="2"/>
                    </a:lnTo>
                    <a:lnTo>
                      <a:pt x="344" y="248"/>
                    </a:lnTo>
                    <a:lnTo>
                      <a:pt x="390" y="118"/>
                    </a:lnTo>
                    <a:lnTo>
                      <a:pt x="375" y="97"/>
                    </a:lnTo>
                    <a:lnTo>
                      <a:pt x="365" y="77"/>
                    </a:lnTo>
                    <a:lnTo>
                      <a:pt x="359" y="60"/>
                    </a:lnTo>
                    <a:lnTo>
                      <a:pt x="356" y="46"/>
                    </a:lnTo>
                    <a:lnTo>
                      <a:pt x="357" y="35"/>
                    </a:lnTo>
                    <a:lnTo>
                      <a:pt x="359" y="25"/>
                    </a:lnTo>
                    <a:lnTo>
                      <a:pt x="364" y="18"/>
                    </a:lnTo>
                    <a:lnTo>
                      <a:pt x="371" y="12"/>
                    </a:lnTo>
                    <a:lnTo>
                      <a:pt x="378" y="8"/>
                    </a:lnTo>
                    <a:lnTo>
                      <a:pt x="386" y="5"/>
                    </a:lnTo>
                    <a:lnTo>
                      <a:pt x="393" y="3"/>
                    </a:lnTo>
                    <a:lnTo>
                      <a:pt x="400" y="2"/>
                    </a:lnTo>
                    <a:lnTo>
                      <a:pt x="406" y="0"/>
                    </a:lnTo>
                    <a:lnTo>
                      <a:pt x="411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18" name="Freeform 275">
                <a:extLst>
                  <a:ext uri="{FF2B5EF4-FFF2-40B4-BE49-F238E27FC236}">
                    <a16:creationId xmlns:a16="http://schemas.microsoft.com/office/drawing/2014/main" id="{573F55A7-D482-57A0-108D-06243F6B27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0695" y="4629150"/>
                <a:ext cx="61913" cy="80962"/>
              </a:xfrm>
              <a:custGeom>
                <a:avLst/>
                <a:gdLst>
                  <a:gd name="T0" fmla="*/ 194 w 388"/>
                  <a:gd name="T1" fmla="*/ 0 h 503"/>
                  <a:gd name="T2" fmla="*/ 207 w 388"/>
                  <a:gd name="T3" fmla="*/ 0 h 503"/>
                  <a:gd name="T4" fmla="*/ 229 w 388"/>
                  <a:gd name="T5" fmla="*/ 3 h 503"/>
                  <a:gd name="T6" fmla="*/ 260 w 388"/>
                  <a:gd name="T7" fmla="*/ 9 h 503"/>
                  <a:gd name="T8" fmla="*/ 293 w 388"/>
                  <a:gd name="T9" fmla="*/ 23 h 503"/>
                  <a:gd name="T10" fmla="*/ 327 w 388"/>
                  <a:gd name="T11" fmla="*/ 47 h 503"/>
                  <a:gd name="T12" fmla="*/ 356 w 388"/>
                  <a:gd name="T13" fmla="*/ 83 h 503"/>
                  <a:gd name="T14" fmla="*/ 377 w 388"/>
                  <a:gd name="T15" fmla="*/ 133 h 503"/>
                  <a:gd name="T16" fmla="*/ 387 w 388"/>
                  <a:gd name="T17" fmla="*/ 199 h 503"/>
                  <a:gd name="T18" fmla="*/ 388 w 388"/>
                  <a:gd name="T19" fmla="*/ 207 h 503"/>
                  <a:gd name="T20" fmla="*/ 388 w 388"/>
                  <a:gd name="T21" fmla="*/ 230 h 503"/>
                  <a:gd name="T22" fmla="*/ 388 w 388"/>
                  <a:gd name="T23" fmla="*/ 264 h 503"/>
                  <a:gd name="T24" fmla="*/ 384 w 388"/>
                  <a:gd name="T25" fmla="*/ 305 h 503"/>
                  <a:gd name="T26" fmla="*/ 375 w 388"/>
                  <a:gd name="T27" fmla="*/ 350 h 503"/>
                  <a:gd name="T28" fmla="*/ 359 w 388"/>
                  <a:gd name="T29" fmla="*/ 394 h 503"/>
                  <a:gd name="T30" fmla="*/ 335 w 388"/>
                  <a:gd name="T31" fmla="*/ 436 h 503"/>
                  <a:gd name="T32" fmla="*/ 301 w 388"/>
                  <a:gd name="T33" fmla="*/ 470 h 503"/>
                  <a:gd name="T34" fmla="*/ 254 w 388"/>
                  <a:gd name="T35" fmla="*/ 493 h 503"/>
                  <a:gd name="T36" fmla="*/ 195 w 388"/>
                  <a:gd name="T37" fmla="*/ 503 h 503"/>
                  <a:gd name="T38" fmla="*/ 162 w 388"/>
                  <a:gd name="T39" fmla="*/ 499 h 503"/>
                  <a:gd name="T40" fmla="*/ 109 w 388"/>
                  <a:gd name="T41" fmla="*/ 483 h 503"/>
                  <a:gd name="T42" fmla="*/ 68 w 388"/>
                  <a:gd name="T43" fmla="*/ 454 h 503"/>
                  <a:gd name="T44" fmla="*/ 40 w 388"/>
                  <a:gd name="T45" fmla="*/ 415 h 503"/>
                  <a:gd name="T46" fmla="*/ 19 w 388"/>
                  <a:gd name="T47" fmla="*/ 372 h 503"/>
                  <a:gd name="T48" fmla="*/ 7 w 388"/>
                  <a:gd name="T49" fmla="*/ 327 h 503"/>
                  <a:gd name="T50" fmla="*/ 1 w 388"/>
                  <a:gd name="T51" fmla="*/ 284 h 503"/>
                  <a:gd name="T52" fmla="*/ 0 w 388"/>
                  <a:gd name="T53" fmla="*/ 246 h 503"/>
                  <a:gd name="T54" fmla="*/ 0 w 388"/>
                  <a:gd name="T55" fmla="*/ 217 h 503"/>
                  <a:gd name="T56" fmla="*/ 1 w 388"/>
                  <a:gd name="T57" fmla="*/ 201 h 503"/>
                  <a:gd name="T58" fmla="*/ 4 w 388"/>
                  <a:gd name="T59" fmla="*/ 163 h 503"/>
                  <a:gd name="T60" fmla="*/ 20 w 388"/>
                  <a:gd name="T61" fmla="*/ 106 h 503"/>
                  <a:gd name="T62" fmla="*/ 46 w 388"/>
                  <a:gd name="T63" fmla="*/ 63 h 503"/>
                  <a:gd name="T64" fmla="*/ 77 w 388"/>
                  <a:gd name="T65" fmla="*/ 34 h 503"/>
                  <a:gd name="T66" fmla="*/ 112 w 388"/>
                  <a:gd name="T67" fmla="*/ 16 h 503"/>
                  <a:gd name="T68" fmla="*/ 143 w 388"/>
                  <a:gd name="T69" fmla="*/ 5 h 503"/>
                  <a:gd name="T70" fmla="*/ 171 w 388"/>
                  <a:gd name="T71" fmla="*/ 1 h 503"/>
                  <a:gd name="T72" fmla="*/ 190 w 388"/>
                  <a:gd name="T73" fmla="*/ 0 h 5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88" h="503">
                    <a:moveTo>
                      <a:pt x="190" y="0"/>
                    </a:moveTo>
                    <a:lnTo>
                      <a:pt x="194" y="0"/>
                    </a:lnTo>
                    <a:lnTo>
                      <a:pt x="198" y="0"/>
                    </a:lnTo>
                    <a:lnTo>
                      <a:pt x="207" y="0"/>
                    </a:lnTo>
                    <a:lnTo>
                      <a:pt x="217" y="1"/>
                    </a:lnTo>
                    <a:lnTo>
                      <a:pt x="229" y="3"/>
                    </a:lnTo>
                    <a:lnTo>
                      <a:pt x="245" y="5"/>
                    </a:lnTo>
                    <a:lnTo>
                      <a:pt x="260" y="9"/>
                    </a:lnTo>
                    <a:lnTo>
                      <a:pt x="276" y="16"/>
                    </a:lnTo>
                    <a:lnTo>
                      <a:pt x="293" y="23"/>
                    </a:lnTo>
                    <a:lnTo>
                      <a:pt x="310" y="34"/>
                    </a:lnTo>
                    <a:lnTo>
                      <a:pt x="327" y="47"/>
                    </a:lnTo>
                    <a:lnTo>
                      <a:pt x="342" y="63"/>
                    </a:lnTo>
                    <a:lnTo>
                      <a:pt x="356" y="83"/>
                    </a:lnTo>
                    <a:lnTo>
                      <a:pt x="367" y="106"/>
                    </a:lnTo>
                    <a:lnTo>
                      <a:pt x="377" y="133"/>
                    </a:lnTo>
                    <a:lnTo>
                      <a:pt x="384" y="163"/>
                    </a:lnTo>
                    <a:lnTo>
                      <a:pt x="387" y="199"/>
                    </a:lnTo>
                    <a:lnTo>
                      <a:pt x="387" y="201"/>
                    </a:lnTo>
                    <a:lnTo>
                      <a:pt x="388" y="207"/>
                    </a:lnTo>
                    <a:lnTo>
                      <a:pt x="388" y="217"/>
                    </a:lnTo>
                    <a:lnTo>
                      <a:pt x="388" y="230"/>
                    </a:lnTo>
                    <a:lnTo>
                      <a:pt x="388" y="246"/>
                    </a:lnTo>
                    <a:lnTo>
                      <a:pt x="388" y="264"/>
                    </a:lnTo>
                    <a:lnTo>
                      <a:pt x="386" y="284"/>
                    </a:lnTo>
                    <a:lnTo>
                      <a:pt x="384" y="305"/>
                    </a:lnTo>
                    <a:lnTo>
                      <a:pt x="380" y="327"/>
                    </a:lnTo>
                    <a:lnTo>
                      <a:pt x="375" y="350"/>
                    </a:lnTo>
                    <a:lnTo>
                      <a:pt x="369" y="373"/>
                    </a:lnTo>
                    <a:lnTo>
                      <a:pt x="359" y="394"/>
                    </a:lnTo>
                    <a:lnTo>
                      <a:pt x="348" y="416"/>
                    </a:lnTo>
                    <a:lnTo>
                      <a:pt x="335" y="436"/>
                    </a:lnTo>
                    <a:lnTo>
                      <a:pt x="319" y="454"/>
                    </a:lnTo>
                    <a:lnTo>
                      <a:pt x="301" y="470"/>
                    </a:lnTo>
                    <a:lnTo>
                      <a:pt x="279" y="483"/>
                    </a:lnTo>
                    <a:lnTo>
                      <a:pt x="254" y="493"/>
                    </a:lnTo>
                    <a:lnTo>
                      <a:pt x="226" y="499"/>
                    </a:lnTo>
                    <a:lnTo>
                      <a:pt x="195" y="503"/>
                    </a:lnTo>
                    <a:lnTo>
                      <a:pt x="193" y="503"/>
                    </a:lnTo>
                    <a:lnTo>
                      <a:pt x="162" y="499"/>
                    </a:lnTo>
                    <a:lnTo>
                      <a:pt x="134" y="493"/>
                    </a:lnTo>
                    <a:lnTo>
                      <a:pt x="109" y="483"/>
                    </a:lnTo>
                    <a:lnTo>
                      <a:pt x="87" y="469"/>
                    </a:lnTo>
                    <a:lnTo>
                      <a:pt x="68" y="454"/>
                    </a:lnTo>
                    <a:lnTo>
                      <a:pt x="53" y="436"/>
                    </a:lnTo>
                    <a:lnTo>
                      <a:pt x="40" y="415"/>
                    </a:lnTo>
                    <a:lnTo>
                      <a:pt x="28" y="394"/>
                    </a:lnTo>
                    <a:lnTo>
                      <a:pt x="19" y="372"/>
                    </a:lnTo>
                    <a:lnTo>
                      <a:pt x="13" y="349"/>
                    </a:lnTo>
                    <a:lnTo>
                      <a:pt x="7" y="327"/>
                    </a:lnTo>
                    <a:lnTo>
                      <a:pt x="4" y="305"/>
                    </a:lnTo>
                    <a:lnTo>
                      <a:pt x="1" y="284"/>
                    </a:lnTo>
                    <a:lnTo>
                      <a:pt x="0" y="264"/>
                    </a:lnTo>
                    <a:lnTo>
                      <a:pt x="0" y="246"/>
                    </a:lnTo>
                    <a:lnTo>
                      <a:pt x="0" y="230"/>
                    </a:lnTo>
                    <a:lnTo>
                      <a:pt x="0" y="217"/>
                    </a:lnTo>
                    <a:lnTo>
                      <a:pt x="0" y="207"/>
                    </a:lnTo>
                    <a:lnTo>
                      <a:pt x="1" y="201"/>
                    </a:lnTo>
                    <a:lnTo>
                      <a:pt x="1" y="199"/>
                    </a:lnTo>
                    <a:lnTo>
                      <a:pt x="4" y="163"/>
                    </a:lnTo>
                    <a:lnTo>
                      <a:pt x="11" y="133"/>
                    </a:lnTo>
                    <a:lnTo>
                      <a:pt x="20" y="106"/>
                    </a:lnTo>
                    <a:lnTo>
                      <a:pt x="32" y="83"/>
                    </a:lnTo>
                    <a:lnTo>
                      <a:pt x="46" y="63"/>
                    </a:lnTo>
                    <a:lnTo>
                      <a:pt x="61" y="47"/>
                    </a:lnTo>
                    <a:lnTo>
                      <a:pt x="77" y="34"/>
                    </a:lnTo>
                    <a:lnTo>
                      <a:pt x="95" y="23"/>
                    </a:lnTo>
                    <a:lnTo>
                      <a:pt x="112" y="16"/>
                    </a:lnTo>
                    <a:lnTo>
                      <a:pt x="128" y="9"/>
                    </a:lnTo>
                    <a:lnTo>
                      <a:pt x="143" y="5"/>
                    </a:lnTo>
                    <a:lnTo>
                      <a:pt x="158" y="3"/>
                    </a:lnTo>
                    <a:lnTo>
                      <a:pt x="171" y="1"/>
                    </a:lnTo>
                    <a:lnTo>
                      <a:pt x="181" y="0"/>
                    </a:lnTo>
                    <a:lnTo>
                      <a:pt x="19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19" name="Freeform 276">
                <a:extLst>
                  <a:ext uri="{FF2B5EF4-FFF2-40B4-BE49-F238E27FC236}">
                    <a16:creationId xmlns:a16="http://schemas.microsoft.com/office/drawing/2014/main" id="{EC6B89AC-9279-D997-3F00-C50336BC47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5770" y="4718050"/>
                <a:ext cx="130175" cy="74612"/>
              </a:xfrm>
              <a:custGeom>
                <a:avLst/>
                <a:gdLst>
                  <a:gd name="T0" fmla="*/ 412 w 823"/>
                  <a:gd name="T1" fmla="*/ 0 h 474"/>
                  <a:gd name="T2" fmla="*/ 422 w 823"/>
                  <a:gd name="T3" fmla="*/ 0 h 474"/>
                  <a:gd name="T4" fmla="*/ 437 w 823"/>
                  <a:gd name="T5" fmla="*/ 4 h 474"/>
                  <a:gd name="T6" fmla="*/ 452 w 823"/>
                  <a:gd name="T7" fmla="*/ 11 h 474"/>
                  <a:gd name="T8" fmla="*/ 463 w 823"/>
                  <a:gd name="T9" fmla="*/ 24 h 474"/>
                  <a:gd name="T10" fmla="*/ 466 w 823"/>
                  <a:gd name="T11" fmla="*/ 46 h 474"/>
                  <a:gd name="T12" fmla="*/ 457 w 823"/>
                  <a:gd name="T13" fmla="*/ 76 h 474"/>
                  <a:gd name="T14" fmla="*/ 432 w 823"/>
                  <a:gd name="T15" fmla="*/ 118 h 474"/>
                  <a:gd name="T16" fmla="*/ 556 w 823"/>
                  <a:gd name="T17" fmla="*/ 0 h 474"/>
                  <a:gd name="T18" fmla="*/ 565 w 823"/>
                  <a:gd name="T19" fmla="*/ 5 h 474"/>
                  <a:gd name="T20" fmla="*/ 590 w 823"/>
                  <a:gd name="T21" fmla="*/ 18 h 474"/>
                  <a:gd name="T22" fmla="*/ 626 w 823"/>
                  <a:gd name="T23" fmla="*/ 37 h 474"/>
                  <a:gd name="T24" fmla="*/ 670 w 823"/>
                  <a:gd name="T25" fmla="*/ 61 h 474"/>
                  <a:gd name="T26" fmla="*/ 718 w 823"/>
                  <a:gd name="T27" fmla="*/ 89 h 474"/>
                  <a:gd name="T28" fmla="*/ 767 w 823"/>
                  <a:gd name="T29" fmla="*/ 122 h 474"/>
                  <a:gd name="T30" fmla="*/ 800 w 823"/>
                  <a:gd name="T31" fmla="*/ 161 h 474"/>
                  <a:gd name="T32" fmla="*/ 816 w 823"/>
                  <a:gd name="T33" fmla="*/ 204 h 474"/>
                  <a:gd name="T34" fmla="*/ 823 w 823"/>
                  <a:gd name="T35" fmla="*/ 255 h 474"/>
                  <a:gd name="T36" fmla="*/ 0 w 823"/>
                  <a:gd name="T37" fmla="*/ 474 h 474"/>
                  <a:gd name="T38" fmla="*/ 2 w 823"/>
                  <a:gd name="T39" fmla="*/ 229 h 474"/>
                  <a:gd name="T40" fmla="*/ 12 w 823"/>
                  <a:gd name="T41" fmla="*/ 181 h 474"/>
                  <a:gd name="T42" fmla="*/ 37 w 823"/>
                  <a:gd name="T43" fmla="*/ 141 h 474"/>
                  <a:gd name="T44" fmla="*/ 81 w 823"/>
                  <a:gd name="T45" fmla="*/ 104 h 474"/>
                  <a:gd name="T46" fmla="*/ 129 w 823"/>
                  <a:gd name="T47" fmla="*/ 74 h 474"/>
                  <a:gd name="T48" fmla="*/ 176 w 823"/>
                  <a:gd name="T49" fmla="*/ 48 h 474"/>
                  <a:gd name="T50" fmla="*/ 216 w 823"/>
                  <a:gd name="T51" fmla="*/ 26 h 474"/>
                  <a:gd name="T52" fmla="*/ 247 w 823"/>
                  <a:gd name="T53" fmla="*/ 10 h 474"/>
                  <a:gd name="T54" fmla="*/ 264 w 823"/>
                  <a:gd name="T55" fmla="*/ 2 h 474"/>
                  <a:gd name="T56" fmla="*/ 344 w 823"/>
                  <a:gd name="T57" fmla="*/ 248 h 474"/>
                  <a:gd name="T58" fmla="*/ 375 w 823"/>
                  <a:gd name="T59" fmla="*/ 96 h 474"/>
                  <a:gd name="T60" fmla="*/ 359 w 823"/>
                  <a:gd name="T61" fmla="*/ 60 h 474"/>
                  <a:gd name="T62" fmla="*/ 357 w 823"/>
                  <a:gd name="T63" fmla="*/ 34 h 474"/>
                  <a:gd name="T64" fmla="*/ 364 w 823"/>
                  <a:gd name="T65" fmla="*/ 17 h 474"/>
                  <a:gd name="T66" fmla="*/ 377 w 823"/>
                  <a:gd name="T67" fmla="*/ 7 h 474"/>
                  <a:gd name="T68" fmla="*/ 394 w 823"/>
                  <a:gd name="T69" fmla="*/ 2 h 474"/>
                  <a:gd name="T70" fmla="*/ 407 w 823"/>
                  <a:gd name="T71" fmla="*/ 0 h 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23" h="474">
                    <a:moveTo>
                      <a:pt x="411" y="0"/>
                    </a:moveTo>
                    <a:lnTo>
                      <a:pt x="412" y="0"/>
                    </a:lnTo>
                    <a:lnTo>
                      <a:pt x="416" y="0"/>
                    </a:lnTo>
                    <a:lnTo>
                      <a:pt x="422" y="0"/>
                    </a:lnTo>
                    <a:lnTo>
                      <a:pt x="429" y="3"/>
                    </a:lnTo>
                    <a:lnTo>
                      <a:pt x="437" y="4"/>
                    </a:lnTo>
                    <a:lnTo>
                      <a:pt x="444" y="7"/>
                    </a:lnTo>
                    <a:lnTo>
                      <a:pt x="452" y="11"/>
                    </a:lnTo>
                    <a:lnTo>
                      <a:pt x="457" y="18"/>
                    </a:lnTo>
                    <a:lnTo>
                      <a:pt x="463" y="24"/>
                    </a:lnTo>
                    <a:lnTo>
                      <a:pt x="466" y="34"/>
                    </a:lnTo>
                    <a:lnTo>
                      <a:pt x="466" y="46"/>
                    </a:lnTo>
                    <a:lnTo>
                      <a:pt x="464" y="60"/>
                    </a:lnTo>
                    <a:lnTo>
                      <a:pt x="457" y="76"/>
                    </a:lnTo>
                    <a:lnTo>
                      <a:pt x="447" y="96"/>
                    </a:lnTo>
                    <a:lnTo>
                      <a:pt x="432" y="118"/>
                    </a:lnTo>
                    <a:lnTo>
                      <a:pt x="479" y="248"/>
                    </a:lnTo>
                    <a:lnTo>
                      <a:pt x="556" y="0"/>
                    </a:lnTo>
                    <a:lnTo>
                      <a:pt x="559" y="2"/>
                    </a:lnTo>
                    <a:lnTo>
                      <a:pt x="565" y="5"/>
                    </a:lnTo>
                    <a:lnTo>
                      <a:pt x="576" y="10"/>
                    </a:lnTo>
                    <a:lnTo>
                      <a:pt x="590" y="18"/>
                    </a:lnTo>
                    <a:lnTo>
                      <a:pt x="607" y="26"/>
                    </a:lnTo>
                    <a:lnTo>
                      <a:pt x="626" y="37"/>
                    </a:lnTo>
                    <a:lnTo>
                      <a:pt x="647" y="49"/>
                    </a:lnTo>
                    <a:lnTo>
                      <a:pt x="670" y="61"/>
                    </a:lnTo>
                    <a:lnTo>
                      <a:pt x="693" y="75"/>
                    </a:lnTo>
                    <a:lnTo>
                      <a:pt x="718" y="89"/>
                    </a:lnTo>
                    <a:lnTo>
                      <a:pt x="742" y="104"/>
                    </a:lnTo>
                    <a:lnTo>
                      <a:pt x="767" y="122"/>
                    </a:lnTo>
                    <a:lnTo>
                      <a:pt x="786" y="141"/>
                    </a:lnTo>
                    <a:lnTo>
                      <a:pt x="800" y="161"/>
                    </a:lnTo>
                    <a:lnTo>
                      <a:pt x="810" y="181"/>
                    </a:lnTo>
                    <a:lnTo>
                      <a:pt x="816" y="204"/>
                    </a:lnTo>
                    <a:lnTo>
                      <a:pt x="821" y="229"/>
                    </a:lnTo>
                    <a:lnTo>
                      <a:pt x="823" y="255"/>
                    </a:lnTo>
                    <a:lnTo>
                      <a:pt x="823" y="474"/>
                    </a:lnTo>
                    <a:lnTo>
                      <a:pt x="0" y="474"/>
                    </a:lnTo>
                    <a:lnTo>
                      <a:pt x="0" y="255"/>
                    </a:lnTo>
                    <a:lnTo>
                      <a:pt x="2" y="229"/>
                    </a:lnTo>
                    <a:lnTo>
                      <a:pt x="5" y="204"/>
                    </a:lnTo>
                    <a:lnTo>
                      <a:pt x="12" y="181"/>
                    </a:lnTo>
                    <a:lnTo>
                      <a:pt x="22" y="161"/>
                    </a:lnTo>
                    <a:lnTo>
                      <a:pt x="37" y="141"/>
                    </a:lnTo>
                    <a:lnTo>
                      <a:pt x="56" y="122"/>
                    </a:lnTo>
                    <a:lnTo>
                      <a:pt x="81" y="104"/>
                    </a:lnTo>
                    <a:lnTo>
                      <a:pt x="105" y="89"/>
                    </a:lnTo>
                    <a:lnTo>
                      <a:pt x="129" y="74"/>
                    </a:lnTo>
                    <a:lnTo>
                      <a:pt x="153" y="61"/>
                    </a:lnTo>
                    <a:lnTo>
                      <a:pt x="176" y="48"/>
                    </a:lnTo>
                    <a:lnTo>
                      <a:pt x="196" y="37"/>
                    </a:lnTo>
                    <a:lnTo>
                      <a:pt x="216" y="26"/>
                    </a:lnTo>
                    <a:lnTo>
                      <a:pt x="233" y="18"/>
                    </a:lnTo>
                    <a:lnTo>
                      <a:pt x="247" y="10"/>
                    </a:lnTo>
                    <a:lnTo>
                      <a:pt x="258" y="5"/>
                    </a:lnTo>
                    <a:lnTo>
                      <a:pt x="264" y="2"/>
                    </a:lnTo>
                    <a:lnTo>
                      <a:pt x="266" y="0"/>
                    </a:lnTo>
                    <a:lnTo>
                      <a:pt x="344" y="248"/>
                    </a:lnTo>
                    <a:lnTo>
                      <a:pt x="389" y="118"/>
                    </a:lnTo>
                    <a:lnTo>
                      <a:pt x="375" y="96"/>
                    </a:lnTo>
                    <a:lnTo>
                      <a:pt x="364" y="76"/>
                    </a:lnTo>
                    <a:lnTo>
                      <a:pt x="359" y="60"/>
                    </a:lnTo>
                    <a:lnTo>
                      <a:pt x="356" y="46"/>
                    </a:lnTo>
                    <a:lnTo>
                      <a:pt x="357" y="34"/>
                    </a:lnTo>
                    <a:lnTo>
                      <a:pt x="359" y="24"/>
                    </a:lnTo>
                    <a:lnTo>
                      <a:pt x="364" y="17"/>
                    </a:lnTo>
                    <a:lnTo>
                      <a:pt x="371" y="11"/>
                    </a:lnTo>
                    <a:lnTo>
                      <a:pt x="377" y="7"/>
                    </a:lnTo>
                    <a:lnTo>
                      <a:pt x="386" y="4"/>
                    </a:lnTo>
                    <a:lnTo>
                      <a:pt x="394" y="2"/>
                    </a:lnTo>
                    <a:lnTo>
                      <a:pt x="400" y="0"/>
                    </a:lnTo>
                    <a:lnTo>
                      <a:pt x="407" y="0"/>
                    </a:lnTo>
                    <a:lnTo>
                      <a:pt x="411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20" name="Freeform 277">
                <a:extLst>
                  <a:ext uri="{FF2B5EF4-FFF2-40B4-BE49-F238E27FC236}">
                    <a16:creationId xmlns:a16="http://schemas.microsoft.com/office/drawing/2014/main" id="{1584F9EE-0F5C-FF31-70F9-5FC7851FC6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5008" y="4629150"/>
                <a:ext cx="61913" cy="80962"/>
              </a:xfrm>
              <a:custGeom>
                <a:avLst/>
                <a:gdLst>
                  <a:gd name="T0" fmla="*/ 195 w 391"/>
                  <a:gd name="T1" fmla="*/ 0 h 502"/>
                  <a:gd name="T2" fmla="*/ 207 w 391"/>
                  <a:gd name="T3" fmla="*/ 0 h 502"/>
                  <a:gd name="T4" fmla="*/ 230 w 391"/>
                  <a:gd name="T5" fmla="*/ 2 h 502"/>
                  <a:gd name="T6" fmla="*/ 261 w 391"/>
                  <a:gd name="T7" fmla="*/ 9 h 502"/>
                  <a:gd name="T8" fmla="*/ 294 w 391"/>
                  <a:gd name="T9" fmla="*/ 24 h 502"/>
                  <a:gd name="T10" fmla="*/ 327 w 391"/>
                  <a:gd name="T11" fmla="*/ 47 h 502"/>
                  <a:gd name="T12" fmla="*/ 356 w 391"/>
                  <a:gd name="T13" fmla="*/ 83 h 502"/>
                  <a:gd name="T14" fmla="*/ 378 w 391"/>
                  <a:gd name="T15" fmla="*/ 133 h 502"/>
                  <a:gd name="T16" fmla="*/ 389 w 391"/>
                  <a:gd name="T17" fmla="*/ 199 h 502"/>
                  <a:gd name="T18" fmla="*/ 390 w 391"/>
                  <a:gd name="T19" fmla="*/ 207 h 502"/>
                  <a:gd name="T20" fmla="*/ 391 w 391"/>
                  <a:gd name="T21" fmla="*/ 230 h 502"/>
                  <a:gd name="T22" fmla="*/ 390 w 391"/>
                  <a:gd name="T23" fmla="*/ 264 h 502"/>
                  <a:gd name="T24" fmla="*/ 386 w 391"/>
                  <a:gd name="T25" fmla="*/ 305 h 502"/>
                  <a:gd name="T26" fmla="*/ 377 w 391"/>
                  <a:gd name="T27" fmla="*/ 349 h 502"/>
                  <a:gd name="T28" fmla="*/ 362 w 391"/>
                  <a:gd name="T29" fmla="*/ 395 h 502"/>
                  <a:gd name="T30" fmla="*/ 337 w 391"/>
                  <a:gd name="T31" fmla="*/ 436 h 502"/>
                  <a:gd name="T32" fmla="*/ 303 w 391"/>
                  <a:gd name="T33" fmla="*/ 469 h 502"/>
                  <a:gd name="T34" fmla="*/ 256 w 391"/>
                  <a:gd name="T35" fmla="*/ 493 h 502"/>
                  <a:gd name="T36" fmla="*/ 197 w 391"/>
                  <a:gd name="T37" fmla="*/ 502 h 502"/>
                  <a:gd name="T38" fmla="*/ 162 w 391"/>
                  <a:gd name="T39" fmla="*/ 500 h 502"/>
                  <a:gd name="T40" fmla="*/ 109 w 391"/>
                  <a:gd name="T41" fmla="*/ 482 h 502"/>
                  <a:gd name="T42" fmla="*/ 69 w 391"/>
                  <a:gd name="T43" fmla="*/ 453 h 502"/>
                  <a:gd name="T44" fmla="*/ 40 w 391"/>
                  <a:gd name="T45" fmla="*/ 415 h 502"/>
                  <a:gd name="T46" fmla="*/ 20 w 391"/>
                  <a:gd name="T47" fmla="*/ 372 h 502"/>
                  <a:gd name="T48" fmla="*/ 8 w 391"/>
                  <a:gd name="T49" fmla="*/ 326 h 502"/>
                  <a:gd name="T50" fmla="*/ 2 w 391"/>
                  <a:gd name="T51" fmla="*/ 283 h 502"/>
                  <a:gd name="T52" fmla="*/ 0 w 391"/>
                  <a:gd name="T53" fmla="*/ 245 h 502"/>
                  <a:gd name="T54" fmla="*/ 1 w 391"/>
                  <a:gd name="T55" fmla="*/ 217 h 502"/>
                  <a:gd name="T56" fmla="*/ 2 w 391"/>
                  <a:gd name="T57" fmla="*/ 201 h 502"/>
                  <a:gd name="T58" fmla="*/ 5 w 391"/>
                  <a:gd name="T59" fmla="*/ 163 h 502"/>
                  <a:gd name="T60" fmla="*/ 21 w 391"/>
                  <a:gd name="T61" fmla="*/ 106 h 502"/>
                  <a:gd name="T62" fmla="*/ 47 w 391"/>
                  <a:gd name="T63" fmla="*/ 64 h 502"/>
                  <a:gd name="T64" fmla="*/ 78 w 391"/>
                  <a:gd name="T65" fmla="*/ 34 h 502"/>
                  <a:gd name="T66" fmla="*/ 112 w 391"/>
                  <a:gd name="T67" fmla="*/ 16 h 502"/>
                  <a:gd name="T68" fmla="*/ 144 w 391"/>
                  <a:gd name="T69" fmla="*/ 5 h 502"/>
                  <a:gd name="T70" fmla="*/ 171 w 391"/>
                  <a:gd name="T71" fmla="*/ 1 h 502"/>
                  <a:gd name="T72" fmla="*/ 189 w 391"/>
                  <a:gd name="T73" fmla="*/ 0 h 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91" h="502">
                    <a:moveTo>
                      <a:pt x="189" y="0"/>
                    </a:moveTo>
                    <a:lnTo>
                      <a:pt x="195" y="0"/>
                    </a:lnTo>
                    <a:lnTo>
                      <a:pt x="199" y="0"/>
                    </a:lnTo>
                    <a:lnTo>
                      <a:pt x="207" y="0"/>
                    </a:lnTo>
                    <a:lnTo>
                      <a:pt x="217" y="1"/>
                    </a:lnTo>
                    <a:lnTo>
                      <a:pt x="230" y="2"/>
                    </a:lnTo>
                    <a:lnTo>
                      <a:pt x="244" y="5"/>
                    </a:lnTo>
                    <a:lnTo>
                      <a:pt x="261" y="9"/>
                    </a:lnTo>
                    <a:lnTo>
                      <a:pt x="277" y="16"/>
                    </a:lnTo>
                    <a:lnTo>
                      <a:pt x="294" y="24"/>
                    </a:lnTo>
                    <a:lnTo>
                      <a:pt x="310" y="34"/>
                    </a:lnTo>
                    <a:lnTo>
                      <a:pt x="327" y="47"/>
                    </a:lnTo>
                    <a:lnTo>
                      <a:pt x="342" y="64"/>
                    </a:lnTo>
                    <a:lnTo>
                      <a:pt x="356" y="83"/>
                    </a:lnTo>
                    <a:lnTo>
                      <a:pt x="368" y="106"/>
                    </a:lnTo>
                    <a:lnTo>
                      <a:pt x="378" y="133"/>
                    </a:lnTo>
                    <a:lnTo>
                      <a:pt x="386" y="163"/>
                    </a:lnTo>
                    <a:lnTo>
                      <a:pt x="389" y="199"/>
                    </a:lnTo>
                    <a:lnTo>
                      <a:pt x="389" y="201"/>
                    </a:lnTo>
                    <a:lnTo>
                      <a:pt x="390" y="207"/>
                    </a:lnTo>
                    <a:lnTo>
                      <a:pt x="390" y="217"/>
                    </a:lnTo>
                    <a:lnTo>
                      <a:pt x="391" y="230"/>
                    </a:lnTo>
                    <a:lnTo>
                      <a:pt x="391" y="245"/>
                    </a:lnTo>
                    <a:lnTo>
                      <a:pt x="390" y="264"/>
                    </a:lnTo>
                    <a:lnTo>
                      <a:pt x="389" y="283"/>
                    </a:lnTo>
                    <a:lnTo>
                      <a:pt x="386" y="305"/>
                    </a:lnTo>
                    <a:lnTo>
                      <a:pt x="382" y="326"/>
                    </a:lnTo>
                    <a:lnTo>
                      <a:pt x="377" y="349"/>
                    </a:lnTo>
                    <a:lnTo>
                      <a:pt x="371" y="372"/>
                    </a:lnTo>
                    <a:lnTo>
                      <a:pt x="362" y="395"/>
                    </a:lnTo>
                    <a:lnTo>
                      <a:pt x="351" y="415"/>
                    </a:lnTo>
                    <a:lnTo>
                      <a:pt x="337" y="436"/>
                    </a:lnTo>
                    <a:lnTo>
                      <a:pt x="322" y="454"/>
                    </a:lnTo>
                    <a:lnTo>
                      <a:pt x="303" y="469"/>
                    </a:lnTo>
                    <a:lnTo>
                      <a:pt x="281" y="483"/>
                    </a:lnTo>
                    <a:lnTo>
                      <a:pt x="256" y="493"/>
                    </a:lnTo>
                    <a:lnTo>
                      <a:pt x="228" y="500"/>
                    </a:lnTo>
                    <a:lnTo>
                      <a:pt x="197" y="502"/>
                    </a:lnTo>
                    <a:lnTo>
                      <a:pt x="194" y="502"/>
                    </a:lnTo>
                    <a:lnTo>
                      <a:pt x="162" y="500"/>
                    </a:lnTo>
                    <a:lnTo>
                      <a:pt x="133" y="493"/>
                    </a:lnTo>
                    <a:lnTo>
                      <a:pt x="109" y="482"/>
                    </a:lnTo>
                    <a:lnTo>
                      <a:pt x="88" y="469"/>
                    </a:lnTo>
                    <a:lnTo>
                      <a:pt x="69" y="453"/>
                    </a:lnTo>
                    <a:lnTo>
                      <a:pt x="54" y="436"/>
                    </a:lnTo>
                    <a:lnTo>
                      <a:pt x="40" y="415"/>
                    </a:lnTo>
                    <a:lnTo>
                      <a:pt x="29" y="393"/>
                    </a:lnTo>
                    <a:lnTo>
                      <a:pt x="20" y="372"/>
                    </a:lnTo>
                    <a:lnTo>
                      <a:pt x="14" y="349"/>
                    </a:lnTo>
                    <a:lnTo>
                      <a:pt x="8" y="326"/>
                    </a:lnTo>
                    <a:lnTo>
                      <a:pt x="5" y="305"/>
                    </a:lnTo>
                    <a:lnTo>
                      <a:pt x="2" y="283"/>
                    </a:lnTo>
                    <a:lnTo>
                      <a:pt x="1" y="264"/>
                    </a:lnTo>
                    <a:lnTo>
                      <a:pt x="0" y="245"/>
                    </a:lnTo>
                    <a:lnTo>
                      <a:pt x="0" y="230"/>
                    </a:lnTo>
                    <a:lnTo>
                      <a:pt x="1" y="217"/>
                    </a:lnTo>
                    <a:lnTo>
                      <a:pt x="1" y="207"/>
                    </a:lnTo>
                    <a:lnTo>
                      <a:pt x="2" y="201"/>
                    </a:lnTo>
                    <a:lnTo>
                      <a:pt x="2" y="199"/>
                    </a:lnTo>
                    <a:lnTo>
                      <a:pt x="5" y="163"/>
                    </a:lnTo>
                    <a:lnTo>
                      <a:pt x="11" y="133"/>
                    </a:lnTo>
                    <a:lnTo>
                      <a:pt x="21" y="106"/>
                    </a:lnTo>
                    <a:lnTo>
                      <a:pt x="33" y="83"/>
                    </a:lnTo>
                    <a:lnTo>
                      <a:pt x="47" y="64"/>
                    </a:lnTo>
                    <a:lnTo>
                      <a:pt x="62" y="47"/>
                    </a:lnTo>
                    <a:lnTo>
                      <a:pt x="78" y="34"/>
                    </a:lnTo>
                    <a:lnTo>
                      <a:pt x="96" y="24"/>
                    </a:lnTo>
                    <a:lnTo>
                      <a:pt x="112" y="16"/>
                    </a:lnTo>
                    <a:lnTo>
                      <a:pt x="129" y="9"/>
                    </a:lnTo>
                    <a:lnTo>
                      <a:pt x="144" y="5"/>
                    </a:lnTo>
                    <a:lnTo>
                      <a:pt x="159" y="2"/>
                    </a:lnTo>
                    <a:lnTo>
                      <a:pt x="171" y="1"/>
                    </a:lnTo>
                    <a:lnTo>
                      <a:pt x="182" y="0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21" name="Freeform 278">
                <a:extLst>
                  <a:ext uri="{FF2B5EF4-FFF2-40B4-BE49-F238E27FC236}">
                    <a16:creationId xmlns:a16="http://schemas.microsoft.com/office/drawing/2014/main" id="{25564320-A005-378C-9CCA-B600BC3459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0083" y="4718050"/>
                <a:ext cx="130175" cy="74612"/>
              </a:xfrm>
              <a:custGeom>
                <a:avLst/>
                <a:gdLst>
                  <a:gd name="T0" fmla="*/ 412 w 823"/>
                  <a:gd name="T1" fmla="*/ 0 h 474"/>
                  <a:gd name="T2" fmla="*/ 421 w 823"/>
                  <a:gd name="T3" fmla="*/ 0 h 474"/>
                  <a:gd name="T4" fmla="*/ 437 w 823"/>
                  <a:gd name="T5" fmla="*/ 4 h 474"/>
                  <a:gd name="T6" fmla="*/ 451 w 823"/>
                  <a:gd name="T7" fmla="*/ 11 h 474"/>
                  <a:gd name="T8" fmla="*/ 462 w 823"/>
                  <a:gd name="T9" fmla="*/ 24 h 474"/>
                  <a:gd name="T10" fmla="*/ 466 w 823"/>
                  <a:gd name="T11" fmla="*/ 46 h 474"/>
                  <a:gd name="T12" fmla="*/ 457 w 823"/>
                  <a:gd name="T13" fmla="*/ 76 h 474"/>
                  <a:gd name="T14" fmla="*/ 432 w 823"/>
                  <a:gd name="T15" fmla="*/ 118 h 474"/>
                  <a:gd name="T16" fmla="*/ 555 w 823"/>
                  <a:gd name="T17" fmla="*/ 0 h 474"/>
                  <a:gd name="T18" fmla="*/ 565 w 823"/>
                  <a:gd name="T19" fmla="*/ 5 h 474"/>
                  <a:gd name="T20" fmla="*/ 590 w 823"/>
                  <a:gd name="T21" fmla="*/ 18 h 474"/>
                  <a:gd name="T22" fmla="*/ 625 w 823"/>
                  <a:gd name="T23" fmla="*/ 37 h 474"/>
                  <a:gd name="T24" fmla="*/ 669 w 823"/>
                  <a:gd name="T25" fmla="*/ 61 h 474"/>
                  <a:gd name="T26" fmla="*/ 717 w 823"/>
                  <a:gd name="T27" fmla="*/ 89 h 474"/>
                  <a:gd name="T28" fmla="*/ 766 w 823"/>
                  <a:gd name="T29" fmla="*/ 122 h 474"/>
                  <a:gd name="T30" fmla="*/ 800 w 823"/>
                  <a:gd name="T31" fmla="*/ 161 h 474"/>
                  <a:gd name="T32" fmla="*/ 816 w 823"/>
                  <a:gd name="T33" fmla="*/ 204 h 474"/>
                  <a:gd name="T34" fmla="*/ 821 w 823"/>
                  <a:gd name="T35" fmla="*/ 255 h 474"/>
                  <a:gd name="T36" fmla="*/ 823 w 823"/>
                  <a:gd name="T37" fmla="*/ 474 h 474"/>
                  <a:gd name="T38" fmla="*/ 0 w 823"/>
                  <a:gd name="T39" fmla="*/ 255 h 474"/>
                  <a:gd name="T40" fmla="*/ 5 w 823"/>
                  <a:gd name="T41" fmla="*/ 204 h 474"/>
                  <a:gd name="T42" fmla="*/ 22 w 823"/>
                  <a:gd name="T43" fmla="*/ 161 h 474"/>
                  <a:gd name="T44" fmla="*/ 55 w 823"/>
                  <a:gd name="T45" fmla="*/ 122 h 474"/>
                  <a:gd name="T46" fmla="*/ 105 w 823"/>
                  <a:gd name="T47" fmla="*/ 89 h 474"/>
                  <a:gd name="T48" fmla="*/ 152 w 823"/>
                  <a:gd name="T49" fmla="*/ 61 h 474"/>
                  <a:gd name="T50" fmla="*/ 196 w 823"/>
                  <a:gd name="T51" fmla="*/ 37 h 474"/>
                  <a:gd name="T52" fmla="*/ 233 w 823"/>
                  <a:gd name="T53" fmla="*/ 18 h 474"/>
                  <a:gd name="T54" fmla="*/ 257 w 823"/>
                  <a:gd name="T55" fmla="*/ 5 h 474"/>
                  <a:gd name="T56" fmla="*/ 266 w 823"/>
                  <a:gd name="T57" fmla="*/ 0 h 474"/>
                  <a:gd name="T58" fmla="*/ 389 w 823"/>
                  <a:gd name="T59" fmla="*/ 118 h 474"/>
                  <a:gd name="T60" fmla="*/ 364 w 823"/>
                  <a:gd name="T61" fmla="*/ 76 h 474"/>
                  <a:gd name="T62" fmla="*/ 356 w 823"/>
                  <a:gd name="T63" fmla="*/ 46 h 474"/>
                  <a:gd name="T64" fmla="*/ 359 w 823"/>
                  <a:gd name="T65" fmla="*/ 24 h 474"/>
                  <a:gd name="T66" fmla="*/ 370 w 823"/>
                  <a:gd name="T67" fmla="*/ 11 h 474"/>
                  <a:gd name="T68" fmla="*/ 385 w 823"/>
                  <a:gd name="T69" fmla="*/ 4 h 474"/>
                  <a:gd name="T70" fmla="*/ 400 w 823"/>
                  <a:gd name="T71" fmla="*/ 0 h 474"/>
                  <a:gd name="T72" fmla="*/ 410 w 823"/>
                  <a:gd name="T73" fmla="*/ 0 h 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823" h="474">
                    <a:moveTo>
                      <a:pt x="410" y="0"/>
                    </a:moveTo>
                    <a:lnTo>
                      <a:pt x="412" y="0"/>
                    </a:lnTo>
                    <a:lnTo>
                      <a:pt x="416" y="0"/>
                    </a:lnTo>
                    <a:lnTo>
                      <a:pt x="421" y="0"/>
                    </a:lnTo>
                    <a:lnTo>
                      <a:pt x="428" y="3"/>
                    </a:lnTo>
                    <a:lnTo>
                      <a:pt x="437" y="4"/>
                    </a:lnTo>
                    <a:lnTo>
                      <a:pt x="444" y="7"/>
                    </a:lnTo>
                    <a:lnTo>
                      <a:pt x="451" y="11"/>
                    </a:lnTo>
                    <a:lnTo>
                      <a:pt x="457" y="18"/>
                    </a:lnTo>
                    <a:lnTo>
                      <a:pt x="462" y="24"/>
                    </a:lnTo>
                    <a:lnTo>
                      <a:pt x="466" y="34"/>
                    </a:lnTo>
                    <a:lnTo>
                      <a:pt x="466" y="46"/>
                    </a:lnTo>
                    <a:lnTo>
                      <a:pt x="464" y="60"/>
                    </a:lnTo>
                    <a:lnTo>
                      <a:pt x="457" y="76"/>
                    </a:lnTo>
                    <a:lnTo>
                      <a:pt x="447" y="96"/>
                    </a:lnTo>
                    <a:lnTo>
                      <a:pt x="432" y="118"/>
                    </a:lnTo>
                    <a:lnTo>
                      <a:pt x="478" y="248"/>
                    </a:lnTo>
                    <a:lnTo>
                      <a:pt x="555" y="0"/>
                    </a:lnTo>
                    <a:lnTo>
                      <a:pt x="558" y="2"/>
                    </a:lnTo>
                    <a:lnTo>
                      <a:pt x="565" y="5"/>
                    </a:lnTo>
                    <a:lnTo>
                      <a:pt x="576" y="10"/>
                    </a:lnTo>
                    <a:lnTo>
                      <a:pt x="590" y="18"/>
                    </a:lnTo>
                    <a:lnTo>
                      <a:pt x="606" y="26"/>
                    </a:lnTo>
                    <a:lnTo>
                      <a:pt x="625" y="37"/>
                    </a:lnTo>
                    <a:lnTo>
                      <a:pt x="647" y="49"/>
                    </a:lnTo>
                    <a:lnTo>
                      <a:pt x="669" y="61"/>
                    </a:lnTo>
                    <a:lnTo>
                      <a:pt x="693" y="75"/>
                    </a:lnTo>
                    <a:lnTo>
                      <a:pt x="717" y="89"/>
                    </a:lnTo>
                    <a:lnTo>
                      <a:pt x="742" y="104"/>
                    </a:lnTo>
                    <a:lnTo>
                      <a:pt x="766" y="122"/>
                    </a:lnTo>
                    <a:lnTo>
                      <a:pt x="786" y="141"/>
                    </a:lnTo>
                    <a:lnTo>
                      <a:pt x="800" y="161"/>
                    </a:lnTo>
                    <a:lnTo>
                      <a:pt x="810" y="181"/>
                    </a:lnTo>
                    <a:lnTo>
                      <a:pt x="816" y="204"/>
                    </a:lnTo>
                    <a:lnTo>
                      <a:pt x="820" y="229"/>
                    </a:lnTo>
                    <a:lnTo>
                      <a:pt x="821" y="255"/>
                    </a:lnTo>
                    <a:lnTo>
                      <a:pt x="823" y="295"/>
                    </a:lnTo>
                    <a:lnTo>
                      <a:pt x="823" y="474"/>
                    </a:lnTo>
                    <a:lnTo>
                      <a:pt x="0" y="474"/>
                    </a:lnTo>
                    <a:lnTo>
                      <a:pt x="0" y="255"/>
                    </a:lnTo>
                    <a:lnTo>
                      <a:pt x="1" y="229"/>
                    </a:lnTo>
                    <a:lnTo>
                      <a:pt x="5" y="204"/>
                    </a:lnTo>
                    <a:lnTo>
                      <a:pt x="12" y="181"/>
                    </a:lnTo>
                    <a:lnTo>
                      <a:pt x="22" y="161"/>
                    </a:lnTo>
                    <a:lnTo>
                      <a:pt x="36" y="141"/>
                    </a:lnTo>
                    <a:lnTo>
                      <a:pt x="55" y="122"/>
                    </a:lnTo>
                    <a:lnTo>
                      <a:pt x="81" y="104"/>
                    </a:lnTo>
                    <a:lnTo>
                      <a:pt x="105" y="89"/>
                    </a:lnTo>
                    <a:lnTo>
                      <a:pt x="128" y="74"/>
                    </a:lnTo>
                    <a:lnTo>
                      <a:pt x="152" y="61"/>
                    </a:lnTo>
                    <a:lnTo>
                      <a:pt x="175" y="48"/>
                    </a:lnTo>
                    <a:lnTo>
                      <a:pt x="196" y="37"/>
                    </a:lnTo>
                    <a:lnTo>
                      <a:pt x="216" y="26"/>
                    </a:lnTo>
                    <a:lnTo>
                      <a:pt x="233" y="18"/>
                    </a:lnTo>
                    <a:lnTo>
                      <a:pt x="246" y="10"/>
                    </a:lnTo>
                    <a:lnTo>
                      <a:pt x="257" y="5"/>
                    </a:lnTo>
                    <a:lnTo>
                      <a:pt x="263" y="2"/>
                    </a:lnTo>
                    <a:lnTo>
                      <a:pt x="266" y="0"/>
                    </a:lnTo>
                    <a:lnTo>
                      <a:pt x="344" y="248"/>
                    </a:lnTo>
                    <a:lnTo>
                      <a:pt x="389" y="118"/>
                    </a:lnTo>
                    <a:lnTo>
                      <a:pt x="375" y="96"/>
                    </a:lnTo>
                    <a:lnTo>
                      <a:pt x="364" y="76"/>
                    </a:lnTo>
                    <a:lnTo>
                      <a:pt x="359" y="60"/>
                    </a:lnTo>
                    <a:lnTo>
                      <a:pt x="356" y="46"/>
                    </a:lnTo>
                    <a:lnTo>
                      <a:pt x="356" y="34"/>
                    </a:lnTo>
                    <a:lnTo>
                      <a:pt x="359" y="24"/>
                    </a:lnTo>
                    <a:lnTo>
                      <a:pt x="364" y="17"/>
                    </a:lnTo>
                    <a:lnTo>
                      <a:pt x="370" y="11"/>
                    </a:lnTo>
                    <a:lnTo>
                      <a:pt x="377" y="7"/>
                    </a:lnTo>
                    <a:lnTo>
                      <a:pt x="385" y="4"/>
                    </a:lnTo>
                    <a:lnTo>
                      <a:pt x="392" y="2"/>
                    </a:lnTo>
                    <a:lnTo>
                      <a:pt x="400" y="0"/>
                    </a:lnTo>
                    <a:lnTo>
                      <a:pt x="405" y="0"/>
                    </a:lnTo>
                    <a:lnTo>
                      <a:pt x="41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</p:grpSp>
        <p:pic>
          <p:nvPicPr>
            <p:cNvPr id="122" name="Grafik 121" descr="Laptop Silhouette">
              <a:extLst>
                <a:ext uri="{FF2B5EF4-FFF2-40B4-BE49-F238E27FC236}">
                  <a16:creationId xmlns:a16="http://schemas.microsoft.com/office/drawing/2014/main" id="{BB0EAF65-CDAD-F252-7F9E-BD852AB9510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235459" y="-2412893"/>
              <a:ext cx="2137266" cy="2137265"/>
            </a:xfrm>
            <a:prstGeom prst="rect">
              <a:avLst/>
            </a:prstGeom>
          </p:spPr>
        </p:pic>
        <p:sp>
          <p:nvSpPr>
            <p:cNvPr id="123" name="Freeform 274">
              <a:extLst>
                <a:ext uri="{FF2B5EF4-FFF2-40B4-BE49-F238E27FC236}">
                  <a16:creationId xmlns:a16="http://schemas.microsoft.com/office/drawing/2014/main" id="{48CCC1BB-9A79-B91C-4EDC-60128932C1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7631" y="-1623794"/>
              <a:ext cx="139062" cy="84649"/>
            </a:xfrm>
            <a:custGeom>
              <a:avLst/>
              <a:gdLst>
                <a:gd name="T0" fmla="*/ 412 w 823"/>
                <a:gd name="T1" fmla="*/ 0 h 474"/>
                <a:gd name="T2" fmla="*/ 421 w 823"/>
                <a:gd name="T3" fmla="*/ 2 h 474"/>
                <a:gd name="T4" fmla="*/ 437 w 823"/>
                <a:gd name="T5" fmla="*/ 5 h 474"/>
                <a:gd name="T6" fmla="*/ 452 w 823"/>
                <a:gd name="T7" fmla="*/ 12 h 474"/>
                <a:gd name="T8" fmla="*/ 462 w 823"/>
                <a:gd name="T9" fmla="*/ 25 h 474"/>
                <a:gd name="T10" fmla="*/ 466 w 823"/>
                <a:gd name="T11" fmla="*/ 47 h 474"/>
                <a:gd name="T12" fmla="*/ 457 w 823"/>
                <a:gd name="T13" fmla="*/ 77 h 474"/>
                <a:gd name="T14" fmla="*/ 432 w 823"/>
                <a:gd name="T15" fmla="*/ 118 h 474"/>
                <a:gd name="T16" fmla="*/ 556 w 823"/>
                <a:gd name="T17" fmla="*/ 0 h 474"/>
                <a:gd name="T18" fmla="*/ 565 w 823"/>
                <a:gd name="T19" fmla="*/ 5 h 474"/>
                <a:gd name="T20" fmla="*/ 590 w 823"/>
                <a:gd name="T21" fmla="*/ 18 h 474"/>
                <a:gd name="T22" fmla="*/ 626 w 823"/>
                <a:gd name="T23" fmla="*/ 37 h 474"/>
                <a:gd name="T24" fmla="*/ 669 w 823"/>
                <a:gd name="T25" fmla="*/ 61 h 474"/>
                <a:gd name="T26" fmla="*/ 718 w 823"/>
                <a:gd name="T27" fmla="*/ 89 h 474"/>
                <a:gd name="T28" fmla="*/ 766 w 823"/>
                <a:gd name="T29" fmla="*/ 122 h 474"/>
                <a:gd name="T30" fmla="*/ 800 w 823"/>
                <a:gd name="T31" fmla="*/ 161 h 474"/>
                <a:gd name="T32" fmla="*/ 817 w 823"/>
                <a:gd name="T33" fmla="*/ 205 h 474"/>
                <a:gd name="T34" fmla="*/ 823 w 823"/>
                <a:gd name="T35" fmla="*/ 256 h 474"/>
                <a:gd name="T36" fmla="*/ 0 w 823"/>
                <a:gd name="T37" fmla="*/ 474 h 474"/>
                <a:gd name="T38" fmla="*/ 2 w 823"/>
                <a:gd name="T39" fmla="*/ 230 h 474"/>
                <a:gd name="T40" fmla="*/ 12 w 823"/>
                <a:gd name="T41" fmla="*/ 182 h 474"/>
                <a:gd name="T42" fmla="*/ 37 w 823"/>
                <a:gd name="T43" fmla="*/ 141 h 474"/>
                <a:gd name="T44" fmla="*/ 81 w 823"/>
                <a:gd name="T45" fmla="*/ 104 h 474"/>
                <a:gd name="T46" fmla="*/ 129 w 823"/>
                <a:gd name="T47" fmla="*/ 75 h 474"/>
                <a:gd name="T48" fmla="*/ 176 w 823"/>
                <a:gd name="T49" fmla="*/ 49 h 474"/>
                <a:gd name="T50" fmla="*/ 216 w 823"/>
                <a:gd name="T51" fmla="*/ 27 h 474"/>
                <a:gd name="T52" fmla="*/ 247 w 823"/>
                <a:gd name="T53" fmla="*/ 11 h 474"/>
                <a:gd name="T54" fmla="*/ 264 w 823"/>
                <a:gd name="T55" fmla="*/ 3 h 474"/>
                <a:gd name="T56" fmla="*/ 344 w 823"/>
                <a:gd name="T57" fmla="*/ 248 h 474"/>
                <a:gd name="T58" fmla="*/ 375 w 823"/>
                <a:gd name="T59" fmla="*/ 97 h 474"/>
                <a:gd name="T60" fmla="*/ 359 w 823"/>
                <a:gd name="T61" fmla="*/ 60 h 474"/>
                <a:gd name="T62" fmla="*/ 357 w 823"/>
                <a:gd name="T63" fmla="*/ 35 h 474"/>
                <a:gd name="T64" fmla="*/ 364 w 823"/>
                <a:gd name="T65" fmla="*/ 18 h 474"/>
                <a:gd name="T66" fmla="*/ 378 w 823"/>
                <a:gd name="T67" fmla="*/ 8 h 474"/>
                <a:gd name="T68" fmla="*/ 393 w 823"/>
                <a:gd name="T69" fmla="*/ 3 h 474"/>
                <a:gd name="T70" fmla="*/ 406 w 823"/>
                <a:gd name="T71" fmla="*/ 0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23" h="474">
                  <a:moveTo>
                    <a:pt x="411" y="0"/>
                  </a:moveTo>
                  <a:lnTo>
                    <a:pt x="412" y="0"/>
                  </a:lnTo>
                  <a:lnTo>
                    <a:pt x="416" y="0"/>
                  </a:lnTo>
                  <a:lnTo>
                    <a:pt x="421" y="2"/>
                  </a:lnTo>
                  <a:lnTo>
                    <a:pt x="429" y="3"/>
                  </a:lnTo>
                  <a:lnTo>
                    <a:pt x="437" y="5"/>
                  </a:lnTo>
                  <a:lnTo>
                    <a:pt x="444" y="8"/>
                  </a:lnTo>
                  <a:lnTo>
                    <a:pt x="452" y="12"/>
                  </a:lnTo>
                  <a:lnTo>
                    <a:pt x="458" y="18"/>
                  </a:lnTo>
                  <a:lnTo>
                    <a:pt x="462" y="25"/>
                  </a:lnTo>
                  <a:lnTo>
                    <a:pt x="466" y="35"/>
                  </a:lnTo>
                  <a:lnTo>
                    <a:pt x="466" y="47"/>
                  </a:lnTo>
                  <a:lnTo>
                    <a:pt x="464" y="60"/>
                  </a:lnTo>
                  <a:lnTo>
                    <a:pt x="457" y="77"/>
                  </a:lnTo>
                  <a:lnTo>
                    <a:pt x="447" y="97"/>
                  </a:lnTo>
                  <a:lnTo>
                    <a:pt x="432" y="118"/>
                  </a:lnTo>
                  <a:lnTo>
                    <a:pt x="479" y="248"/>
                  </a:lnTo>
                  <a:lnTo>
                    <a:pt x="556" y="0"/>
                  </a:lnTo>
                  <a:lnTo>
                    <a:pt x="558" y="2"/>
                  </a:lnTo>
                  <a:lnTo>
                    <a:pt x="565" y="5"/>
                  </a:lnTo>
                  <a:lnTo>
                    <a:pt x="576" y="10"/>
                  </a:lnTo>
                  <a:lnTo>
                    <a:pt x="590" y="18"/>
                  </a:lnTo>
                  <a:lnTo>
                    <a:pt x="607" y="26"/>
                  </a:lnTo>
                  <a:lnTo>
                    <a:pt x="626" y="37"/>
                  </a:lnTo>
                  <a:lnTo>
                    <a:pt x="647" y="49"/>
                  </a:lnTo>
                  <a:lnTo>
                    <a:pt x="669" y="61"/>
                  </a:lnTo>
                  <a:lnTo>
                    <a:pt x="693" y="75"/>
                  </a:lnTo>
                  <a:lnTo>
                    <a:pt x="718" y="89"/>
                  </a:lnTo>
                  <a:lnTo>
                    <a:pt x="742" y="104"/>
                  </a:lnTo>
                  <a:lnTo>
                    <a:pt x="766" y="122"/>
                  </a:lnTo>
                  <a:lnTo>
                    <a:pt x="786" y="141"/>
                  </a:lnTo>
                  <a:lnTo>
                    <a:pt x="800" y="161"/>
                  </a:lnTo>
                  <a:lnTo>
                    <a:pt x="811" y="182"/>
                  </a:lnTo>
                  <a:lnTo>
                    <a:pt x="817" y="205"/>
                  </a:lnTo>
                  <a:lnTo>
                    <a:pt x="820" y="229"/>
                  </a:lnTo>
                  <a:lnTo>
                    <a:pt x="823" y="256"/>
                  </a:lnTo>
                  <a:lnTo>
                    <a:pt x="823" y="474"/>
                  </a:lnTo>
                  <a:lnTo>
                    <a:pt x="0" y="474"/>
                  </a:lnTo>
                  <a:lnTo>
                    <a:pt x="0" y="256"/>
                  </a:lnTo>
                  <a:lnTo>
                    <a:pt x="2" y="230"/>
                  </a:lnTo>
                  <a:lnTo>
                    <a:pt x="5" y="205"/>
                  </a:lnTo>
                  <a:lnTo>
                    <a:pt x="12" y="182"/>
                  </a:lnTo>
                  <a:lnTo>
                    <a:pt x="21" y="162"/>
                  </a:lnTo>
                  <a:lnTo>
                    <a:pt x="37" y="141"/>
                  </a:lnTo>
                  <a:lnTo>
                    <a:pt x="56" y="123"/>
                  </a:lnTo>
                  <a:lnTo>
                    <a:pt x="81" y="104"/>
                  </a:lnTo>
                  <a:lnTo>
                    <a:pt x="104" y="89"/>
                  </a:lnTo>
                  <a:lnTo>
                    <a:pt x="129" y="75"/>
                  </a:lnTo>
                  <a:lnTo>
                    <a:pt x="153" y="62"/>
                  </a:lnTo>
                  <a:lnTo>
                    <a:pt x="176" y="49"/>
                  </a:lnTo>
                  <a:lnTo>
                    <a:pt x="196" y="37"/>
                  </a:lnTo>
                  <a:lnTo>
                    <a:pt x="216" y="27"/>
                  </a:lnTo>
                  <a:lnTo>
                    <a:pt x="233" y="19"/>
                  </a:lnTo>
                  <a:lnTo>
                    <a:pt x="247" y="11"/>
                  </a:lnTo>
                  <a:lnTo>
                    <a:pt x="258" y="6"/>
                  </a:lnTo>
                  <a:lnTo>
                    <a:pt x="264" y="3"/>
                  </a:lnTo>
                  <a:lnTo>
                    <a:pt x="266" y="2"/>
                  </a:lnTo>
                  <a:lnTo>
                    <a:pt x="344" y="248"/>
                  </a:lnTo>
                  <a:lnTo>
                    <a:pt x="390" y="118"/>
                  </a:lnTo>
                  <a:lnTo>
                    <a:pt x="375" y="97"/>
                  </a:lnTo>
                  <a:lnTo>
                    <a:pt x="365" y="77"/>
                  </a:lnTo>
                  <a:lnTo>
                    <a:pt x="359" y="60"/>
                  </a:lnTo>
                  <a:lnTo>
                    <a:pt x="356" y="46"/>
                  </a:lnTo>
                  <a:lnTo>
                    <a:pt x="357" y="35"/>
                  </a:lnTo>
                  <a:lnTo>
                    <a:pt x="359" y="25"/>
                  </a:lnTo>
                  <a:lnTo>
                    <a:pt x="364" y="18"/>
                  </a:lnTo>
                  <a:lnTo>
                    <a:pt x="371" y="12"/>
                  </a:lnTo>
                  <a:lnTo>
                    <a:pt x="378" y="8"/>
                  </a:lnTo>
                  <a:lnTo>
                    <a:pt x="386" y="5"/>
                  </a:lnTo>
                  <a:lnTo>
                    <a:pt x="393" y="3"/>
                  </a:lnTo>
                  <a:lnTo>
                    <a:pt x="400" y="2"/>
                  </a:lnTo>
                  <a:lnTo>
                    <a:pt x="406" y="0"/>
                  </a:lnTo>
                  <a:lnTo>
                    <a:pt x="41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24" name="Freeform 273">
              <a:extLst>
                <a:ext uri="{FF2B5EF4-FFF2-40B4-BE49-F238E27FC236}">
                  <a16:creationId xmlns:a16="http://schemas.microsoft.com/office/drawing/2014/main" id="{8C5BA7E3-5F14-5CAF-9E2C-A730BDE71A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092" y="-1724200"/>
              <a:ext cx="66140" cy="91854"/>
            </a:xfrm>
            <a:custGeom>
              <a:avLst/>
              <a:gdLst>
                <a:gd name="T0" fmla="*/ 208 w 390"/>
                <a:gd name="T1" fmla="*/ 0 h 503"/>
                <a:gd name="T2" fmla="*/ 230 w 390"/>
                <a:gd name="T3" fmla="*/ 3 h 503"/>
                <a:gd name="T4" fmla="*/ 261 w 390"/>
                <a:gd name="T5" fmla="*/ 9 h 503"/>
                <a:gd name="T6" fmla="*/ 294 w 390"/>
                <a:gd name="T7" fmla="*/ 23 h 503"/>
                <a:gd name="T8" fmla="*/ 327 w 390"/>
                <a:gd name="T9" fmla="*/ 47 h 503"/>
                <a:gd name="T10" fmla="*/ 356 w 390"/>
                <a:gd name="T11" fmla="*/ 83 h 503"/>
                <a:gd name="T12" fmla="*/ 378 w 390"/>
                <a:gd name="T13" fmla="*/ 133 h 503"/>
                <a:gd name="T14" fmla="*/ 388 w 390"/>
                <a:gd name="T15" fmla="*/ 199 h 503"/>
                <a:gd name="T16" fmla="*/ 389 w 390"/>
                <a:gd name="T17" fmla="*/ 207 h 503"/>
                <a:gd name="T18" fmla="*/ 390 w 390"/>
                <a:gd name="T19" fmla="*/ 230 h 503"/>
                <a:gd name="T20" fmla="*/ 389 w 390"/>
                <a:gd name="T21" fmla="*/ 264 h 503"/>
                <a:gd name="T22" fmla="*/ 385 w 390"/>
                <a:gd name="T23" fmla="*/ 305 h 503"/>
                <a:gd name="T24" fmla="*/ 376 w 390"/>
                <a:gd name="T25" fmla="*/ 350 h 503"/>
                <a:gd name="T26" fmla="*/ 361 w 390"/>
                <a:gd name="T27" fmla="*/ 394 h 503"/>
                <a:gd name="T28" fmla="*/ 336 w 390"/>
                <a:gd name="T29" fmla="*/ 436 h 503"/>
                <a:gd name="T30" fmla="*/ 301 w 390"/>
                <a:gd name="T31" fmla="*/ 470 h 503"/>
                <a:gd name="T32" fmla="*/ 255 w 390"/>
                <a:gd name="T33" fmla="*/ 493 h 503"/>
                <a:gd name="T34" fmla="*/ 196 w 390"/>
                <a:gd name="T35" fmla="*/ 503 h 503"/>
                <a:gd name="T36" fmla="*/ 161 w 390"/>
                <a:gd name="T37" fmla="*/ 499 h 503"/>
                <a:gd name="T38" fmla="*/ 109 w 390"/>
                <a:gd name="T39" fmla="*/ 483 h 503"/>
                <a:gd name="T40" fmla="*/ 69 w 390"/>
                <a:gd name="T41" fmla="*/ 454 h 503"/>
                <a:gd name="T42" fmla="*/ 40 w 390"/>
                <a:gd name="T43" fmla="*/ 416 h 503"/>
                <a:gd name="T44" fmla="*/ 20 w 390"/>
                <a:gd name="T45" fmla="*/ 373 h 503"/>
                <a:gd name="T46" fmla="*/ 8 w 390"/>
                <a:gd name="T47" fmla="*/ 327 h 503"/>
                <a:gd name="T48" fmla="*/ 2 w 390"/>
                <a:gd name="T49" fmla="*/ 284 h 503"/>
                <a:gd name="T50" fmla="*/ 0 w 390"/>
                <a:gd name="T51" fmla="*/ 246 h 503"/>
                <a:gd name="T52" fmla="*/ 0 w 390"/>
                <a:gd name="T53" fmla="*/ 217 h 503"/>
                <a:gd name="T54" fmla="*/ 1 w 390"/>
                <a:gd name="T55" fmla="*/ 201 h 503"/>
                <a:gd name="T56" fmla="*/ 5 w 390"/>
                <a:gd name="T57" fmla="*/ 164 h 503"/>
                <a:gd name="T58" fmla="*/ 21 w 390"/>
                <a:gd name="T59" fmla="*/ 106 h 503"/>
                <a:gd name="T60" fmla="*/ 47 w 390"/>
                <a:gd name="T61" fmla="*/ 65 h 503"/>
                <a:gd name="T62" fmla="*/ 78 w 390"/>
                <a:gd name="T63" fmla="*/ 35 h 503"/>
                <a:gd name="T64" fmla="*/ 112 w 390"/>
                <a:gd name="T65" fmla="*/ 16 h 503"/>
                <a:gd name="T66" fmla="*/ 144 w 390"/>
                <a:gd name="T67" fmla="*/ 6 h 503"/>
                <a:gd name="T68" fmla="*/ 171 w 390"/>
                <a:gd name="T69" fmla="*/ 2 h 503"/>
                <a:gd name="T70" fmla="*/ 190 w 390"/>
                <a:gd name="T71" fmla="*/ 0 h 503"/>
                <a:gd name="T72" fmla="*/ 199 w 390"/>
                <a:gd name="T73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0" h="503">
                  <a:moveTo>
                    <a:pt x="199" y="0"/>
                  </a:moveTo>
                  <a:lnTo>
                    <a:pt x="208" y="0"/>
                  </a:lnTo>
                  <a:lnTo>
                    <a:pt x="217" y="1"/>
                  </a:lnTo>
                  <a:lnTo>
                    <a:pt x="230" y="3"/>
                  </a:lnTo>
                  <a:lnTo>
                    <a:pt x="245" y="5"/>
                  </a:lnTo>
                  <a:lnTo>
                    <a:pt x="261" y="9"/>
                  </a:lnTo>
                  <a:lnTo>
                    <a:pt x="277" y="16"/>
                  </a:lnTo>
                  <a:lnTo>
                    <a:pt x="294" y="23"/>
                  </a:lnTo>
                  <a:lnTo>
                    <a:pt x="311" y="34"/>
                  </a:lnTo>
                  <a:lnTo>
                    <a:pt x="327" y="47"/>
                  </a:lnTo>
                  <a:lnTo>
                    <a:pt x="342" y="63"/>
                  </a:lnTo>
                  <a:lnTo>
                    <a:pt x="356" y="83"/>
                  </a:lnTo>
                  <a:lnTo>
                    <a:pt x="368" y="106"/>
                  </a:lnTo>
                  <a:lnTo>
                    <a:pt x="378" y="133"/>
                  </a:lnTo>
                  <a:lnTo>
                    <a:pt x="385" y="163"/>
                  </a:lnTo>
                  <a:lnTo>
                    <a:pt x="388" y="199"/>
                  </a:lnTo>
                  <a:lnTo>
                    <a:pt x="388" y="201"/>
                  </a:lnTo>
                  <a:lnTo>
                    <a:pt x="389" y="207"/>
                  </a:lnTo>
                  <a:lnTo>
                    <a:pt x="389" y="217"/>
                  </a:lnTo>
                  <a:lnTo>
                    <a:pt x="390" y="230"/>
                  </a:lnTo>
                  <a:lnTo>
                    <a:pt x="390" y="246"/>
                  </a:lnTo>
                  <a:lnTo>
                    <a:pt x="389" y="264"/>
                  </a:lnTo>
                  <a:lnTo>
                    <a:pt x="388" y="284"/>
                  </a:lnTo>
                  <a:lnTo>
                    <a:pt x="385" y="305"/>
                  </a:lnTo>
                  <a:lnTo>
                    <a:pt x="381" y="327"/>
                  </a:lnTo>
                  <a:lnTo>
                    <a:pt x="376" y="350"/>
                  </a:lnTo>
                  <a:lnTo>
                    <a:pt x="369" y="373"/>
                  </a:lnTo>
                  <a:lnTo>
                    <a:pt x="361" y="394"/>
                  </a:lnTo>
                  <a:lnTo>
                    <a:pt x="349" y="416"/>
                  </a:lnTo>
                  <a:lnTo>
                    <a:pt x="336" y="436"/>
                  </a:lnTo>
                  <a:lnTo>
                    <a:pt x="321" y="454"/>
                  </a:lnTo>
                  <a:lnTo>
                    <a:pt x="301" y="470"/>
                  </a:lnTo>
                  <a:lnTo>
                    <a:pt x="280" y="483"/>
                  </a:lnTo>
                  <a:lnTo>
                    <a:pt x="255" y="493"/>
                  </a:lnTo>
                  <a:lnTo>
                    <a:pt x="227" y="499"/>
                  </a:lnTo>
                  <a:lnTo>
                    <a:pt x="196" y="503"/>
                  </a:lnTo>
                  <a:lnTo>
                    <a:pt x="193" y="503"/>
                  </a:lnTo>
                  <a:lnTo>
                    <a:pt x="161" y="499"/>
                  </a:lnTo>
                  <a:lnTo>
                    <a:pt x="133" y="493"/>
                  </a:lnTo>
                  <a:lnTo>
                    <a:pt x="109" y="483"/>
                  </a:lnTo>
                  <a:lnTo>
                    <a:pt x="87" y="470"/>
                  </a:lnTo>
                  <a:lnTo>
                    <a:pt x="69" y="454"/>
                  </a:lnTo>
                  <a:lnTo>
                    <a:pt x="52" y="436"/>
                  </a:lnTo>
                  <a:lnTo>
                    <a:pt x="40" y="416"/>
                  </a:lnTo>
                  <a:lnTo>
                    <a:pt x="29" y="394"/>
                  </a:lnTo>
                  <a:lnTo>
                    <a:pt x="20" y="373"/>
                  </a:lnTo>
                  <a:lnTo>
                    <a:pt x="13" y="350"/>
                  </a:lnTo>
                  <a:lnTo>
                    <a:pt x="8" y="327"/>
                  </a:lnTo>
                  <a:lnTo>
                    <a:pt x="4" y="305"/>
                  </a:lnTo>
                  <a:lnTo>
                    <a:pt x="2" y="284"/>
                  </a:lnTo>
                  <a:lnTo>
                    <a:pt x="1" y="264"/>
                  </a:lnTo>
                  <a:lnTo>
                    <a:pt x="0" y="246"/>
                  </a:lnTo>
                  <a:lnTo>
                    <a:pt x="0" y="230"/>
                  </a:lnTo>
                  <a:lnTo>
                    <a:pt x="0" y="217"/>
                  </a:lnTo>
                  <a:lnTo>
                    <a:pt x="1" y="207"/>
                  </a:lnTo>
                  <a:lnTo>
                    <a:pt x="1" y="201"/>
                  </a:lnTo>
                  <a:lnTo>
                    <a:pt x="1" y="199"/>
                  </a:lnTo>
                  <a:lnTo>
                    <a:pt x="5" y="164"/>
                  </a:lnTo>
                  <a:lnTo>
                    <a:pt x="11" y="133"/>
                  </a:lnTo>
                  <a:lnTo>
                    <a:pt x="21" y="106"/>
                  </a:lnTo>
                  <a:lnTo>
                    <a:pt x="33" y="83"/>
                  </a:lnTo>
                  <a:lnTo>
                    <a:pt x="47" y="65"/>
                  </a:lnTo>
                  <a:lnTo>
                    <a:pt x="62" y="48"/>
                  </a:lnTo>
                  <a:lnTo>
                    <a:pt x="78" y="35"/>
                  </a:lnTo>
                  <a:lnTo>
                    <a:pt x="94" y="25"/>
                  </a:lnTo>
                  <a:lnTo>
                    <a:pt x="112" y="16"/>
                  </a:lnTo>
                  <a:lnTo>
                    <a:pt x="128" y="10"/>
                  </a:lnTo>
                  <a:lnTo>
                    <a:pt x="144" y="6"/>
                  </a:lnTo>
                  <a:lnTo>
                    <a:pt x="159" y="3"/>
                  </a:lnTo>
                  <a:lnTo>
                    <a:pt x="171" y="2"/>
                  </a:lnTo>
                  <a:lnTo>
                    <a:pt x="182" y="1"/>
                  </a:lnTo>
                  <a:lnTo>
                    <a:pt x="190" y="0"/>
                  </a:lnTo>
                  <a:lnTo>
                    <a:pt x="195" y="0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grpSp>
        <p:nvGrpSpPr>
          <p:cNvPr id="132" name="Gruppieren 131">
            <a:extLst>
              <a:ext uri="{FF2B5EF4-FFF2-40B4-BE49-F238E27FC236}">
                <a16:creationId xmlns:a16="http://schemas.microsoft.com/office/drawing/2014/main" id="{FBBE7DE6-C494-6021-92F8-60CF31B278EA}"/>
              </a:ext>
            </a:extLst>
          </p:cNvPr>
          <p:cNvGrpSpPr/>
          <p:nvPr/>
        </p:nvGrpSpPr>
        <p:grpSpPr>
          <a:xfrm>
            <a:off x="6426340" y="2928026"/>
            <a:ext cx="725046" cy="749888"/>
            <a:chOff x="6426340" y="2928026"/>
            <a:chExt cx="725046" cy="749888"/>
          </a:xfrm>
        </p:grpSpPr>
        <p:pic>
          <p:nvPicPr>
            <p:cNvPr id="126" name="Grafik 125" descr="Laptop Silhouette">
              <a:extLst>
                <a:ext uri="{FF2B5EF4-FFF2-40B4-BE49-F238E27FC236}">
                  <a16:creationId xmlns:a16="http://schemas.microsoft.com/office/drawing/2014/main" id="{38908CFE-59AB-F92A-7CC0-3684593643C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426340" y="2928026"/>
              <a:ext cx="725046" cy="749888"/>
            </a:xfrm>
            <a:prstGeom prst="rect">
              <a:avLst/>
            </a:prstGeom>
          </p:spPr>
        </p:pic>
        <p:grpSp>
          <p:nvGrpSpPr>
            <p:cNvPr id="131" name="Gruppieren 130">
              <a:extLst>
                <a:ext uri="{FF2B5EF4-FFF2-40B4-BE49-F238E27FC236}">
                  <a16:creationId xmlns:a16="http://schemas.microsoft.com/office/drawing/2014/main" id="{7BCC788F-608C-BAEA-7F69-3F30322CA864}"/>
                </a:ext>
              </a:extLst>
            </p:cNvPr>
            <p:cNvGrpSpPr/>
            <p:nvPr/>
          </p:nvGrpSpPr>
          <p:grpSpPr>
            <a:xfrm>
              <a:off x="6628103" y="3172127"/>
              <a:ext cx="359646" cy="209319"/>
              <a:chOff x="4435691" y="-1532049"/>
              <a:chExt cx="2044704" cy="1190048"/>
            </a:xfrm>
          </p:grpSpPr>
          <p:pic>
            <p:nvPicPr>
              <p:cNvPr id="128" name="Grafik 127" descr="Kreisdiagramm mit einfarbiger Füllung">
                <a:extLst>
                  <a:ext uri="{FF2B5EF4-FFF2-40B4-BE49-F238E27FC236}">
                    <a16:creationId xmlns:a16="http://schemas.microsoft.com/office/drawing/2014/main" id="{9EADAF16-41BE-73EC-AF38-13AFCC4574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4435691" y="-1532049"/>
                <a:ext cx="743885" cy="743886"/>
              </a:xfrm>
              <a:prstGeom prst="rect">
                <a:avLst/>
              </a:prstGeom>
            </p:spPr>
          </p:pic>
          <p:pic>
            <p:nvPicPr>
              <p:cNvPr id="130" name="Grafik 129" descr="Balkendiagramm mit einfarbiger Füllung">
                <a:extLst>
                  <a:ext uri="{FF2B5EF4-FFF2-40B4-BE49-F238E27FC236}">
                    <a16:creationId xmlns:a16="http://schemas.microsoft.com/office/drawing/2014/main" id="{95E3160B-7D5D-CB03-75FB-7F04E5F9E1E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5349664" y="-1472734"/>
                <a:ext cx="1130731" cy="1130733"/>
              </a:xfrm>
              <a:prstGeom prst="rect">
                <a:avLst/>
              </a:prstGeom>
            </p:spPr>
          </p:pic>
        </p:grp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63335B11-FA0A-F430-E7FE-92F72C64DB6C}"/>
              </a:ext>
            </a:extLst>
          </p:cNvPr>
          <p:cNvGrpSpPr/>
          <p:nvPr/>
        </p:nvGrpSpPr>
        <p:grpSpPr>
          <a:xfrm>
            <a:off x="6474960" y="4382542"/>
            <a:ext cx="664875" cy="474198"/>
            <a:chOff x="7458075" y="4549776"/>
            <a:chExt cx="1057275" cy="754062"/>
          </a:xfrm>
          <a:solidFill>
            <a:schemeClr val="bg1"/>
          </a:solidFill>
        </p:grpSpPr>
        <p:sp>
          <p:nvSpPr>
            <p:cNvPr id="57" name="Freeform 206">
              <a:extLst>
                <a:ext uri="{FF2B5EF4-FFF2-40B4-BE49-F238E27FC236}">
                  <a16:creationId xmlns:a16="http://schemas.microsoft.com/office/drawing/2014/main" id="{3D77177A-C81C-4DB4-6689-F9617A826D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12050" y="4549776"/>
              <a:ext cx="947738" cy="581025"/>
            </a:xfrm>
            <a:custGeom>
              <a:avLst/>
              <a:gdLst>
                <a:gd name="T0" fmla="*/ 128 w 2986"/>
                <a:gd name="T1" fmla="*/ 128 h 1832"/>
                <a:gd name="T2" fmla="*/ 128 w 2986"/>
                <a:gd name="T3" fmla="*/ 1704 h 1832"/>
                <a:gd name="T4" fmla="*/ 2859 w 2986"/>
                <a:gd name="T5" fmla="*/ 1704 h 1832"/>
                <a:gd name="T6" fmla="*/ 2859 w 2986"/>
                <a:gd name="T7" fmla="*/ 128 h 1832"/>
                <a:gd name="T8" fmla="*/ 128 w 2986"/>
                <a:gd name="T9" fmla="*/ 128 h 1832"/>
                <a:gd name="T10" fmla="*/ 128 w 2986"/>
                <a:gd name="T11" fmla="*/ 0 h 1832"/>
                <a:gd name="T12" fmla="*/ 2859 w 2986"/>
                <a:gd name="T13" fmla="*/ 0 h 1832"/>
                <a:gd name="T14" fmla="*/ 2885 w 2986"/>
                <a:gd name="T15" fmla="*/ 3 h 1832"/>
                <a:gd name="T16" fmla="*/ 2909 w 2986"/>
                <a:gd name="T17" fmla="*/ 10 h 1832"/>
                <a:gd name="T18" fmla="*/ 2930 w 2986"/>
                <a:gd name="T19" fmla="*/ 22 h 1832"/>
                <a:gd name="T20" fmla="*/ 2950 w 2986"/>
                <a:gd name="T21" fmla="*/ 38 h 1832"/>
                <a:gd name="T22" fmla="*/ 2965 w 2986"/>
                <a:gd name="T23" fmla="*/ 57 h 1832"/>
                <a:gd name="T24" fmla="*/ 2977 w 2986"/>
                <a:gd name="T25" fmla="*/ 78 h 1832"/>
                <a:gd name="T26" fmla="*/ 2984 w 2986"/>
                <a:gd name="T27" fmla="*/ 102 h 1832"/>
                <a:gd name="T28" fmla="*/ 2986 w 2986"/>
                <a:gd name="T29" fmla="*/ 128 h 1832"/>
                <a:gd name="T30" fmla="*/ 2986 w 2986"/>
                <a:gd name="T31" fmla="*/ 1704 h 1832"/>
                <a:gd name="T32" fmla="*/ 2984 w 2986"/>
                <a:gd name="T33" fmla="*/ 1730 h 1832"/>
                <a:gd name="T34" fmla="*/ 2977 w 2986"/>
                <a:gd name="T35" fmla="*/ 1754 h 1832"/>
                <a:gd name="T36" fmla="*/ 2965 w 2986"/>
                <a:gd name="T37" fmla="*/ 1776 h 1832"/>
                <a:gd name="T38" fmla="*/ 2950 w 2986"/>
                <a:gd name="T39" fmla="*/ 1794 h 1832"/>
                <a:gd name="T40" fmla="*/ 2930 w 2986"/>
                <a:gd name="T41" fmla="*/ 1811 h 1832"/>
                <a:gd name="T42" fmla="*/ 2909 w 2986"/>
                <a:gd name="T43" fmla="*/ 1822 h 1832"/>
                <a:gd name="T44" fmla="*/ 2885 w 2986"/>
                <a:gd name="T45" fmla="*/ 1830 h 1832"/>
                <a:gd name="T46" fmla="*/ 2859 w 2986"/>
                <a:gd name="T47" fmla="*/ 1832 h 1832"/>
                <a:gd name="T48" fmla="*/ 128 w 2986"/>
                <a:gd name="T49" fmla="*/ 1832 h 1832"/>
                <a:gd name="T50" fmla="*/ 103 w 2986"/>
                <a:gd name="T51" fmla="*/ 1830 h 1832"/>
                <a:gd name="T52" fmla="*/ 78 w 2986"/>
                <a:gd name="T53" fmla="*/ 1822 h 1832"/>
                <a:gd name="T54" fmla="*/ 57 w 2986"/>
                <a:gd name="T55" fmla="*/ 1811 h 1832"/>
                <a:gd name="T56" fmla="*/ 38 w 2986"/>
                <a:gd name="T57" fmla="*/ 1794 h 1832"/>
                <a:gd name="T58" fmla="*/ 22 w 2986"/>
                <a:gd name="T59" fmla="*/ 1776 h 1832"/>
                <a:gd name="T60" fmla="*/ 10 w 2986"/>
                <a:gd name="T61" fmla="*/ 1754 h 1832"/>
                <a:gd name="T62" fmla="*/ 3 w 2986"/>
                <a:gd name="T63" fmla="*/ 1730 h 1832"/>
                <a:gd name="T64" fmla="*/ 0 w 2986"/>
                <a:gd name="T65" fmla="*/ 1704 h 1832"/>
                <a:gd name="T66" fmla="*/ 0 w 2986"/>
                <a:gd name="T67" fmla="*/ 128 h 1832"/>
                <a:gd name="T68" fmla="*/ 3 w 2986"/>
                <a:gd name="T69" fmla="*/ 102 h 1832"/>
                <a:gd name="T70" fmla="*/ 10 w 2986"/>
                <a:gd name="T71" fmla="*/ 78 h 1832"/>
                <a:gd name="T72" fmla="*/ 22 w 2986"/>
                <a:gd name="T73" fmla="*/ 57 h 1832"/>
                <a:gd name="T74" fmla="*/ 38 w 2986"/>
                <a:gd name="T75" fmla="*/ 38 h 1832"/>
                <a:gd name="T76" fmla="*/ 57 w 2986"/>
                <a:gd name="T77" fmla="*/ 22 h 1832"/>
                <a:gd name="T78" fmla="*/ 78 w 2986"/>
                <a:gd name="T79" fmla="*/ 10 h 1832"/>
                <a:gd name="T80" fmla="*/ 103 w 2986"/>
                <a:gd name="T81" fmla="*/ 3 h 1832"/>
                <a:gd name="T82" fmla="*/ 128 w 2986"/>
                <a:gd name="T83" fmla="*/ 0 h 1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986" h="1832">
                  <a:moveTo>
                    <a:pt x="128" y="128"/>
                  </a:moveTo>
                  <a:lnTo>
                    <a:pt x="128" y="1704"/>
                  </a:lnTo>
                  <a:lnTo>
                    <a:pt x="2859" y="1704"/>
                  </a:lnTo>
                  <a:lnTo>
                    <a:pt x="2859" y="128"/>
                  </a:lnTo>
                  <a:lnTo>
                    <a:pt x="128" y="128"/>
                  </a:lnTo>
                  <a:close/>
                  <a:moveTo>
                    <a:pt x="128" y="0"/>
                  </a:moveTo>
                  <a:lnTo>
                    <a:pt x="2859" y="0"/>
                  </a:lnTo>
                  <a:lnTo>
                    <a:pt x="2885" y="3"/>
                  </a:lnTo>
                  <a:lnTo>
                    <a:pt x="2909" y="10"/>
                  </a:lnTo>
                  <a:lnTo>
                    <a:pt x="2930" y="22"/>
                  </a:lnTo>
                  <a:lnTo>
                    <a:pt x="2950" y="38"/>
                  </a:lnTo>
                  <a:lnTo>
                    <a:pt x="2965" y="57"/>
                  </a:lnTo>
                  <a:lnTo>
                    <a:pt x="2977" y="78"/>
                  </a:lnTo>
                  <a:lnTo>
                    <a:pt x="2984" y="102"/>
                  </a:lnTo>
                  <a:lnTo>
                    <a:pt x="2986" y="128"/>
                  </a:lnTo>
                  <a:lnTo>
                    <a:pt x="2986" y="1704"/>
                  </a:lnTo>
                  <a:lnTo>
                    <a:pt x="2984" y="1730"/>
                  </a:lnTo>
                  <a:lnTo>
                    <a:pt x="2977" y="1754"/>
                  </a:lnTo>
                  <a:lnTo>
                    <a:pt x="2965" y="1776"/>
                  </a:lnTo>
                  <a:lnTo>
                    <a:pt x="2950" y="1794"/>
                  </a:lnTo>
                  <a:lnTo>
                    <a:pt x="2930" y="1811"/>
                  </a:lnTo>
                  <a:lnTo>
                    <a:pt x="2909" y="1822"/>
                  </a:lnTo>
                  <a:lnTo>
                    <a:pt x="2885" y="1830"/>
                  </a:lnTo>
                  <a:lnTo>
                    <a:pt x="2859" y="1832"/>
                  </a:lnTo>
                  <a:lnTo>
                    <a:pt x="128" y="1832"/>
                  </a:lnTo>
                  <a:lnTo>
                    <a:pt x="103" y="1830"/>
                  </a:lnTo>
                  <a:lnTo>
                    <a:pt x="78" y="1822"/>
                  </a:lnTo>
                  <a:lnTo>
                    <a:pt x="57" y="1811"/>
                  </a:lnTo>
                  <a:lnTo>
                    <a:pt x="38" y="1794"/>
                  </a:lnTo>
                  <a:lnTo>
                    <a:pt x="22" y="1776"/>
                  </a:lnTo>
                  <a:lnTo>
                    <a:pt x="10" y="1754"/>
                  </a:lnTo>
                  <a:lnTo>
                    <a:pt x="3" y="1730"/>
                  </a:lnTo>
                  <a:lnTo>
                    <a:pt x="0" y="1704"/>
                  </a:lnTo>
                  <a:lnTo>
                    <a:pt x="0" y="128"/>
                  </a:lnTo>
                  <a:lnTo>
                    <a:pt x="3" y="102"/>
                  </a:lnTo>
                  <a:lnTo>
                    <a:pt x="10" y="78"/>
                  </a:lnTo>
                  <a:lnTo>
                    <a:pt x="22" y="57"/>
                  </a:lnTo>
                  <a:lnTo>
                    <a:pt x="38" y="38"/>
                  </a:lnTo>
                  <a:lnTo>
                    <a:pt x="57" y="22"/>
                  </a:lnTo>
                  <a:lnTo>
                    <a:pt x="78" y="10"/>
                  </a:lnTo>
                  <a:lnTo>
                    <a:pt x="103" y="3"/>
                  </a:lnTo>
                  <a:lnTo>
                    <a:pt x="1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73" name="Freeform 207">
              <a:extLst>
                <a:ext uri="{FF2B5EF4-FFF2-40B4-BE49-F238E27FC236}">
                  <a16:creationId xmlns:a16="http://schemas.microsoft.com/office/drawing/2014/main" id="{3A2B7761-8F42-6265-CCF8-805EB7CA69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58075" y="5253038"/>
              <a:ext cx="1057275" cy="50800"/>
            </a:xfrm>
            <a:custGeom>
              <a:avLst/>
              <a:gdLst>
                <a:gd name="T0" fmla="*/ 1426 w 3328"/>
                <a:gd name="T1" fmla="*/ 64 h 161"/>
                <a:gd name="T2" fmla="*/ 1416 w 3328"/>
                <a:gd name="T3" fmla="*/ 80 h 161"/>
                <a:gd name="T4" fmla="*/ 1426 w 3328"/>
                <a:gd name="T5" fmla="*/ 98 h 161"/>
                <a:gd name="T6" fmla="*/ 1893 w 3328"/>
                <a:gd name="T7" fmla="*/ 100 h 161"/>
                <a:gd name="T8" fmla="*/ 1910 w 3328"/>
                <a:gd name="T9" fmla="*/ 90 h 161"/>
                <a:gd name="T10" fmla="*/ 1910 w 3328"/>
                <a:gd name="T11" fmla="*/ 71 h 161"/>
                <a:gd name="T12" fmla="*/ 1893 w 3328"/>
                <a:gd name="T13" fmla="*/ 61 h 161"/>
                <a:gd name="T14" fmla="*/ 34 w 3328"/>
                <a:gd name="T15" fmla="*/ 0 h 161"/>
                <a:gd name="T16" fmla="*/ 46 w 3328"/>
                <a:gd name="T17" fmla="*/ 2 h 161"/>
                <a:gd name="T18" fmla="*/ 3291 w 3328"/>
                <a:gd name="T19" fmla="*/ 2 h 161"/>
                <a:gd name="T20" fmla="*/ 3309 w 3328"/>
                <a:gd name="T21" fmla="*/ 2 h 161"/>
                <a:gd name="T22" fmla="*/ 3325 w 3328"/>
                <a:gd name="T23" fmla="*/ 17 h 161"/>
                <a:gd name="T24" fmla="*/ 3328 w 3328"/>
                <a:gd name="T25" fmla="*/ 41 h 161"/>
                <a:gd name="T26" fmla="*/ 3317 w 3328"/>
                <a:gd name="T27" fmla="*/ 61 h 161"/>
                <a:gd name="T28" fmla="*/ 3286 w 3328"/>
                <a:gd name="T29" fmla="*/ 78 h 161"/>
                <a:gd name="T30" fmla="*/ 3228 w 3328"/>
                <a:gd name="T31" fmla="*/ 93 h 161"/>
                <a:gd name="T32" fmla="*/ 3146 w 3328"/>
                <a:gd name="T33" fmla="*/ 108 h 161"/>
                <a:gd name="T34" fmla="*/ 3045 w 3328"/>
                <a:gd name="T35" fmla="*/ 119 h 161"/>
                <a:gd name="T36" fmla="*/ 2928 w 3328"/>
                <a:gd name="T37" fmla="*/ 128 h 161"/>
                <a:gd name="T38" fmla="*/ 2799 w 3328"/>
                <a:gd name="T39" fmla="*/ 136 h 161"/>
                <a:gd name="T40" fmla="*/ 2661 w 3328"/>
                <a:gd name="T41" fmla="*/ 143 h 161"/>
                <a:gd name="T42" fmla="*/ 2516 w 3328"/>
                <a:gd name="T43" fmla="*/ 148 h 161"/>
                <a:gd name="T44" fmla="*/ 2370 w 3328"/>
                <a:gd name="T45" fmla="*/ 153 h 161"/>
                <a:gd name="T46" fmla="*/ 2226 w 3328"/>
                <a:gd name="T47" fmla="*/ 156 h 161"/>
                <a:gd name="T48" fmla="*/ 2085 w 3328"/>
                <a:gd name="T49" fmla="*/ 158 h 161"/>
                <a:gd name="T50" fmla="*/ 1955 w 3328"/>
                <a:gd name="T51" fmla="*/ 159 h 161"/>
                <a:gd name="T52" fmla="*/ 1835 w 3328"/>
                <a:gd name="T53" fmla="*/ 160 h 161"/>
                <a:gd name="T54" fmla="*/ 1732 w 3328"/>
                <a:gd name="T55" fmla="*/ 161 h 161"/>
                <a:gd name="T56" fmla="*/ 1646 w 3328"/>
                <a:gd name="T57" fmla="*/ 161 h 161"/>
                <a:gd name="T58" fmla="*/ 1377 w 3328"/>
                <a:gd name="T59" fmla="*/ 160 h 161"/>
                <a:gd name="T60" fmla="*/ 1118 w 3328"/>
                <a:gd name="T61" fmla="*/ 156 h 161"/>
                <a:gd name="T62" fmla="*/ 877 w 3328"/>
                <a:gd name="T63" fmla="*/ 151 h 161"/>
                <a:gd name="T64" fmla="*/ 657 w 3328"/>
                <a:gd name="T65" fmla="*/ 143 h 161"/>
                <a:gd name="T66" fmla="*/ 484 w 3328"/>
                <a:gd name="T67" fmla="*/ 135 h 161"/>
                <a:gd name="T68" fmla="*/ 357 w 3328"/>
                <a:gd name="T69" fmla="*/ 127 h 161"/>
                <a:gd name="T70" fmla="*/ 256 w 3328"/>
                <a:gd name="T71" fmla="*/ 119 h 161"/>
                <a:gd name="T72" fmla="*/ 177 w 3328"/>
                <a:gd name="T73" fmla="*/ 110 h 161"/>
                <a:gd name="T74" fmla="*/ 117 w 3328"/>
                <a:gd name="T75" fmla="*/ 101 h 161"/>
                <a:gd name="T76" fmla="*/ 74 w 3328"/>
                <a:gd name="T77" fmla="*/ 92 h 161"/>
                <a:gd name="T78" fmla="*/ 45 w 3328"/>
                <a:gd name="T79" fmla="*/ 83 h 161"/>
                <a:gd name="T80" fmla="*/ 26 w 3328"/>
                <a:gd name="T81" fmla="*/ 75 h 161"/>
                <a:gd name="T82" fmla="*/ 15 w 3328"/>
                <a:gd name="T83" fmla="*/ 68 h 161"/>
                <a:gd name="T84" fmla="*/ 9 w 3328"/>
                <a:gd name="T85" fmla="*/ 61 h 161"/>
                <a:gd name="T86" fmla="*/ 1 w 3328"/>
                <a:gd name="T87" fmla="*/ 45 h 161"/>
                <a:gd name="T88" fmla="*/ 4 w 3328"/>
                <a:gd name="T89" fmla="*/ 18 h 161"/>
                <a:gd name="T90" fmla="*/ 21 w 3328"/>
                <a:gd name="T91" fmla="*/ 2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328" h="161">
                  <a:moveTo>
                    <a:pt x="1436" y="61"/>
                  </a:moveTo>
                  <a:lnTo>
                    <a:pt x="1426" y="64"/>
                  </a:lnTo>
                  <a:lnTo>
                    <a:pt x="1419" y="71"/>
                  </a:lnTo>
                  <a:lnTo>
                    <a:pt x="1416" y="80"/>
                  </a:lnTo>
                  <a:lnTo>
                    <a:pt x="1419" y="90"/>
                  </a:lnTo>
                  <a:lnTo>
                    <a:pt x="1426" y="98"/>
                  </a:lnTo>
                  <a:lnTo>
                    <a:pt x="1436" y="100"/>
                  </a:lnTo>
                  <a:lnTo>
                    <a:pt x="1893" y="100"/>
                  </a:lnTo>
                  <a:lnTo>
                    <a:pt x="1903" y="98"/>
                  </a:lnTo>
                  <a:lnTo>
                    <a:pt x="1910" y="90"/>
                  </a:lnTo>
                  <a:lnTo>
                    <a:pt x="1912" y="80"/>
                  </a:lnTo>
                  <a:lnTo>
                    <a:pt x="1910" y="71"/>
                  </a:lnTo>
                  <a:lnTo>
                    <a:pt x="1903" y="64"/>
                  </a:lnTo>
                  <a:lnTo>
                    <a:pt x="1893" y="61"/>
                  </a:lnTo>
                  <a:lnTo>
                    <a:pt x="1436" y="61"/>
                  </a:lnTo>
                  <a:close/>
                  <a:moveTo>
                    <a:pt x="34" y="0"/>
                  </a:moveTo>
                  <a:lnTo>
                    <a:pt x="39" y="1"/>
                  </a:lnTo>
                  <a:lnTo>
                    <a:pt x="46" y="2"/>
                  </a:lnTo>
                  <a:lnTo>
                    <a:pt x="3285" y="2"/>
                  </a:lnTo>
                  <a:lnTo>
                    <a:pt x="3291" y="2"/>
                  </a:lnTo>
                  <a:lnTo>
                    <a:pt x="3297" y="0"/>
                  </a:lnTo>
                  <a:lnTo>
                    <a:pt x="3309" y="2"/>
                  </a:lnTo>
                  <a:lnTo>
                    <a:pt x="3318" y="8"/>
                  </a:lnTo>
                  <a:lnTo>
                    <a:pt x="3325" y="17"/>
                  </a:lnTo>
                  <a:lnTo>
                    <a:pt x="3328" y="30"/>
                  </a:lnTo>
                  <a:lnTo>
                    <a:pt x="3328" y="41"/>
                  </a:lnTo>
                  <a:lnTo>
                    <a:pt x="3324" y="51"/>
                  </a:lnTo>
                  <a:lnTo>
                    <a:pt x="3317" y="61"/>
                  </a:lnTo>
                  <a:lnTo>
                    <a:pt x="3305" y="70"/>
                  </a:lnTo>
                  <a:lnTo>
                    <a:pt x="3286" y="78"/>
                  </a:lnTo>
                  <a:lnTo>
                    <a:pt x="3260" y="86"/>
                  </a:lnTo>
                  <a:lnTo>
                    <a:pt x="3228" y="93"/>
                  </a:lnTo>
                  <a:lnTo>
                    <a:pt x="3190" y="101"/>
                  </a:lnTo>
                  <a:lnTo>
                    <a:pt x="3146" y="108"/>
                  </a:lnTo>
                  <a:lnTo>
                    <a:pt x="3098" y="113"/>
                  </a:lnTo>
                  <a:lnTo>
                    <a:pt x="3045" y="119"/>
                  </a:lnTo>
                  <a:lnTo>
                    <a:pt x="2988" y="124"/>
                  </a:lnTo>
                  <a:lnTo>
                    <a:pt x="2928" y="128"/>
                  </a:lnTo>
                  <a:lnTo>
                    <a:pt x="2865" y="133"/>
                  </a:lnTo>
                  <a:lnTo>
                    <a:pt x="2799" y="136"/>
                  </a:lnTo>
                  <a:lnTo>
                    <a:pt x="2731" y="140"/>
                  </a:lnTo>
                  <a:lnTo>
                    <a:pt x="2661" y="143"/>
                  </a:lnTo>
                  <a:lnTo>
                    <a:pt x="2589" y="146"/>
                  </a:lnTo>
                  <a:lnTo>
                    <a:pt x="2516" y="148"/>
                  </a:lnTo>
                  <a:lnTo>
                    <a:pt x="2444" y="151"/>
                  </a:lnTo>
                  <a:lnTo>
                    <a:pt x="2370" y="153"/>
                  </a:lnTo>
                  <a:lnTo>
                    <a:pt x="2297" y="154"/>
                  </a:lnTo>
                  <a:lnTo>
                    <a:pt x="2226" y="156"/>
                  </a:lnTo>
                  <a:lnTo>
                    <a:pt x="2154" y="157"/>
                  </a:lnTo>
                  <a:lnTo>
                    <a:pt x="2085" y="158"/>
                  </a:lnTo>
                  <a:lnTo>
                    <a:pt x="2019" y="159"/>
                  </a:lnTo>
                  <a:lnTo>
                    <a:pt x="1955" y="159"/>
                  </a:lnTo>
                  <a:lnTo>
                    <a:pt x="1893" y="160"/>
                  </a:lnTo>
                  <a:lnTo>
                    <a:pt x="1835" y="160"/>
                  </a:lnTo>
                  <a:lnTo>
                    <a:pt x="1781" y="161"/>
                  </a:lnTo>
                  <a:lnTo>
                    <a:pt x="1732" y="161"/>
                  </a:lnTo>
                  <a:lnTo>
                    <a:pt x="1686" y="161"/>
                  </a:lnTo>
                  <a:lnTo>
                    <a:pt x="1646" y="161"/>
                  </a:lnTo>
                  <a:lnTo>
                    <a:pt x="1510" y="161"/>
                  </a:lnTo>
                  <a:lnTo>
                    <a:pt x="1377" y="160"/>
                  </a:lnTo>
                  <a:lnTo>
                    <a:pt x="1245" y="158"/>
                  </a:lnTo>
                  <a:lnTo>
                    <a:pt x="1118" y="156"/>
                  </a:lnTo>
                  <a:lnTo>
                    <a:pt x="995" y="154"/>
                  </a:lnTo>
                  <a:lnTo>
                    <a:pt x="877" y="151"/>
                  </a:lnTo>
                  <a:lnTo>
                    <a:pt x="764" y="147"/>
                  </a:lnTo>
                  <a:lnTo>
                    <a:pt x="657" y="143"/>
                  </a:lnTo>
                  <a:lnTo>
                    <a:pt x="557" y="139"/>
                  </a:lnTo>
                  <a:lnTo>
                    <a:pt x="484" y="135"/>
                  </a:lnTo>
                  <a:lnTo>
                    <a:pt x="416" y="131"/>
                  </a:lnTo>
                  <a:lnTo>
                    <a:pt x="357" y="127"/>
                  </a:lnTo>
                  <a:lnTo>
                    <a:pt x="303" y="123"/>
                  </a:lnTo>
                  <a:lnTo>
                    <a:pt x="256" y="119"/>
                  </a:lnTo>
                  <a:lnTo>
                    <a:pt x="214" y="114"/>
                  </a:lnTo>
                  <a:lnTo>
                    <a:pt x="177" y="110"/>
                  </a:lnTo>
                  <a:lnTo>
                    <a:pt x="145" y="106"/>
                  </a:lnTo>
                  <a:lnTo>
                    <a:pt x="117" y="101"/>
                  </a:lnTo>
                  <a:lnTo>
                    <a:pt x="94" y="97"/>
                  </a:lnTo>
                  <a:lnTo>
                    <a:pt x="74" y="92"/>
                  </a:lnTo>
                  <a:lnTo>
                    <a:pt x="58" y="87"/>
                  </a:lnTo>
                  <a:lnTo>
                    <a:pt x="45" y="83"/>
                  </a:lnTo>
                  <a:lnTo>
                    <a:pt x="35" y="79"/>
                  </a:lnTo>
                  <a:lnTo>
                    <a:pt x="26" y="75"/>
                  </a:lnTo>
                  <a:lnTo>
                    <a:pt x="19" y="71"/>
                  </a:lnTo>
                  <a:lnTo>
                    <a:pt x="15" y="68"/>
                  </a:lnTo>
                  <a:lnTo>
                    <a:pt x="11" y="64"/>
                  </a:lnTo>
                  <a:lnTo>
                    <a:pt x="9" y="61"/>
                  </a:lnTo>
                  <a:lnTo>
                    <a:pt x="6" y="57"/>
                  </a:lnTo>
                  <a:lnTo>
                    <a:pt x="1" y="45"/>
                  </a:lnTo>
                  <a:lnTo>
                    <a:pt x="0" y="32"/>
                  </a:lnTo>
                  <a:lnTo>
                    <a:pt x="4" y="18"/>
                  </a:lnTo>
                  <a:lnTo>
                    <a:pt x="11" y="8"/>
                  </a:lnTo>
                  <a:lnTo>
                    <a:pt x="21" y="2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74" name="Freeform 208">
              <a:extLst>
                <a:ext uri="{FF2B5EF4-FFF2-40B4-BE49-F238E27FC236}">
                  <a16:creationId xmlns:a16="http://schemas.microsoft.com/office/drawing/2014/main" id="{CA87DFB3-2F8D-294F-3A76-F435968321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62838" y="5137151"/>
              <a:ext cx="1047750" cy="104775"/>
            </a:xfrm>
            <a:custGeom>
              <a:avLst/>
              <a:gdLst>
                <a:gd name="T0" fmla="*/ 257 w 3303"/>
                <a:gd name="T1" fmla="*/ 64 h 332"/>
                <a:gd name="T2" fmla="*/ 97 w 3303"/>
                <a:gd name="T3" fmla="*/ 271 h 332"/>
                <a:gd name="T4" fmla="*/ 3208 w 3303"/>
                <a:gd name="T5" fmla="*/ 271 h 332"/>
                <a:gd name="T6" fmla="*/ 3055 w 3303"/>
                <a:gd name="T7" fmla="*/ 64 h 332"/>
                <a:gd name="T8" fmla="*/ 257 w 3303"/>
                <a:gd name="T9" fmla="*/ 64 h 332"/>
                <a:gd name="T10" fmla="*/ 242 w 3303"/>
                <a:gd name="T11" fmla="*/ 0 h 332"/>
                <a:gd name="T12" fmla="*/ 3071 w 3303"/>
                <a:gd name="T13" fmla="*/ 0 h 332"/>
                <a:gd name="T14" fmla="*/ 3080 w 3303"/>
                <a:gd name="T15" fmla="*/ 1 h 332"/>
                <a:gd name="T16" fmla="*/ 3089 w 3303"/>
                <a:gd name="T17" fmla="*/ 6 h 332"/>
                <a:gd name="T18" fmla="*/ 3097 w 3303"/>
                <a:gd name="T19" fmla="*/ 13 h 332"/>
                <a:gd name="T20" fmla="*/ 3293 w 3303"/>
                <a:gd name="T21" fmla="*/ 280 h 332"/>
                <a:gd name="T22" fmla="*/ 3300 w 3303"/>
                <a:gd name="T23" fmla="*/ 290 h 332"/>
                <a:gd name="T24" fmla="*/ 3303 w 3303"/>
                <a:gd name="T25" fmla="*/ 302 h 332"/>
                <a:gd name="T26" fmla="*/ 3301 w 3303"/>
                <a:gd name="T27" fmla="*/ 316 h 332"/>
                <a:gd name="T28" fmla="*/ 3294 w 3303"/>
                <a:gd name="T29" fmla="*/ 325 h 332"/>
                <a:gd name="T30" fmla="*/ 3284 w 3303"/>
                <a:gd name="T31" fmla="*/ 332 h 332"/>
                <a:gd name="T32" fmla="*/ 21 w 3303"/>
                <a:gd name="T33" fmla="*/ 332 h 332"/>
                <a:gd name="T34" fmla="*/ 10 w 3303"/>
                <a:gd name="T35" fmla="*/ 326 h 332"/>
                <a:gd name="T36" fmla="*/ 3 w 3303"/>
                <a:gd name="T37" fmla="*/ 317 h 332"/>
                <a:gd name="T38" fmla="*/ 0 w 3303"/>
                <a:gd name="T39" fmla="*/ 305 h 332"/>
                <a:gd name="T40" fmla="*/ 1 w 3303"/>
                <a:gd name="T41" fmla="*/ 294 h 332"/>
                <a:gd name="T42" fmla="*/ 7 w 3303"/>
                <a:gd name="T43" fmla="*/ 283 h 332"/>
                <a:gd name="T44" fmla="*/ 216 w 3303"/>
                <a:gd name="T45" fmla="*/ 12 h 332"/>
                <a:gd name="T46" fmla="*/ 223 w 3303"/>
                <a:gd name="T47" fmla="*/ 5 h 332"/>
                <a:gd name="T48" fmla="*/ 231 w 3303"/>
                <a:gd name="T49" fmla="*/ 1 h 332"/>
                <a:gd name="T50" fmla="*/ 242 w 3303"/>
                <a:gd name="T51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303" h="332">
                  <a:moveTo>
                    <a:pt x="257" y="64"/>
                  </a:moveTo>
                  <a:lnTo>
                    <a:pt x="97" y="271"/>
                  </a:lnTo>
                  <a:lnTo>
                    <a:pt x="3208" y="271"/>
                  </a:lnTo>
                  <a:lnTo>
                    <a:pt x="3055" y="64"/>
                  </a:lnTo>
                  <a:lnTo>
                    <a:pt x="257" y="64"/>
                  </a:lnTo>
                  <a:close/>
                  <a:moveTo>
                    <a:pt x="242" y="0"/>
                  </a:moveTo>
                  <a:lnTo>
                    <a:pt x="3071" y="0"/>
                  </a:lnTo>
                  <a:lnTo>
                    <a:pt x="3080" y="1"/>
                  </a:lnTo>
                  <a:lnTo>
                    <a:pt x="3089" y="6"/>
                  </a:lnTo>
                  <a:lnTo>
                    <a:pt x="3097" y="13"/>
                  </a:lnTo>
                  <a:lnTo>
                    <a:pt x="3293" y="280"/>
                  </a:lnTo>
                  <a:lnTo>
                    <a:pt x="3300" y="290"/>
                  </a:lnTo>
                  <a:lnTo>
                    <a:pt x="3303" y="302"/>
                  </a:lnTo>
                  <a:lnTo>
                    <a:pt x="3301" y="316"/>
                  </a:lnTo>
                  <a:lnTo>
                    <a:pt x="3294" y="325"/>
                  </a:lnTo>
                  <a:lnTo>
                    <a:pt x="3284" y="332"/>
                  </a:lnTo>
                  <a:lnTo>
                    <a:pt x="21" y="332"/>
                  </a:lnTo>
                  <a:lnTo>
                    <a:pt x="10" y="326"/>
                  </a:lnTo>
                  <a:lnTo>
                    <a:pt x="3" y="317"/>
                  </a:lnTo>
                  <a:lnTo>
                    <a:pt x="0" y="305"/>
                  </a:lnTo>
                  <a:lnTo>
                    <a:pt x="1" y="294"/>
                  </a:lnTo>
                  <a:lnTo>
                    <a:pt x="7" y="283"/>
                  </a:lnTo>
                  <a:lnTo>
                    <a:pt x="216" y="12"/>
                  </a:lnTo>
                  <a:lnTo>
                    <a:pt x="223" y="5"/>
                  </a:lnTo>
                  <a:lnTo>
                    <a:pt x="231" y="1"/>
                  </a:lnTo>
                  <a:lnTo>
                    <a:pt x="24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75" name="Freeform 209">
              <a:extLst>
                <a:ext uri="{FF2B5EF4-FFF2-40B4-BE49-F238E27FC236}">
                  <a16:creationId xmlns:a16="http://schemas.microsoft.com/office/drawing/2014/main" id="{58BCB2F9-5E94-AEA8-BA9F-9F1EA4407A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18438" y="4699001"/>
              <a:ext cx="327025" cy="328613"/>
            </a:xfrm>
            <a:custGeom>
              <a:avLst/>
              <a:gdLst>
                <a:gd name="T0" fmla="*/ 836 w 1032"/>
                <a:gd name="T1" fmla="*/ 658 h 1033"/>
                <a:gd name="T2" fmla="*/ 769 w 1032"/>
                <a:gd name="T3" fmla="*/ 756 h 1033"/>
                <a:gd name="T4" fmla="*/ 939 w 1032"/>
                <a:gd name="T5" fmla="*/ 787 h 1033"/>
                <a:gd name="T6" fmla="*/ 1000 w 1032"/>
                <a:gd name="T7" fmla="*/ 654 h 1033"/>
                <a:gd name="T8" fmla="*/ 520 w 1032"/>
                <a:gd name="T9" fmla="*/ 0 h 1033"/>
                <a:gd name="T10" fmla="*/ 652 w 1032"/>
                <a:gd name="T11" fmla="*/ 17 h 1033"/>
                <a:gd name="T12" fmla="*/ 698 w 1032"/>
                <a:gd name="T13" fmla="*/ 31 h 1033"/>
                <a:gd name="T14" fmla="*/ 700 w 1032"/>
                <a:gd name="T15" fmla="*/ 34 h 1033"/>
                <a:gd name="T16" fmla="*/ 701 w 1032"/>
                <a:gd name="T17" fmla="*/ 38 h 1033"/>
                <a:gd name="T18" fmla="*/ 643 w 1032"/>
                <a:gd name="T19" fmla="*/ 203 h 1033"/>
                <a:gd name="T20" fmla="*/ 640 w 1032"/>
                <a:gd name="T21" fmla="*/ 207 h 1033"/>
                <a:gd name="T22" fmla="*/ 635 w 1032"/>
                <a:gd name="T23" fmla="*/ 209 h 1033"/>
                <a:gd name="T24" fmla="*/ 632 w 1032"/>
                <a:gd name="T25" fmla="*/ 209 h 1033"/>
                <a:gd name="T26" fmla="*/ 557 w 1032"/>
                <a:gd name="T27" fmla="*/ 191 h 1033"/>
                <a:gd name="T28" fmla="*/ 432 w 1032"/>
                <a:gd name="T29" fmla="*/ 202 h 1033"/>
                <a:gd name="T30" fmla="*/ 319 w 1032"/>
                <a:gd name="T31" fmla="*/ 257 h 1033"/>
                <a:gd name="T32" fmla="*/ 236 w 1032"/>
                <a:gd name="T33" fmla="*/ 352 h 1033"/>
                <a:gd name="T34" fmla="*/ 195 w 1032"/>
                <a:gd name="T35" fmla="*/ 472 h 1033"/>
                <a:gd name="T36" fmla="*/ 203 w 1032"/>
                <a:gd name="T37" fmla="*/ 603 h 1033"/>
                <a:gd name="T38" fmla="*/ 260 w 1032"/>
                <a:gd name="T39" fmla="*/ 716 h 1033"/>
                <a:gd name="T40" fmla="*/ 354 w 1032"/>
                <a:gd name="T41" fmla="*/ 799 h 1033"/>
                <a:gd name="T42" fmla="*/ 475 w 1032"/>
                <a:gd name="T43" fmla="*/ 841 h 1033"/>
                <a:gd name="T44" fmla="*/ 604 w 1032"/>
                <a:gd name="T45" fmla="*/ 832 h 1033"/>
                <a:gd name="T46" fmla="*/ 717 w 1032"/>
                <a:gd name="T47" fmla="*/ 778 h 1033"/>
                <a:gd name="T48" fmla="*/ 801 w 1032"/>
                <a:gd name="T49" fmla="*/ 685 h 1033"/>
                <a:gd name="T50" fmla="*/ 843 w 1032"/>
                <a:gd name="T51" fmla="*/ 571 h 1033"/>
                <a:gd name="T52" fmla="*/ 844 w 1032"/>
                <a:gd name="T53" fmla="*/ 567 h 1033"/>
                <a:gd name="T54" fmla="*/ 847 w 1032"/>
                <a:gd name="T55" fmla="*/ 565 h 1033"/>
                <a:gd name="T56" fmla="*/ 852 w 1032"/>
                <a:gd name="T57" fmla="*/ 563 h 1033"/>
                <a:gd name="T58" fmla="*/ 1024 w 1032"/>
                <a:gd name="T59" fmla="*/ 589 h 1033"/>
                <a:gd name="T60" fmla="*/ 1028 w 1032"/>
                <a:gd name="T61" fmla="*/ 590 h 1033"/>
                <a:gd name="T62" fmla="*/ 1030 w 1032"/>
                <a:gd name="T63" fmla="*/ 592 h 1033"/>
                <a:gd name="T64" fmla="*/ 1031 w 1032"/>
                <a:gd name="T65" fmla="*/ 595 h 1033"/>
                <a:gd name="T66" fmla="*/ 1032 w 1032"/>
                <a:gd name="T67" fmla="*/ 598 h 1033"/>
                <a:gd name="T68" fmla="*/ 1020 w 1032"/>
                <a:gd name="T69" fmla="*/ 653 h 1033"/>
                <a:gd name="T70" fmla="*/ 953 w 1032"/>
                <a:gd name="T71" fmla="*/ 800 h 1033"/>
                <a:gd name="T72" fmla="*/ 846 w 1032"/>
                <a:gd name="T73" fmla="*/ 918 h 1033"/>
                <a:gd name="T74" fmla="*/ 717 w 1032"/>
                <a:gd name="T75" fmla="*/ 995 h 1033"/>
                <a:gd name="T76" fmla="*/ 570 w 1032"/>
                <a:gd name="T77" fmla="*/ 1031 h 1033"/>
                <a:gd name="T78" fmla="*/ 409 w 1032"/>
                <a:gd name="T79" fmla="*/ 1021 h 1033"/>
                <a:gd name="T80" fmla="*/ 258 w 1032"/>
                <a:gd name="T81" fmla="*/ 962 h 1033"/>
                <a:gd name="T82" fmla="*/ 135 w 1032"/>
                <a:gd name="T83" fmla="*/ 863 h 1033"/>
                <a:gd name="T84" fmla="*/ 47 w 1032"/>
                <a:gd name="T85" fmla="*/ 730 h 1033"/>
                <a:gd name="T86" fmla="*/ 3 w 1032"/>
                <a:gd name="T87" fmla="*/ 573 h 1033"/>
                <a:gd name="T88" fmla="*/ 12 w 1032"/>
                <a:gd name="T89" fmla="*/ 405 h 1033"/>
                <a:gd name="T90" fmla="*/ 72 w 1032"/>
                <a:gd name="T91" fmla="*/ 255 h 1033"/>
                <a:gd name="T92" fmla="*/ 172 w 1032"/>
                <a:gd name="T93" fmla="*/ 133 h 1033"/>
                <a:gd name="T94" fmla="*/ 306 w 1032"/>
                <a:gd name="T95" fmla="*/ 45 h 1033"/>
                <a:gd name="T96" fmla="*/ 462 w 1032"/>
                <a:gd name="T97" fmla="*/ 3 h 1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32" h="1033">
                  <a:moveTo>
                    <a:pt x="860" y="582"/>
                  </a:moveTo>
                  <a:lnTo>
                    <a:pt x="849" y="620"/>
                  </a:lnTo>
                  <a:lnTo>
                    <a:pt x="836" y="658"/>
                  </a:lnTo>
                  <a:lnTo>
                    <a:pt x="818" y="692"/>
                  </a:lnTo>
                  <a:lnTo>
                    <a:pt x="795" y="726"/>
                  </a:lnTo>
                  <a:lnTo>
                    <a:pt x="769" y="756"/>
                  </a:lnTo>
                  <a:lnTo>
                    <a:pt x="878" y="864"/>
                  </a:lnTo>
                  <a:lnTo>
                    <a:pt x="910" y="827"/>
                  </a:lnTo>
                  <a:lnTo>
                    <a:pt x="939" y="787"/>
                  </a:lnTo>
                  <a:lnTo>
                    <a:pt x="964" y="745"/>
                  </a:lnTo>
                  <a:lnTo>
                    <a:pt x="985" y="701"/>
                  </a:lnTo>
                  <a:lnTo>
                    <a:pt x="1000" y="654"/>
                  </a:lnTo>
                  <a:lnTo>
                    <a:pt x="1011" y="605"/>
                  </a:lnTo>
                  <a:lnTo>
                    <a:pt x="860" y="582"/>
                  </a:lnTo>
                  <a:close/>
                  <a:moveTo>
                    <a:pt x="520" y="0"/>
                  </a:moveTo>
                  <a:lnTo>
                    <a:pt x="564" y="2"/>
                  </a:lnTo>
                  <a:lnTo>
                    <a:pt x="608" y="7"/>
                  </a:lnTo>
                  <a:lnTo>
                    <a:pt x="652" y="17"/>
                  </a:lnTo>
                  <a:lnTo>
                    <a:pt x="694" y="29"/>
                  </a:lnTo>
                  <a:lnTo>
                    <a:pt x="696" y="30"/>
                  </a:lnTo>
                  <a:lnTo>
                    <a:pt x="698" y="31"/>
                  </a:lnTo>
                  <a:lnTo>
                    <a:pt x="698" y="32"/>
                  </a:lnTo>
                  <a:lnTo>
                    <a:pt x="699" y="33"/>
                  </a:lnTo>
                  <a:lnTo>
                    <a:pt x="700" y="34"/>
                  </a:lnTo>
                  <a:lnTo>
                    <a:pt x="700" y="36"/>
                  </a:lnTo>
                  <a:lnTo>
                    <a:pt x="700" y="37"/>
                  </a:lnTo>
                  <a:lnTo>
                    <a:pt x="701" y="38"/>
                  </a:lnTo>
                  <a:lnTo>
                    <a:pt x="700" y="39"/>
                  </a:lnTo>
                  <a:lnTo>
                    <a:pt x="700" y="41"/>
                  </a:lnTo>
                  <a:lnTo>
                    <a:pt x="643" y="203"/>
                  </a:lnTo>
                  <a:lnTo>
                    <a:pt x="643" y="204"/>
                  </a:lnTo>
                  <a:lnTo>
                    <a:pt x="641" y="206"/>
                  </a:lnTo>
                  <a:lnTo>
                    <a:pt x="640" y="207"/>
                  </a:lnTo>
                  <a:lnTo>
                    <a:pt x="638" y="208"/>
                  </a:lnTo>
                  <a:lnTo>
                    <a:pt x="637" y="209"/>
                  </a:lnTo>
                  <a:lnTo>
                    <a:pt x="635" y="209"/>
                  </a:lnTo>
                  <a:lnTo>
                    <a:pt x="634" y="209"/>
                  </a:lnTo>
                  <a:lnTo>
                    <a:pt x="634" y="210"/>
                  </a:lnTo>
                  <a:lnTo>
                    <a:pt x="632" y="209"/>
                  </a:lnTo>
                  <a:lnTo>
                    <a:pt x="630" y="209"/>
                  </a:lnTo>
                  <a:lnTo>
                    <a:pt x="594" y="198"/>
                  </a:lnTo>
                  <a:lnTo>
                    <a:pt x="557" y="191"/>
                  </a:lnTo>
                  <a:lnTo>
                    <a:pt x="520" y="189"/>
                  </a:lnTo>
                  <a:lnTo>
                    <a:pt x="475" y="192"/>
                  </a:lnTo>
                  <a:lnTo>
                    <a:pt x="432" y="202"/>
                  </a:lnTo>
                  <a:lnTo>
                    <a:pt x="392" y="215"/>
                  </a:lnTo>
                  <a:lnTo>
                    <a:pt x="354" y="234"/>
                  </a:lnTo>
                  <a:lnTo>
                    <a:pt x="319" y="257"/>
                  </a:lnTo>
                  <a:lnTo>
                    <a:pt x="287" y="286"/>
                  </a:lnTo>
                  <a:lnTo>
                    <a:pt x="260" y="317"/>
                  </a:lnTo>
                  <a:lnTo>
                    <a:pt x="236" y="352"/>
                  </a:lnTo>
                  <a:lnTo>
                    <a:pt x="217" y="389"/>
                  </a:lnTo>
                  <a:lnTo>
                    <a:pt x="203" y="430"/>
                  </a:lnTo>
                  <a:lnTo>
                    <a:pt x="195" y="472"/>
                  </a:lnTo>
                  <a:lnTo>
                    <a:pt x="192" y="516"/>
                  </a:lnTo>
                  <a:lnTo>
                    <a:pt x="195" y="561"/>
                  </a:lnTo>
                  <a:lnTo>
                    <a:pt x="203" y="603"/>
                  </a:lnTo>
                  <a:lnTo>
                    <a:pt x="217" y="644"/>
                  </a:lnTo>
                  <a:lnTo>
                    <a:pt x="236" y="681"/>
                  </a:lnTo>
                  <a:lnTo>
                    <a:pt x="260" y="716"/>
                  </a:lnTo>
                  <a:lnTo>
                    <a:pt x="287" y="747"/>
                  </a:lnTo>
                  <a:lnTo>
                    <a:pt x="319" y="776"/>
                  </a:lnTo>
                  <a:lnTo>
                    <a:pt x="354" y="799"/>
                  </a:lnTo>
                  <a:lnTo>
                    <a:pt x="392" y="817"/>
                  </a:lnTo>
                  <a:lnTo>
                    <a:pt x="432" y="831"/>
                  </a:lnTo>
                  <a:lnTo>
                    <a:pt x="475" y="841"/>
                  </a:lnTo>
                  <a:lnTo>
                    <a:pt x="520" y="844"/>
                  </a:lnTo>
                  <a:lnTo>
                    <a:pt x="562" y="841"/>
                  </a:lnTo>
                  <a:lnTo>
                    <a:pt x="604" y="832"/>
                  </a:lnTo>
                  <a:lnTo>
                    <a:pt x="644" y="819"/>
                  </a:lnTo>
                  <a:lnTo>
                    <a:pt x="681" y="801"/>
                  </a:lnTo>
                  <a:lnTo>
                    <a:pt x="717" y="778"/>
                  </a:lnTo>
                  <a:lnTo>
                    <a:pt x="750" y="749"/>
                  </a:lnTo>
                  <a:lnTo>
                    <a:pt x="777" y="719"/>
                  </a:lnTo>
                  <a:lnTo>
                    <a:pt x="801" y="685"/>
                  </a:lnTo>
                  <a:lnTo>
                    <a:pt x="820" y="649"/>
                  </a:lnTo>
                  <a:lnTo>
                    <a:pt x="834" y="610"/>
                  </a:lnTo>
                  <a:lnTo>
                    <a:pt x="843" y="571"/>
                  </a:lnTo>
                  <a:lnTo>
                    <a:pt x="843" y="570"/>
                  </a:lnTo>
                  <a:lnTo>
                    <a:pt x="843" y="569"/>
                  </a:lnTo>
                  <a:lnTo>
                    <a:pt x="844" y="567"/>
                  </a:lnTo>
                  <a:lnTo>
                    <a:pt x="845" y="566"/>
                  </a:lnTo>
                  <a:lnTo>
                    <a:pt x="846" y="565"/>
                  </a:lnTo>
                  <a:lnTo>
                    <a:pt x="847" y="565"/>
                  </a:lnTo>
                  <a:lnTo>
                    <a:pt x="848" y="564"/>
                  </a:lnTo>
                  <a:lnTo>
                    <a:pt x="850" y="563"/>
                  </a:lnTo>
                  <a:lnTo>
                    <a:pt x="852" y="563"/>
                  </a:lnTo>
                  <a:lnTo>
                    <a:pt x="852" y="563"/>
                  </a:lnTo>
                  <a:lnTo>
                    <a:pt x="853" y="563"/>
                  </a:lnTo>
                  <a:lnTo>
                    <a:pt x="1024" y="589"/>
                  </a:lnTo>
                  <a:lnTo>
                    <a:pt x="1025" y="589"/>
                  </a:lnTo>
                  <a:lnTo>
                    <a:pt x="1026" y="589"/>
                  </a:lnTo>
                  <a:lnTo>
                    <a:pt x="1028" y="590"/>
                  </a:lnTo>
                  <a:lnTo>
                    <a:pt x="1029" y="591"/>
                  </a:lnTo>
                  <a:lnTo>
                    <a:pt x="1030" y="592"/>
                  </a:lnTo>
                  <a:lnTo>
                    <a:pt x="1030" y="592"/>
                  </a:lnTo>
                  <a:lnTo>
                    <a:pt x="1031" y="593"/>
                  </a:lnTo>
                  <a:lnTo>
                    <a:pt x="1031" y="594"/>
                  </a:lnTo>
                  <a:lnTo>
                    <a:pt x="1031" y="595"/>
                  </a:lnTo>
                  <a:lnTo>
                    <a:pt x="1032" y="596"/>
                  </a:lnTo>
                  <a:lnTo>
                    <a:pt x="1032" y="597"/>
                  </a:lnTo>
                  <a:lnTo>
                    <a:pt x="1032" y="598"/>
                  </a:lnTo>
                  <a:lnTo>
                    <a:pt x="1032" y="598"/>
                  </a:lnTo>
                  <a:lnTo>
                    <a:pt x="1032" y="599"/>
                  </a:lnTo>
                  <a:lnTo>
                    <a:pt x="1020" y="653"/>
                  </a:lnTo>
                  <a:lnTo>
                    <a:pt x="1003" y="705"/>
                  </a:lnTo>
                  <a:lnTo>
                    <a:pt x="981" y="753"/>
                  </a:lnTo>
                  <a:lnTo>
                    <a:pt x="953" y="800"/>
                  </a:lnTo>
                  <a:lnTo>
                    <a:pt x="922" y="844"/>
                  </a:lnTo>
                  <a:lnTo>
                    <a:pt x="884" y="884"/>
                  </a:lnTo>
                  <a:lnTo>
                    <a:pt x="846" y="918"/>
                  </a:lnTo>
                  <a:lnTo>
                    <a:pt x="806" y="948"/>
                  </a:lnTo>
                  <a:lnTo>
                    <a:pt x="762" y="973"/>
                  </a:lnTo>
                  <a:lnTo>
                    <a:pt x="717" y="995"/>
                  </a:lnTo>
                  <a:lnTo>
                    <a:pt x="669" y="1012"/>
                  </a:lnTo>
                  <a:lnTo>
                    <a:pt x="620" y="1023"/>
                  </a:lnTo>
                  <a:lnTo>
                    <a:pt x="570" y="1031"/>
                  </a:lnTo>
                  <a:lnTo>
                    <a:pt x="520" y="1033"/>
                  </a:lnTo>
                  <a:lnTo>
                    <a:pt x="462" y="1030"/>
                  </a:lnTo>
                  <a:lnTo>
                    <a:pt x="409" y="1021"/>
                  </a:lnTo>
                  <a:lnTo>
                    <a:pt x="356" y="1007"/>
                  </a:lnTo>
                  <a:lnTo>
                    <a:pt x="306" y="988"/>
                  </a:lnTo>
                  <a:lnTo>
                    <a:pt x="258" y="962"/>
                  </a:lnTo>
                  <a:lnTo>
                    <a:pt x="213" y="934"/>
                  </a:lnTo>
                  <a:lnTo>
                    <a:pt x="172" y="900"/>
                  </a:lnTo>
                  <a:lnTo>
                    <a:pt x="135" y="863"/>
                  </a:lnTo>
                  <a:lnTo>
                    <a:pt x="101" y="821"/>
                  </a:lnTo>
                  <a:lnTo>
                    <a:pt x="72" y="777"/>
                  </a:lnTo>
                  <a:lnTo>
                    <a:pt x="47" y="730"/>
                  </a:lnTo>
                  <a:lnTo>
                    <a:pt x="27" y="679"/>
                  </a:lnTo>
                  <a:lnTo>
                    <a:pt x="12" y="628"/>
                  </a:lnTo>
                  <a:lnTo>
                    <a:pt x="3" y="573"/>
                  </a:lnTo>
                  <a:lnTo>
                    <a:pt x="0" y="516"/>
                  </a:lnTo>
                  <a:lnTo>
                    <a:pt x="3" y="460"/>
                  </a:lnTo>
                  <a:lnTo>
                    <a:pt x="12" y="405"/>
                  </a:lnTo>
                  <a:lnTo>
                    <a:pt x="27" y="354"/>
                  </a:lnTo>
                  <a:lnTo>
                    <a:pt x="47" y="303"/>
                  </a:lnTo>
                  <a:lnTo>
                    <a:pt x="72" y="255"/>
                  </a:lnTo>
                  <a:lnTo>
                    <a:pt x="101" y="212"/>
                  </a:lnTo>
                  <a:lnTo>
                    <a:pt x="135" y="170"/>
                  </a:lnTo>
                  <a:lnTo>
                    <a:pt x="172" y="133"/>
                  </a:lnTo>
                  <a:lnTo>
                    <a:pt x="213" y="99"/>
                  </a:lnTo>
                  <a:lnTo>
                    <a:pt x="258" y="70"/>
                  </a:lnTo>
                  <a:lnTo>
                    <a:pt x="306" y="45"/>
                  </a:lnTo>
                  <a:lnTo>
                    <a:pt x="356" y="26"/>
                  </a:lnTo>
                  <a:lnTo>
                    <a:pt x="409" y="12"/>
                  </a:lnTo>
                  <a:lnTo>
                    <a:pt x="462" y="3"/>
                  </a:lnTo>
                  <a:lnTo>
                    <a:pt x="52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76" name="Freeform 210">
              <a:extLst>
                <a:ext uri="{FF2B5EF4-FFF2-40B4-BE49-F238E27FC236}">
                  <a16:creationId xmlns:a16="http://schemas.microsoft.com/office/drawing/2014/main" id="{AB3D45DA-9684-5FF4-C33A-9EBDF93EB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53388" y="4675188"/>
              <a:ext cx="131763" cy="184150"/>
            </a:xfrm>
            <a:custGeom>
              <a:avLst/>
              <a:gdLst>
                <a:gd name="T0" fmla="*/ 71 w 415"/>
                <a:gd name="T1" fmla="*/ 1 h 579"/>
                <a:gd name="T2" fmla="*/ 121 w 415"/>
                <a:gd name="T3" fmla="*/ 22 h 579"/>
                <a:gd name="T4" fmla="*/ 211 w 415"/>
                <a:gd name="T5" fmla="*/ 77 h 579"/>
                <a:gd name="T6" fmla="*/ 288 w 415"/>
                <a:gd name="T7" fmla="*/ 149 h 579"/>
                <a:gd name="T8" fmla="*/ 348 w 415"/>
                <a:gd name="T9" fmla="*/ 234 h 579"/>
                <a:gd name="T10" fmla="*/ 390 w 415"/>
                <a:gd name="T11" fmla="*/ 329 h 579"/>
                <a:gd name="T12" fmla="*/ 412 w 415"/>
                <a:gd name="T13" fmla="*/ 434 h 579"/>
                <a:gd name="T14" fmla="*/ 413 w 415"/>
                <a:gd name="T15" fmla="*/ 529 h 579"/>
                <a:gd name="T16" fmla="*/ 408 w 415"/>
                <a:gd name="T17" fmla="*/ 572 h 579"/>
                <a:gd name="T18" fmla="*/ 407 w 415"/>
                <a:gd name="T19" fmla="*/ 574 h 579"/>
                <a:gd name="T20" fmla="*/ 405 w 415"/>
                <a:gd name="T21" fmla="*/ 576 h 579"/>
                <a:gd name="T22" fmla="*/ 404 w 415"/>
                <a:gd name="T23" fmla="*/ 577 h 579"/>
                <a:gd name="T24" fmla="*/ 403 w 415"/>
                <a:gd name="T25" fmla="*/ 578 h 579"/>
                <a:gd name="T26" fmla="*/ 399 w 415"/>
                <a:gd name="T27" fmla="*/ 579 h 579"/>
                <a:gd name="T28" fmla="*/ 228 w 415"/>
                <a:gd name="T29" fmla="*/ 552 h 579"/>
                <a:gd name="T30" fmla="*/ 227 w 415"/>
                <a:gd name="T31" fmla="*/ 551 h 579"/>
                <a:gd name="T32" fmla="*/ 224 w 415"/>
                <a:gd name="T33" fmla="*/ 550 h 579"/>
                <a:gd name="T34" fmla="*/ 222 w 415"/>
                <a:gd name="T35" fmla="*/ 549 h 579"/>
                <a:gd name="T36" fmla="*/ 221 w 415"/>
                <a:gd name="T37" fmla="*/ 548 h 579"/>
                <a:gd name="T38" fmla="*/ 220 w 415"/>
                <a:gd name="T39" fmla="*/ 545 h 579"/>
                <a:gd name="T40" fmla="*/ 220 w 415"/>
                <a:gd name="T41" fmla="*/ 543 h 579"/>
                <a:gd name="T42" fmla="*/ 219 w 415"/>
                <a:gd name="T43" fmla="*/ 541 h 579"/>
                <a:gd name="T44" fmla="*/ 224 w 415"/>
                <a:gd name="T45" fmla="*/ 488 h 579"/>
                <a:gd name="T46" fmla="*/ 214 w 415"/>
                <a:gd name="T47" fmla="*/ 407 h 579"/>
                <a:gd name="T48" fmla="*/ 186 w 415"/>
                <a:gd name="T49" fmla="*/ 333 h 579"/>
                <a:gd name="T50" fmla="*/ 140 w 415"/>
                <a:gd name="T51" fmla="*/ 269 h 579"/>
                <a:gd name="T52" fmla="*/ 80 w 415"/>
                <a:gd name="T53" fmla="*/ 217 h 579"/>
                <a:gd name="T54" fmla="*/ 7 w 415"/>
                <a:gd name="T55" fmla="*/ 179 h 579"/>
                <a:gd name="T56" fmla="*/ 6 w 415"/>
                <a:gd name="T57" fmla="*/ 179 h 579"/>
                <a:gd name="T58" fmla="*/ 4 w 415"/>
                <a:gd name="T59" fmla="*/ 178 h 579"/>
                <a:gd name="T60" fmla="*/ 2 w 415"/>
                <a:gd name="T61" fmla="*/ 175 h 579"/>
                <a:gd name="T62" fmla="*/ 2 w 415"/>
                <a:gd name="T63" fmla="*/ 172 h 579"/>
                <a:gd name="T64" fmla="*/ 2 w 415"/>
                <a:gd name="T65" fmla="*/ 170 h 579"/>
                <a:gd name="T66" fmla="*/ 59 w 415"/>
                <a:gd name="T67" fmla="*/ 7 h 579"/>
                <a:gd name="T68" fmla="*/ 61 w 415"/>
                <a:gd name="T69" fmla="*/ 3 h 579"/>
                <a:gd name="T70" fmla="*/ 63 w 415"/>
                <a:gd name="T71" fmla="*/ 2 h 579"/>
                <a:gd name="T72" fmla="*/ 64 w 415"/>
                <a:gd name="T73" fmla="*/ 1 h 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15" h="579">
                  <a:moveTo>
                    <a:pt x="68" y="0"/>
                  </a:moveTo>
                  <a:lnTo>
                    <a:pt x="71" y="1"/>
                  </a:lnTo>
                  <a:lnTo>
                    <a:pt x="71" y="1"/>
                  </a:lnTo>
                  <a:lnTo>
                    <a:pt x="121" y="22"/>
                  </a:lnTo>
                  <a:lnTo>
                    <a:pt x="167" y="47"/>
                  </a:lnTo>
                  <a:lnTo>
                    <a:pt x="211" y="77"/>
                  </a:lnTo>
                  <a:lnTo>
                    <a:pt x="252" y="111"/>
                  </a:lnTo>
                  <a:lnTo>
                    <a:pt x="288" y="149"/>
                  </a:lnTo>
                  <a:lnTo>
                    <a:pt x="320" y="189"/>
                  </a:lnTo>
                  <a:lnTo>
                    <a:pt x="348" y="234"/>
                  </a:lnTo>
                  <a:lnTo>
                    <a:pt x="371" y="281"/>
                  </a:lnTo>
                  <a:lnTo>
                    <a:pt x="390" y="329"/>
                  </a:lnTo>
                  <a:lnTo>
                    <a:pt x="404" y="381"/>
                  </a:lnTo>
                  <a:lnTo>
                    <a:pt x="412" y="434"/>
                  </a:lnTo>
                  <a:lnTo>
                    <a:pt x="415" y="488"/>
                  </a:lnTo>
                  <a:lnTo>
                    <a:pt x="413" y="529"/>
                  </a:lnTo>
                  <a:lnTo>
                    <a:pt x="409" y="571"/>
                  </a:lnTo>
                  <a:lnTo>
                    <a:pt x="408" y="572"/>
                  </a:lnTo>
                  <a:lnTo>
                    <a:pt x="408" y="572"/>
                  </a:lnTo>
                  <a:lnTo>
                    <a:pt x="407" y="574"/>
                  </a:lnTo>
                  <a:lnTo>
                    <a:pt x="406" y="575"/>
                  </a:lnTo>
                  <a:lnTo>
                    <a:pt x="405" y="576"/>
                  </a:lnTo>
                  <a:lnTo>
                    <a:pt x="405" y="577"/>
                  </a:lnTo>
                  <a:lnTo>
                    <a:pt x="404" y="577"/>
                  </a:lnTo>
                  <a:lnTo>
                    <a:pt x="403" y="578"/>
                  </a:lnTo>
                  <a:lnTo>
                    <a:pt x="403" y="578"/>
                  </a:lnTo>
                  <a:lnTo>
                    <a:pt x="401" y="578"/>
                  </a:lnTo>
                  <a:lnTo>
                    <a:pt x="399" y="579"/>
                  </a:lnTo>
                  <a:lnTo>
                    <a:pt x="398" y="578"/>
                  </a:lnTo>
                  <a:lnTo>
                    <a:pt x="228" y="552"/>
                  </a:lnTo>
                  <a:lnTo>
                    <a:pt x="227" y="551"/>
                  </a:lnTo>
                  <a:lnTo>
                    <a:pt x="227" y="551"/>
                  </a:lnTo>
                  <a:lnTo>
                    <a:pt x="226" y="551"/>
                  </a:lnTo>
                  <a:lnTo>
                    <a:pt x="224" y="550"/>
                  </a:lnTo>
                  <a:lnTo>
                    <a:pt x="223" y="550"/>
                  </a:lnTo>
                  <a:lnTo>
                    <a:pt x="222" y="549"/>
                  </a:lnTo>
                  <a:lnTo>
                    <a:pt x="222" y="549"/>
                  </a:lnTo>
                  <a:lnTo>
                    <a:pt x="221" y="548"/>
                  </a:lnTo>
                  <a:lnTo>
                    <a:pt x="220" y="546"/>
                  </a:lnTo>
                  <a:lnTo>
                    <a:pt x="220" y="545"/>
                  </a:lnTo>
                  <a:lnTo>
                    <a:pt x="220" y="544"/>
                  </a:lnTo>
                  <a:lnTo>
                    <a:pt x="220" y="543"/>
                  </a:lnTo>
                  <a:lnTo>
                    <a:pt x="219" y="541"/>
                  </a:lnTo>
                  <a:lnTo>
                    <a:pt x="219" y="541"/>
                  </a:lnTo>
                  <a:lnTo>
                    <a:pt x="223" y="514"/>
                  </a:lnTo>
                  <a:lnTo>
                    <a:pt x="224" y="488"/>
                  </a:lnTo>
                  <a:lnTo>
                    <a:pt x="221" y="447"/>
                  </a:lnTo>
                  <a:lnTo>
                    <a:pt x="214" y="407"/>
                  </a:lnTo>
                  <a:lnTo>
                    <a:pt x="202" y="369"/>
                  </a:lnTo>
                  <a:lnTo>
                    <a:pt x="186" y="333"/>
                  </a:lnTo>
                  <a:lnTo>
                    <a:pt x="164" y="300"/>
                  </a:lnTo>
                  <a:lnTo>
                    <a:pt x="140" y="269"/>
                  </a:lnTo>
                  <a:lnTo>
                    <a:pt x="111" y="241"/>
                  </a:lnTo>
                  <a:lnTo>
                    <a:pt x="80" y="217"/>
                  </a:lnTo>
                  <a:lnTo>
                    <a:pt x="44" y="196"/>
                  </a:lnTo>
                  <a:lnTo>
                    <a:pt x="7" y="179"/>
                  </a:lnTo>
                  <a:lnTo>
                    <a:pt x="7" y="179"/>
                  </a:lnTo>
                  <a:lnTo>
                    <a:pt x="6" y="179"/>
                  </a:lnTo>
                  <a:lnTo>
                    <a:pt x="5" y="178"/>
                  </a:lnTo>
                  <a:lnTo>
                    <a:pt x="4" y="178"/>
                  </a:lnTo>
                  <a:lnTo>
                    <a:pt x="3" y="176"/>
                  </a:lnTo>
                  <a:lnTo>
                    <a:pt x="2" y="175"/>
                  </a:lnTo>
                  <a:lnTo>
                    <a:pt x="2" y="173"/>
                  </a:lnTo>
                  <a:lnTo>
                    <a:pt x="2" y="172"/>
                  </a:lnTo>
                  <a:lnTo>
                    <a:pt x="0" y="171"/>
                  </a:lnTo>
                  <a:lnTo>
                    <a:pt x="2" y="170"/>
                  </a:lnTo>
                  <a:lnTo>
                    <a:pt x="2" y="168"/>
                  </a:lnTo>
                  <a:lnTo>
                    <a:pt x="59" y="7"/>
                  </a:lnTo>
                  <a:lnTo>
                    <a:pt x="60" y="5"/>
                  </a:lnTo>
                  <a:lnTo>
                    <a:pt x="61" y="3"/>
                  </a:lnTo>
                  <a:lnTo>
                    <a:pt x="62" y="3"/>
                  </a:lnTo>
                  <a:lnTo>
                    <a:pt x="63" y="2"/>
                  </a:lnTo>
                  <a:lnTo>
                    <a:pt x="64" y="1"/>
                  </a:lnTo>
                  <a:lnTo>
                    <a:pt x="64" y="1"/>
                  </a:lnTo>
                  <a:lnTo>
                    <a:pt x="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77" name="Freeform 211">
              <a:extLst>
                <a:ext uri="{FF2B5EF4-FFF2-40B4-BE49-F238E27FC236}">
                  <a16:creationId xmlns:a16="http://schemas.microsoft.com/office/drawing/2014/main" id="{B0DDCC86-91A9-F9AF-6893-F8D1A54FC8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2763" y="4946651"/>
              <a:ext cx="77788" cy="42863"/>
            </a:xfrm>
            <a:custGeom>
              <a:avLst/>
              <a:gdLst>
                <a:gd name="T0" fmla="*/ 29 w 248"/>
                <a:gd name="T1" fmla="*/ 0 h 136"/>
                <a:gd name="T2" fmla="*/ 124 w 248"/>
                <a:gd name="T3" fmla="*/ 95 h 136"/>
                <a:gd name="T4" fmla="*/ 248 w 248"/>
                <a:gd name="T5" fmla="*/ 95 h 136"/>
                <a:gd name="T6" fmla="*/ 248 w 248"/>
                <a:gd name="T7" fmla="*/ 136 h 136"/>
                <a:gd name="T8" fmla="*/ 107 w 248"/>
                <a:gd name="T9" fmla="*/ 136 h 136"/>
                <a:gd name="T10" fmla="*/ 0 w 248"/>
                <a:gd name="T11" fmla="*/ 29 h 136"/>
                <a:gd name="T12" fmla="*/ 29 w 248"/>
                <a:gd name="T1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8" h="136">
                  <a:moveTo>
                    <a:pt x="29" y="0"/>
                  </a:moveTo>
                  <a:lnTo>
                    <a:pt x="124" y="95"/>
                  </a:lnTo>
                  <a:lnTo>
                    <a:pt x="248" y="95"/>
                  </a:lnTo>
                  <a:lnTo>
                    <a:pt x="248" y="136"/>
                  </a:lnTo>
                  <a:lnTo>
                    <a:pt x="107" y="136"/>
                  </a:lnTo>
                  <a:lnTo>
                    <a:pt x="0" y="29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78" name="Freeform 212">
              <a:extLst>
                <a:ext uri="{FF2B5EF4-FFF2-40B4-BE49-F238E27FC236}">
                  <a16:creationId xmlns:a16="http://schemas.microsoft.com/office/drawing/2014/main" id="{CA887079-A3FB-C91F-22A8-A6B62D2FF6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6675" y="4924426"/>
              <a:ext cx="123825" cy="49213"/>
            </a:xfrm>
            <a:custGeom>
              <a:avLst/>
              <a:gdLst>
                <a:gd name="T0" fmla="*/ 369 w 390"/>
                <a:gd name="T1" fmla="*/ 0 h 153"/>
                <a:gd name="T2" fmla="*/ 390 w 390"/>
                <a:gd name="T3" fmla="*/ 35 h 153"/>
                <a:gd name="T4" fmla="*/ 190 w 390"/>
                <a:gd name="T5" fmla="*/ 153 h 153"/>
                <a:gd name="T6" fmla="*/ 0 w 390"/>
                <a:gd name="T7" fmla="*/ 153 h 153"/>
                <a:gd name="T8" fmla="*/ 0 w 390"/>
                <a:gd name="T9" fmla="*/ 111 h 153"/>
                <a:gd name="T10" fmla="*/ 179 w 390"/>
                <a:gd name="T11" fmla="*/ 111 h 153"/>
                <a:gd name="T12" fmla="*/ 369 w 390"/>
                <a:gd name="T13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0" h="153">
                  <a:moveTo>
                    <a:pt x="369" y="0"/>
                  </a:moveTo>
                  <a:lnTo>
                    <a:pt x="390" y="35"/>
                  </a:lnTo>
                  <a:lnTo>
                    <a:pt x="190" y="153"/>
                  </a:lnTo>
                  <a:lnTo>
                    <a:pt x="0" y="153"/>
                  </a:lnTo>
                  <a:lnTo>
                    <a:pt x="0" y="111"/>
                  </a:lnTo>
                  <a:lnTo>
                    <a:pt x="179" y="111"/>
                  </a:lnTo>
                  <a:lnTo>
                    <a:pt x="3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79" name="Freeform 213">
              <a:extLst>
                <a:ext uri="{FF2B5EF4-FFF2-40B4-BE49-F238E27FC236}">
                  <a16:creationId xmlns:a16="http://schemas.microsoft.com/office/drawing/2014/main" id="{BF56D2E1-7C88-2014-0E67-26AF569ED95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9275" y="4686301"/>
              <a:ext cx="117475" cy="53975"/>
            </a:xfrm>
            <a:custGeom>
              <a:avLst/>
              <a:gdLst>
                <a:gd name="T0" fmla="*/ 142 w 371"/>
                <a:gd name="T1" fmla="*/ 0 h 170"/>
                <a:gd name="T2" fmla="*/ 371 w 371"/>
                <a:gd name="T3" fmla="*/ 0 h 170"/>
                <a:gd name="T4" fmla="*/ 371 w 371"/>
                <a:gd name="T5" fmla="*/ 41 h 170"/>
                <a:gd name="T6" fmla="*/ 159 w 371"/>
                <a:gd name="T7" fmla="*/ 41 h 170"/>
                <a:gd name="T8" fmla="*/ 29 w 371"/>
                <a:gd name="T9" fmla="*/ 170 h 170"/>
                <a:gd name="T10" fmla="*/ 0 w 371"/>
                <a:gd name="T11" fmla="*/ 141 h 170"/>
                <a:gd name="T12" fmla="*/ 142 w 371"/>
                <a:gd name="T13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1" h="170">
                  <a:moveTo>
                    <a:pt x="142" y="0"/>
                  </a:moveTo>
                  <a:lnTo>
                    <a:pt x="371" y="0"/>
                  </a:lnTo>
                  <a:lnTo>
                    <a:pt x="371" y="41"/>
                  </a:lnTo>
                  <a:lnTo>
                    <a:pt x="159" y="41"/>
                  </a:lnTo>
                  <a:lnTo>
                    <a:pt x="29" y="170"/>
                  </a:lnTo>
                  <a:lnTo>
                    <a:pt x="0" y="141"/>
                  </a:lnTo>
                  <a:lnTo>
                    <a:pt x="14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80C40C96-FA6C-A516-A1A3-4DBAD9CBB1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61363" y="4818063"/>
              <a:ext cx="50800" cy="793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2216747B-950C-DA1E-404E-C735B4709C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01038" y="4833938"/>
              <a:ext cx="111125" cy="635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3A7352D9-3FD8-B32E-1892-26DE54FEE3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4375" y="4849813"/>
              <a:ext cx="77788" cy="635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F5391F78-3E3C-74A6-28A4-DF7A50A792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43900" y="4865688"/>
              <a:ext cx="68263" cy="635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C9B7B222-BBD4-1897-0BB9-1947AA45A7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66113" y="4879976"/>
              <a:ext cx="146050" cy="793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AF671223-4564-E245-A890-9E9B6A23DE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08975" y="4895851"/>
              <a:ext cx="103188" cy="793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86" name="Freeform 220">
              <a:extLst>
                <a:ext uri="{FF2B5EF4-FFF2-40B4-BE49-F238E27FC236}">
                  <a16:creationId xmlns:a16="http://schemas.microsoft.com/office/drawing/2014/main" id="{D13484D9-2AB6-8155-876F-26A40CA8BA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23250" y="4929188"/>
              <a:ext cx="169863" cy="125413"/>
            </a:xfrm>
            <a:custGeom>
              <a:avLst/>
              <a:gdLst>
                <a:gd name="T0" fmla="*/ 296 w 535"/>
                <a:gd name="T1" fmla="*/ 110 h 396"/>
                <a:gd name="T2" fmla="*/ 247 w 535"/>
                <a:gd name="T3" fmla="*/ 159 h 396"/>
                <a:gd name="T4" fmla="*/ 239 w 535"/>
                <a:gd name="T5" fmla="*/ 230 h 396"/>
                <a:gd name="T6" fmla="*/ 276 w 535"/>
                <a:gd name="T7" fmla="*/ 288 h 396"/>
                <a:gd name="T8" fmla="*/ 342 w 535"/>
                <a:gd name="T9" fmla="*/ 311 h 396"/>
                <a:gd name="T10" fmla="*/ 409 w 535"/>
                <a:gd name="T11" fmla="*/ 288 h 396"/>
                <a:gd name="T12" fmla="*/ 446 w 535"/>
                <a:gd name="T13" fmla="*/ 230 h 396"/>
                <a:gd name="T14" fmla="*/ 438 w 535"/>
                <a:gd name="T15" fmla="*/ 159 h 396"/>
                <a:gd name="T16" fmla="*/ 389 w 535"/>
                <a:gd name="T17" fmla="*/ 110 h 396"/>
                <a:gd name="T18" fmla="*/ 342 w 535"/>
                <a:gd name="T19" fmla="*/ 30 h 396"/>
                <a:gd name="T20" fmla="*/ 263 w 535"/>
                <a:gd name="T21" fmla="*/ 50 h 396"/>
                <a:gd name="T22" fmla="*/ 302 w 535"/>
                <a:gd name="T23" fmla="*/ 97 h 396"/>
                <a:gd name="T24" fmla="*/ 369 w 535"/>
                <a:gd name="T25" fmla="*/ 93 h 396"/>
                <a:gd name="T26" fmla="*/ 433 w 535"/>
                <a:gd name="T27" fmla="*/ 134 h 396"/>
                <a:gd name="T28" fmla="*/ 458 w 535"/>
                <a:gd name="T29" fmla="*/ 206 h 396"/>
                <a:gd name="T30" fmla="*/ 433 w 535"/>
                <a:gd name="T31" fmla="*/ 278 h 396"/>
                <a:gd name="T32" fmla="*/ 369 w 535"/>
                <a:gd name="T33" fmla="*/ 317 h 396"/>
                <a:gd name="T34" fmla="*/ 291 w 535"/>
                <a:gd name="T35" fmla="*/ 309 h 396"/>
                <a:gd name="T36" fmla="*/ 238 w 535"/>
                <a:gd name="T37" fmla="*/ 256 h 396"/>
                <a:gd name="T38" fmla="*/ 229 w 535"/>
                <a:gd name="T39" fmla="*/ 182 h 396"/>
                <a:gd name="T40" fmla="*/ 260 w 535"/>
                <a:gd name="T41" fmla="*/ 126 h 396"/>
                <a:gd name="T42" fmla="*/ 211 w 535"/>
                <a:gd name="T43" fmla="*/ 90 h 396"/>
                <a:gd name="T44" fmla="*/ 170 w 535"/>
                <a:gd name="T45" fmla="*/ 173 h 396"/>
                <a:gd name="T46" fmla="*/ 177 w 535"/>
                <a:gd name="T47" fmla="*/ 267 h 396"/>
                <a:gd name="T48" fmla="*/ 229 w 535"/>
                <a:gd name="T49" fmla="*/ 340 h 396"/>
                <a:gd name="T50" fmla="*/ 311 w 535"/>
                <a:gd name="T51" fmla="*/ 378 h 396"/>
                <a:gd name="T52" fmla="*/ 404 w 535"/>
                <a:gd name="T53" fmla="*/ 370 h 396"/>
                <a:gd name="T54" fmla="*/ 477 w 535"/>
                <a:gd name="T55" fmla="*/ 318 h 396"/>
                <a:gd name="T56" fmla="*/ 515 w 535"/>
                <a:gd name="T57" fmla="*/ 237 h 396"/>
                <a:gd name="T58" fmla="*/ 507 w 535"/>
                <a:gd name="T59" fmla="*/ 144 h 396"/>
                <a:gd name="T60" fmla="*/ 456 w 535"/>
                <a:gd name="T61" fmla="*/ 72 h 396"/>
                <a:gd name="T62" fmla="*/ 374 w 535"/>
                <a:gd name="T63" fmla="*/ 33 h 396"/>
                <a:gd name="T64" fmla="*/ 177 w 535"/>
                <a:gd name="T65" fmla="*/ 0 h 396"/>
                <a:gd name="T66" fmla="*/ 282 w 535"/>
                <a:gd name="T67" fmla="*/ 24 h 396"/>
                <a:gd name="T68" fmla="*/ 377 w 535"/>
                <a:gd name="T69" fmla="*/ 17 h 396"/>
                <a:gd name="T70" fmla="*/ 466 w 535"/>
                <a:gd name="T71" fmla="*/ 60 h 396"/>
                <a:gd name="T72" fmla="*/ 522 w 535"/>
                <a:gd name="T73" fmla="*/ 139 h 396"/>
                <a:gd name="T74" fmla="*/ 532 w 535"/>
                <a:gd name="T75" fmla="*/ 240 h 396"/>
                <a:gd name="T76" fmla="*/ 490 w 535"/>
                <a:gd name="T77" fmla="*/ 328 h 396"/>
                <a:gd name="T78" fmla="*/ 409 w 535"/>
                <a:gd name="T79" fmla="*/ 384 h 396"/>
                <a:gd name="T80" fmla="*/ 308 w 535"/>
                <a:gd name="T81" fmla="*/ 393 h 396"/>
                <a:gd name="T82" fmla="*/ 219 w 535"/>
                <a:gd name="T83" fmla="*/ 352 h 396"/>
                <a:gd name="T84" fmla="*/ 163 w 535"/>
                <a:gd name="T85" fmla="*/ 272 h 396"/>
                <a:gd name="T86" fmla="*/ 153 w 535"/>
                <a:gd name="T87" fmla="*/ 176 h 396"/>
                <a:gd name="T88" fmla="*/ 183 w 535"/>
                <a:gd name="T89" fmla="*/ 98 h 396"/>
                <a:gd name="T90" fmla="*/ 173 w 535"/>
                <a:gd name="T91" fmla="*/ 10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35" h="396">
                  <a:moveTo>
                    <a:pt x="342" y="99"/>
                  </a:moveTo>
                  <a:lnTo>
                    <a:pt x="318" y="102"/>
                  </a:lnTo>
                  <a:lnTo>
                    <a:pt x="296" y="110"/>
                  </a:lnTo>
                  <a:lnTo>
                    <a:pt x="276" y="123"/>
                  </a:lnTo>
                  <a:lnTo>
                    <a:pt x="260" y="140"/>
                  </a:lnTo>
                  <a:lnTo>
                    <a:pt x="247" y="159"/>
                  </a:lnTo>
                  <a:lnTo>
                    <a:pt x="239" y="181"/>
                  </a:lnTo>
                  <a:lnTo>
                    <a:pt x="236" y="206"/>
                  </a:lnTo>
                  <a:lnTo>
                    <a:pt x="239" y="230"/>
                  </a:lnTo>
                  <a:lnTo>
                    <a:pt x="247" y="252"/>
                  </a:lnTo>
                  <a:lnTo>
                    <a:pt x="260" y="272"/>
                  </a:lnTo>
                  <a:lnTo>
                    <a:pt x="276" y="288"/>
                  </a:lnTo>
                  <a:lnTo>
                    <a:pt x="296" y="300"/>
                  </a:lnTo>
                  <a:lnTo>
                    <a:pt x="318" y="308"/>
                  </a:lnTo>
                  <a:lnTo>
                    <a:pt x="342" y="311"/>
                  </a:lnTo>
                  <a:lnTo>
                    <a:pt x="367" y="308"/>
                  </a:lnTo>
                  <a:lnTo>
                    <a:pt x="389" y="300"/>
                  </a:lnTo>
                  <a:lnTo>
                    <a:pt x="409" y="288"/>
                  </a:lnTo>
                  <a:lnTo>
                    <a:pt x="426" y="272"/>
                  </a:lnTo>
                  <a:lnTo>
                    <a:pt x="438" y="251"/>
                  </a:lnTo>
                  <a:lnTo>
                    <a:pt x="446" y="230"/>
                  </a:lnTo>
                  <a:lnTo>
                    <a:pt x="449" y="206"/>
                  </a:lnTo>
                  <a:lnTo>
                    <a:pt x="446" y="181"/>
                  </a:lnTo>
                  <a:lnTo>
                    <a:pt x="438" y="159"/>
                  </a:lnTo>
                  <a:lnTo>
                    <a:pt x="426" y="140"/>
                  </a:lnTo>
                  <a:lnTo>
                    <a:pt x="409" y="123"/>
                  </a:lnTo>
                  <a:lnTo>
                    <a:pt x="389" y="110"/>
                  </a:lnTo>
                  <a:lnTo>
                    <a:pt x="367" y="102"/>
                  </a:lnTo>
                  <a:lnTo>
                    <a:pt x="342" y="99"/>
                  </a:lnTo>
                  <a:close/>
                  <a:moveTo>
                    <a:pt x="342" y="30"/>
                  </a:moveTo>
                  <a:lnTo>
                    <a:pt x="315" y="32"/>
                  </a:lnTo>
                  <a:lnTo>
                    <a:pt x="288" y="38"/>
                  </a:lnTo>
                  <a:lnTo>
                    <a:pt x="263" y="50"/>
                  </a:lnTo>
                  <a:lnTo>
                    <a:pt x="240" y="63"/>
                  </a:lnTo>
                  <a:lnTo>
                    <a:pt x="284" y="106"/>
                  </a:lnTo>
                  <a:lnTo>
                    <a:pt x="302" y="97"/>
                  </a:lnTo>
                  <a:lnTo>
                    <a:pt x="322" y="92"/>
                  </a:lnTo>
                  <a:lnTo>
                    <a:pt x="342" y="90"/>
                  </a:lnTo>
                  <a:lnTo>
                    <a:pt x="369" y="93"/>
                  </a:lnTo>
                  <a:lnTo>
                    <a:pt x="393" y="101"/>
                  </a:lnTo>
                  <a:lnTo>
                    <a:pt x="414" y="116"/>
                  </a:lnTo>
                  <a:lnTo>
                    <a:pt x="433" y="134"/>
                  </a:lnTo>
                  <a:lnTo>
                    <a:pt x="446" y="155"/>
                  </a:lnTo>
                  <a:lnTo>
                    <a:pt x="455" y="179"/>
                  </a:lnTo>
                  <a:lnTo>
                    <a:pt x="458" y="206"/>
                  </a:lnTo>
                  <a:lnTo>
                    <a:pt x="455" y="232"/>
                  </a:lnTo>
                  <a:lnTo>
                    <a:pt x="446" y="256"/>
                  </a:lnTo>
                  <a:lnTo>
                    <a:pt x="433" y="278"/>
                  </a:lnTo>
                  <a:lnTo>
                    <a:pt x="414" y="295"/>
                  </a:lnTo>
                  <a:lnTo>
                    <a:pt x="393" y="309"/>
                  </a:lnTo>
                  <a:lnTo>
                    <a:pt x="369" y="317"/>
                  </a:lnTo>
                  <a:lnTo>
                    <a:pt x="342" y="320"/>
                  </a:lnTo>
                  <a:lnTo>
                    <a:pt x="316" y="317"/>
                  </a:lnTo>
                  <a:lnTo>
                    <a:pt x="291" y="309"/>
                  </a:lnTo>
                  <a:lnTo>
                    <a:pt x="270" y="295"/>
                  </a:lnTo>
                  <a:lnTo>
                    <a:pt x="253" y="278"/>
                  </a:lnTo>
                  <a:lnTo>
                    <a:pt x="238" y="256"/>
                  </a:lnTo>
                  <a:lnTo>
                    <a:pt x="230" y="232"/>
                  </a:lnTo>
                  <a:lnTo>
                    <a:pt x="227" y="206"/>
                  </a:lnTo>
                  <a:lnTo>
                    <a:pt x="229" y="182"/>
                  </a:lnTo>
                  <a:lnTo>
                    <a:pt x="235" y="162"/>
                  </a:lnTo>
                  <a:lnTo>
                    <a:pt x="245" y="143"/>
                  </a:lnTo>
                  <a:lnTo>
                    <a:pt x="260" y="126"/>
                  </a:lnTo>
                  <a:lnTo>
                    <a:pt x="276" y="111"/>
                  </a:lnTo>
                  <a:lnTo>
                    <a:pt x="232" y="69"/>
                  </a:lnTo>
                  <a:lnTo>
                    <a:pt x="211" y="90"/>
                  </a:lnTo>
                  <a:lnTo>
                    <a:pt x="192" y="115"/>
                  </a:lnTo>
                  <a:lnTo>
                    <a:pt x="178" y="143"/>
                  </a:lnTo>
                  <a:lnTo>
                    <a:pt x="170" y="173"/>
                  </a:lnTo>
                  <a:lnTo>
                    <a:pt x="167" y="206"/>
                  </a:lnTo>
                  <a:lnTo>
                    <a:pt x="169" y="237"/>
                  </a:lnTo>
                  <a:lnTo>
                    <a:pt x="177" y="267"/>
                  </a:lnTo>
                  <a:lnTo>
                    <a:pt x="190" y="294"/>
                  </a:lnTo>
                  <a:lnTo>
                    <a:pt x="208" y="318"/>
                  </a:lnTo>
                  <a:lnTo>
                    <a:pt x="229" y="340"/>
                  </a:lnTo>
                  <a:lnTo>
                    <a:pt x="254" y="357"/>
                  </a:lnTo>
                  <a:lnTo>
                    <a:pt x="281" y="370"/>
                  </a:lnTo>
                  <a:lnTo>
                    <a:pt x="311" y="378"/>
                  </a:lnTo>
                  <a:lnTo>
                    <a:pt x="342" y="381"/>
                  </a:lnTo>
                  <a:lnTo>
                    <a:pt x="374" y="378"/>
                  </a:lnTo>
                  <a:lnTo>
                    <a:pt x="404" y="370"/>
                  </a:lnTo>
                  <a:lnTo>
                    <a:pt x="431" y="357"/>
                  </a:lnTo>
                  <a:lnTo>
                    <a:pt x="456" y="340"/>
                  </a:lnTo>
                  <a:lnTo>
                    <a:pt x="477" y="318"/>
                  </a:lnTo>
                  <a:lnTo>
                    <a:pt x="495" y="294"/>
                  </a:lnTo>
                  <a:lnTo>
                    <a:pt x="507" y="267"/>
                  </a:lnTo>
                  <a:lnTo>
                    <a:pt x="515" y="237"/>
                  </a:lnTo>
                  <a:lnTo>
                    <a:pt x="518" y="206"/>
                  </a:lnTo>
                  <a:lnTo>
                    <a:pt x="515" y="174"/>
                  </a:lnTo>
                  <a:lnTo>
                    <a:pt x="507" y="144"/>
                  </a:lnTo>
                  <a:lnTo>
                    <a:pt x="495" y="118"/>
                  </a:lnTo>
                  <a:lnTo>
                    <a:pt x="477" y="92"/>
                  </a:lnTo>
                  <a:lnTo>
                    <a:pt x="456" y="72"/>
                  </a:lnTo>
                  <a:lnTo>
                    <a:pt x="431" y="54"/>
                  </a:lnTo>
                  <a:lnTo>
                    <a:pt x="404" y="41"/>
                  </a:lnTo>
                  <a:lnTo>
                    <a:pt x="374" y="33"/>
                  </a:lnTo>
                  <a:lnTo>
                    <a:pt x="342" y="30"/>
                  </a:lnTo>
                  <a:close/>
                  <a:moveTo>
                    <a:pt x="0" y="0"/>
                  </a:moveTo>
                  <a:lnTo>
                    <a:pt x="177" y="0"/>
                  </a:lnTo>
                  <a:lnTo>
                    <a:pt x="229" y="52"/>
                  </a:lnTo>
                  <a:lnTo>
                    <a:pt x="255" y="36"/>
                  </a:lnTo>
                  <a:lnTo>
                    <a:pt x="282" y="24"/>
                  </a:lnTo>
                  <a:lnTo>
                    <a:pt x="312" y="17"/>
                  </a:lnTo>
                  <a:lnTo>
                    <a:pt x="342" y="14"/>
                  </a:lnTo>
                  <a:lnTo>
                    <a:pt x="377" y="17"/>
                  </a:lnTo>
                  <a:lnTo>
                    <a:pt x="409" y="26"/>
                  </a:lnTo>
                  <a:lnTo>
                    <a:pt x="439" y="40"/>
                  </a:lnTo>
                  <a:lnTo>
                    <a:pt x="466" y="60"/>
                  </a:lnTo>
                  <a:lnTo>
                    <a:pt x="490" y="82"/>
                  </a:lnTo>
                  <a:lnTo>
                    <a:pt x="508" y="109"/>
                  </a:lnTo>
                  <a:lnTo>
                    <a:pt x="522" y="139"/>
                  </a:lnTo>
                  <a:lnTo>
                    <a:pt x="532" y="171"/>
                  </a:lnTo>
                  <a:lnTo>
                    <a:pt x="535" y="206"/>
                  </a:lnTo>
                  <a:lnTo>
                    <a:pt x="532" y="240"/>
                  </a:lnTo>
                  <a:lnTo>
                    <a:pt x="522" y="272"/>
                  </a:lnTo>
                  <a:lnTo>
                    <a:pt x="508" y="302"/>
                  </a:lnTo>
                  <a:lnTo>
                    <a:pt x="490" y="328"/>
                  </a:lnTo>
                  <a:lnTo>
                    <a:pt x="466" y="352"/>
                  </a:lnTo>
                  <a:lnTo>
                    <a:pt x="439" y="370"/>
                  </a:lnTo>
                  <a:lnTo>
                    <a:pt x="409" y="384"/>
                  </a:lnTo>
                  <a:lnTo>
                    <a:pt x="377" y="393"/>
                  </a:lnTo>
                  <a:lnTo>
                    <a:pt x="342" y="396"/>
                  </a:lnTo>
                  <a:lnTo>
                    <a:pt x="308" y="393"/>
                  </a:lnTo>
                  <a:lnTo>
                    <a:pt x="276" y="384"/>
                  </a:lnTo>
                  <a:lnTo>
                    <a:pt x="245" y="370"/>
                  </a:lnTo>
                  <a:lnTo>
                    <a:pt x="219" y="352"/>
                  </a:lnTo>
                  <a:lnTo>
                    <a:pt x="196" y="328"/>
                  </a:lnTo>
                  <a:lnTo>
                    <a:pt x="177" y="302"/>
                  </a:lnTo>
                  <a:lnTo>
                    <a:pt x="163" y="272"/>
                  </a:lnTo>
                  <a:lnTo>
                    <a:pt x="154" y="240"/>
                  </a:lnTo>
                  <a:lnTo>
                    <a:pt x="151" y="206"/>
                  </a:lnTo>
                  <a:lnTo>
                    <a:pt x="153" y="176"/>
                  </a:lnTo>
                  <a:lnTo>
                    <a:pt x="159" y="148"/>
                  </a:lnTo>
                  <a:lnTo>
                    <a:pt x="170" y="123"/>
                  </a:lnTo>
                  <a:lnTo>
                    <a:pt x="183" y="98"/>
                  </a:lnTo>
                  <a:lnTo>
                    <a:pt x="201" y="76"/>
                  </a:lnTo>
                  <a:lnTo>
                    <a:pt x="221" y="58"/>
                  </a:lnTo>
                  <a:lnTo>
                    <a:pt x="173" y="10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2088088F-036B-FF6D-C66B-10DE1FD430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9200" y="4624388"/>
              <a:ext cx="88900" cy="14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FE255CB-01D3-45E5-047A-D39A71BBD0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67625" y="4624388"/>
              <a:ext cx="88900" cy="14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4393870C-4928-3B15-4A3E-B8A0C7080A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9200" y="4752976"/>
              <a:ext cx="95250" cy="476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B1E60B0D-B1F0-1B19-5855-3BDF042471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9200" y="4733926"/>
              <a:ext cx="153988" cy="31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5DC19EED-5155-B332-E14A-61AFFD5BB6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9200" y="4713288"/>
              <a:ext cx="69850" cy="31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904667CD-57A4-BB72-695C-B5222495C8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9200" y="4694238"/>
              <a:ext cx="111125" cy="31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FC7674A3-CD58-D7F2-F957-0D44A8C2FE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9200" y="4672013"/>
              <a:ext cx="134938" cy="31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A21DC498-F850-42C8-85A7-39D7E004BE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9200" y="4651376"/>
              <a:ext cx="111125" cy="31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111" name="Freeform 21">
            <a:extLst>
              <a:ext uri="{FF2B5EF4-FFF2-40B4-BE49-F238E27FC236}">
                <a16:creationId xmlns:a16="http://schemas.microsoft.com/office/drawing/2014/main" id="{D551B209-9755-D32B-3851-4662055A584D}"/>
              </a:ext>
            </a:extLst>
          </p:cNvPr>
          <p:cNvSpPr>
            <a:spLocks noEditPoints="1"/>
          </p:cNvSpPr>
          <p:nvPr/>
        </p:nvSpPr>
        <p:spPr bwMode="auto">
          <a:xfrm>
            <a:off x="6486426" y="5388673"/>
            <a:ext cx="706870" cy="624945"/>
          </a:xfrm>
          <a:custGeom>
            <a:avLst/>
            <a:gdLst>
              <a:gd name="T0" fmla="*/ 1204 w 3365"/>
              <a:gd name="T1" fmla="*/ 2887 h 2974"/>
              <a:gd name="T2" fmla="*/ 1706 w 3365"/>
              <a:gd name="T3" fmla="*/ 2840 h 2974"/>
              <a:gd name="T4" fmla="*/ 1953 w 3365"/>
              <a:gd name="T5" fmla="*/ 1831 h 2974"/>
              <a:gd name="T6" fmla="*/ 2121 w 3365"/>
              <a:gd name="T7" fmla="*/ 1947 h 2974"/>
              <a:gd name="T8" fmla="*/ 1324 w 3365"/>
              <a:gd name="T9" fmla="*/ 807 h 2974"/>
              <a:gd name="T10" fmla="*/ 1356 w 3365"/>
              <a:gd name="T11" fmla="*/ 901 h 2974"/>
              <a:gd name="T12" fmla="*/ 2109 w 3365"/>
              <a:gd name="T13" fmla="*/ 550 h 2974"/>
              <a:gd name="T14" fmla="*/ 2179 w 3365"/>
              <a:gd name="T15" fmla="*/ 606 h 2974"/>
              <a:gd name="T16" fmla="*/ 1821 w 3365"/>
              <a:gd name="T17" fmla="*/ 4 h 2974"/>
              <a:gd name="T18" fmla="*/ 1868 w 3365"/>
              <a:gd name="T19" fmla="*/ 134 h 2974"/>
              <a:gd name="T20" fmla="*/ 1856 w 3365"/>
              <a:gd name="T21" fmla="*/ 247 h 2974"/>
              <a:gd name="T22" fmla="*/ 1850 w 3365"/>
              <a:gd name="T23" fmla="*/ 339 h 2974"/>
              <a:gd name="T24" fmla="*/ 2138 w 3365"/>
              <a:gd name="T25" fmla="*/ 513 h 2974"/>
              <a:gd name="T26" fmla="*/ 2158 w 3365"/>
              <a:gd name="T27" fmla="*/ 648 h 2974"/>
              <a:gd name="T28" fmla="*/ 2051 w 3365"/>
              <a:gd name="T29" fmla="*/ 1780 h 2974"/>
              <a:gd name="T30" fmla="*/ 2538 w 3365"/>
              <a:gd name="T31" fmla="*/ 1616 h 2974"/>
              <a:gd name="T32" fmla="*/ 2643 w 3365"/>
              <a:gd name="T33" fmla="*/ 1495 h 2974"/>
              <a:gd name="T34" fmla="*/ 2574 w 3365"/>
              <a:gd name="T35" fmla="*/ 1202 h 2974"/>
              <a:gd name="T36" fmla="*/ 2593 w 3365"/>
              <a:gd name="T37" fmla="*/ 1113 h 2974"/>
              <a:gd name="T38" fmla="*/ 2839 w 3365"/>
              <a:gd name="T39" fmla="*/ 862 h 2974"/>
              <a:gd name="T40" fmla="*/ 2991 w 3365"/>
              <a:gd name="T41" fmla="*/ 1003 h 2974"/>
              <a:gd name="T42" fmla="*/ 3015 w 3365"/>
              <a:gd name="T43" fmla="*/ 1181 h 2974"/>
              <a:gd name="T44" fmla="*/ 2941 w 3365"/>
              <a:gd name="T45" fmla="*/ 1454 h 2974"/>
              <a:gd name="T46" fmla="*/ 3004 w 3365"/>
              <a:gd name="T47" fmla="*/ 1601 h 2974"/>
              <a:gd name="T48" fmla="*/ 3031 w 3365"/>
              <a:gd name="T49" fmla="*/ 2041 h 2974"/>
              <a:gd name="T50" fmla="*/ 2619 w 3365"/>
              <a:gd name="T51" fmla="*/ 2075 h 2974"/>
              <a:gd name="T52" fmla="*/ 2092 w 3365"/>
              <a:gd name="T53" fmla="*/ 1988 h 2974"/>
              <a:gd name="T54" fmla="*/ 1697 w 3365"/>
              <a:gd name="T55" fmla="*/ 2906 h 2974"/>
              <a:gd name="T56" fmla="*/ 1144 w 3365"/>
              <a:gd name="T57" fmla="*/ 2888 h 2974"/>
              <a:gd name="T58" fmla="*/ 781 w 3365"/>
              <a:gd name="T59" fmla="*/ 2229 h 2974"/>
              <a:gd name="T60" fmla="*/ 219 w 3365"/>
              <a:gd name="T61" fmla="*/ 2733 h 2974"/>
              <a:gd name="T62" fmla="*/ 463 w 3365"/>
              <a:gd name="T63" fmla="*/ 2256 h 2974"/>
              <a:gd name="T64" fmla="*/ 538 w 3365"/>
              <a:gd name="T65" fmla="*/ 2131 h 2974"/>
              <a:gd name="T66" fmla="*/ 454 w 3365"/>
              <a:gd name="T67" fmla="*/ 1764 h 2974"/>
              <a:gd name="T68" fmla="*/ 477 w 3365"/>
              <a:gd name="T69" fmla="*/ 1633 h 2974"/>
              <a:gd name="T70" fmla="*/ 705 w 3365"/>
              <a:gd name="T71" fmla="*/ 1334 h 2974"/>
              <a:gd name="T72" fmla="*/ 956 w 3365"/>
              <a:gd name="T73" fmla="*/ 1452 h 2974"/>
              <a:gd name="T74" fmla="*/ 997 w 3365"/>
              <a:gd name="T75" fmla="*/ 1703 h 2974"/>
              <a:gd name="T76" fmla="*/ 962 w 3365"/>
              <a:gd name="T77" fmla="*/ 1944 h 2974"/>
              <a:gd name="T78" fmla="*/ 929 w 3365"/>
              <a:gd name="T79" fmla="*/ 2138 h 2974"/>
              <a:gd name="T80" fmla="*/ 1372 w 3365"/>
              <a:gd name="T81" fmla="*/ 2424 h 2974"/>
              <a:gd name="T82" fmla="*/ 1843 w 3365"/>
              <a:gd name="T83" fmla="*/ 1867 h 2974"/>
              <a:gd name="T84" fmla="*/ 1182 w 3365"/>
              <a:gd name="T85" fmla="*/ 903 h 2974"/>
              <a:gd name="T86" fmla="*/ 845 w 3365"/>
              <a:gd name="T87" fmla="*/ 937 h 2974"/>
              <a:gd name="T88" fmla="*/ 549 w 3365"/>
              <a:gd name="T89" fmla="*/ 870 h 2974"/>
              <a:gd name="T90" fmla="*/ 650 w 3365"/>
              <a:gd name="T91" fmla="*/ 598 h 2974"/>
              <a:gd name="T92" fmla="*/ 686 w 3365"/>
              <a:gd name="T93" fmla="*/ 474 h 2974"/>
              <a:gd name="T94" fmla="*/ 650 w 3365"/>
              <a:gd name="T95" fmla="*/ 305 h 2974"/>
              <a:gd name="T96" fmla="*/ 762 w 3365"/>
              <a:gd name="T97" fmla="*/ 119 h 2974"/>
              <a:gd name="T98" fmla="*/ 914 w 3365"/>
              <a:gd name="T99" fmla="*/ 188 h 2974"/>
              <a:gd name="T100" fmla="*/ 937 w 3365"/>
              <a:gd name="T101" fmla="*/ 321 h 2974"/>
              <a:gd name="T102" fmla="*/ 888 w 3365"/>
              <a:gd name="T103" fmla="*/ 537 h 2974"/>
              <a:gd name="T104" fmla="*/ 1114 w 3365"/>
              <a:gd name="T105" fmla="*/ 686 h 2974"/>
              <a:gd name="T106" fmla="*/ 2005 w 3365"/>
              <a:gd name="T107" fmla="*/ 594 h 2974"/>
              <a:gd name="T108" fmla="*/ 1744 w 3365"/>
              <a:gd name="T109" fmla="*/ 364 h 2974"/>
              <a:gd name="T110" fmla="*/ 1508 w 3365"/>
              <a:gd name="T111" fmla="*/ 445 h 2974"/>
              <a:gd name="T112" fmla="*/ 1684 w 3365"/>
              <a:gd name="T113" fmla="*/ 329 h 2974"/>
              <a:gd name="T114" fmla="*/ 1654 w 3365"/>
              <a:gd name="T115" fmla="*/ 177 h 2974"/>
              <a:gd name="T116" fmla="*/ 1663 w 3365"/>
              <a:gd name="T117" fmla="*/ 128 h 29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365" h="2974">
                <a:moveTo>
                  <a:pt x="1431" y="2711"/>
                </a:moveTo>
                <a:lnTo>
                  <a:pt x="1388" y="2712"/>
                </a:lnTo>
                <a:lnTo>
                  <a:pt x="1347" y="2716"/>
                </a:lnTo>
                <a:lnTo>
                  <a:pt x="1309" y="2723"/>
                </a:lnTo>
                <a:lnTo>
                  <a:pt x="1274" y="2732"/>
                </a:lnTo>
                <a:lnTo>
                  <a:pt x="1231" y="2747"/>
                </a:lnTo>
                <a:lnTo>
                  <a:pt x="1204" y="2761"/>
                </a:lnTo>
                <a:lnTo>
                  <a:pt x="1182" y="2776"/>
                </a:lnTo>
                <a:lnTo>
                  <a:pt x="1167" y="2792"/>
                </a:lnTo>
                <a:lnTo>
                  <a:pt x="1157" y="2808"/>
                </a:lnTo>
                <a:lnTo>
                  <a:pt x="1154" y="2824"/>
                </a:lnTo>
                <a:lnTo>
                  <a:pt x="1157" y="2840"/>
                </a:lnTo>
                <a:lnTo>
                  <a:pt x="1167" y="2856"/>
                </a:lnTo>
                <a:lnTo>
                  <a:pt x="1182" y="2872"/>
                </a:lnTo>
                <a:lnTo>
                  <a:pt x="1204" y="2887"/>
                </a:lnTo>
                <a:lnTo>
                  <a:pt x="1231" y="2900"/>
                </a:lnTo>
                <a:lnTo>
                  <a:pt x="1263" y="2912"/>
                </a:lnTo>
                <a:lnTo>
                  <a:pt x="1300" y="2923"/>
                </a:lnTo>
                <a:lnTo>
                  <a:pt x="1340" y="2930"/>
                </a:lnTo>
                <a:lnTo>
                  <a:pt x="1384" y="2935"/>
                </a:lnTo>
                <a:lnTo>
                  <a:pt x="1431" y="2937"/>
                </a:lnTo>
                <a:lnTo>
                  <a:pt x="1479" y="2935"/>
                </a:lnTo>
                <a:lnTo>
                  <a:pt x="1523" y="2930"/>
                </a:lnTo>
                <a:lnTo>
                  <a:pt x="1564" y="2923"/>
                </a:lnTo>
                <a:lnTo>
                  <a:pt x="1599" y="2912"/>
                </a:lnTo>
                <a:lnTo>
                  <a:pt x="1631" y="2900"/>
                </a:lnTo>
                <a:lnTo>
                  <a:pt x="1659" y="2887"/>
                </a:lnTo>
                <a:lnTo>
                  <a:pt x="1681" y="2872"/>
                </a:lnTo>
                <a:lnTo>
                  <a:pt x="1696" y="2856"/>
                </a:lnTo>
                <a:lnTo>
                  <a:pt x="1706" y="2840"/>
                </a:lnTo>
                <a:lnTo>
                  <a:pt x="1709" y="2824"/>
                </a:lnTo>
                <a:lnTo>
                  <a:pt x="1706" y="2808"/>
                </a:lnTo>
                <a:lnTo>
                  <a:pt x="1696" y="2792"/>
                </a:lnTo>
                <a:lnTo>
                  <a:pt x="1681" y="2776"/>
                </a:lnTo>
                <a:lnTo>
                  <a:pt x="1659" y="2761"/>
                </a:lnTo>
                <a:lnTo>
                  <a:pt x="1631" y="2747"/>
                </a:lnTo>
                <a:lnTo>
                  <a:pt x="1599" y="2736"/>
                </a:lnTo>
                <a:lnTo>
                  <a:pt x="1564" y="2725"/>
                </a:lnTo>
                <a:lnTo>
                  <a:pt x="1523" y="2717"/>
                </a:lnTo>
                <a:lnTo>
                  <a:pt x="1479" y="2713"/>
                </a:lnTo>
                <a:lnTo>
                  <a:pt x="1431" y="2711"/>
                </a:lnTo>
                <a:close/>
                <a:moveTo>
                  <a:pt x="2051" y="1818"/>
                </a:moveTo>
                <a:lnTo>
                  <a:pt x="2016" y="1819"/>
                </a:lnTo>
                <a:lnTo>
                  <a:pt x="1983" y="1825"/>
                </a:lnTo>
                <a:lnTo>
                  <a:pt x="1953" y="1831"/>
                </a:lnTo>
                <a:lnTo>
                  <a:pt x="1927" y="1840"/>
                </a:lnTo>
                <a:lnTo>
                  <a:pt x="1906" y="1850"/>
                </a:lnTo>
                <a:lnTo>
                  <a:pt x="1890" y="1862"/>
                </a:lnTo>
                <a:lnTo>
                  <a:pt x="1881" y="1873"/>
                </a:lnTo>
                <a:lnTo>
                  <a:pt x="1877" y="1885"/>
                </a:lnTo>
                <a:lnTo>
                  <a:pt x="1881" y="1898"/>
                </a:lnTo>
                <a:lnTo>
                  <a:pt x="1890" y="1909"/>
                </a:lnTo>
                <a:lnTo>
                  <a:pt x="1906" y="1920"/>
                </a:lnTo>
                <a:lnTo>
                  <a:pt x="1927" y="1930"/>
                </a:lnTo>
                <a:lnTo>
                  <a:pt x="1953" y="1940"/>
                </a:lnTo>
                <a:lnTo>
                  <a:pt x="1983" y="1947"/>
                </a:lnTo>
                <a:lnTo>
                  <a:pt x="2016" y="1951"/>
                </a:lnTo>
                <a:lnTo>
                  <a:pt x="2051" y="1952"/>
                </a:lnTo>
                <a:lnTo>
                  <a:pt x="2088" y="1951"/>
                </a:lnTo>
                <a:lnTo>
                  <a:pt x="2121" y="1947"/>
                </a:lnTo>
                <a:lnTo>
                  <a:pt x="2151" y="1940"/>
                </a:lnTo>
                <a:lnTo>
                  <a:pt x="2177" y="1930"/>
                </a:lnTo>
                <a:lnTo>
                  <a:pt x="2197" y="1920"/>
                </a:lnTo>
                <a:lnTo>
                  <a:pt x="2214" y="1909"/>
                </a:lnTo>
                <a:lnTo>
                  <a:pt x="2223" y="1898"/>
                </a:lnTo>
                <a:lnTo>
                  <a:pt x="2227" y="1885"/>
                </a:lnTo>
                <a:lnTo>
                  <a:pt x="2223" y="1873"/>
                </a:lnTo>
                <a:lnTo>
                  <a:pt x="2214" y="1862"/>
                </a:lnTo>
                <a:lnTo>
                  <a:pt x="2197" y="1850"/>
                </a:lnTo>
                <a:lnTo>
                  <a:pt x="2177" y="1840"/>
                </a:lnTo>
                <a:lnTo>
                  <a:pt x="2151" y="1831"/>
                </a:lnTo>
                <a:lnTo>
                  <a:pt x="2121" y="1825"/>
                </a:lnTo>
                <a:lnTo>
                  <a:pt x="2088" y="1819"/>
                </a:lnTo>
                <a:lnTo>
                  <a:pt x="2051" y="1818"/>
                </a:lnTo>
                <a:close/>
                <a:moveTo>
                  <a:pt x="1324" y="807"/>
                </a:moveTo>
                <a:lnTo>
                  <a:pt x="1291" y="808"/>
                </a:lnTo>
                <a:lnTo>
                  <a:pt x="1263" y="813"/>
                </a:lnTo>
                <a:lnTo>
                  <a:pt x="1238" y="819"/>
                </a:lnTo>
                <a:lnTo>
                  <a:pt x="1218" y="827"/>
                </a:lnTo>
                <a:lnTo>
                  <a:pt x="1204" y="837"/>
                </a:lnTo>
                <a:lnTo>
                  <a:pt x="1196" y="846"/>
                </a:lnTo>
                <a:lnTo>
                  <a:pt x="1193" y="854"/>
                </a:lnTo>
                <a:lnTo>
                  <a:pt x="1196" y="863"/>
                </a:lnTo>
                <a:lnTo>
                  <a:pt x="1204" y="872"/>
                </a:lnTo>
                <a:lnTo>
                  <a:pt x="1218" y="882"/>
                </a:lnTo>
                <a:lnTo>
                  <a:pt x="1238" y="890"/>
                </a:lnTo>
                <a:lnTo>
                  <a:pt x="1263" y="896"/>
                </a:lnTo>
                <a:lnTo>
                  <a:pt x="1291" y="901"/>
                </a:lnTo>
                <a:lnTo>
                  <a:pt x="1324" y="902"/>
                </a:lnTo>
                <a:lnTo>
                  <a:pt x="1356" y="901"/>
                </a:lnTo>
                <a:lnTo>
                  <a:pt x="1385" y="896"/>
                </a:lnTo>
                <a:lnTo>
                  <a:pt x="1409" y="890"/>
                </a:lnTo>
                <a:lnTo>
                  <a:pt x="1429" y="882"/>
                </a:lnTo>
                <a:lnTo>
                  <a:pt x="1443" y="872"/>
                </a:lnTo>
                <a:lnTo>
                  <a:pt x="1453" y="863"/>
                </a:lnTo>
                <a:lnTo>
                  <a:pt x="1456" y="854"/>
                </a:lnTo>
                <a:lnTo>
                  <a:pt x="1453" y="846"/>
                </a:lnTo>
                <a:lnTo>
                  <a:pt x="1443" y="837"/>
                </a:lnTo>
                <a:lnTo>
                  <a:pt x="1429" y="827"/>
                </a:lnTo>
                <a:lnTo>
                  <a:pt x="1409" y="819"/>
                </a:lnTo>
                <a:lnTo>
                  <a:pt x="1385" y="813"/>
                </a:lnTo>
                <a:lnTo>
                  <a:pt x="1356" y="808"/>
                </a:lnTo>
                <a:lnTo>
                  <a:pt x="1324" y="807"/>
                </a:lnTo>
                <a:close/>
                <a:moveTo>
                  <a:pt x="2134" y="549"/>
                </a:moveTo>
                <a:lnTo>
                  <a:pt x="2109" y="550"/>
                </a:lnTo>
                <a:lnTo>
                  <a:pt x="2088" y="554"/>
                </a:lnTo>
                <a:lnTo>
                  <a:pt x="2071" y="558"/>
                </a:lnTo>
                <a:lnTo>
                  <a:pt x="2058" y="564"/>
                </a:lnTo>
                <a:lnTo>
                  <a:pt x="2048" y="569"/>
                </a:lnTo>
                <a:lnTo>
                  <a:pt x="2042" y="576"/>
                </a:lnTo>
                <a:lnTo>
                  <a:pt x="2040" y="580"/>
                </a:lnTo>
                <a:lnTo>
                  <a:pt x="2042" y="585"/>
                </a:lnTo>
                <a:lnTo>
                  <a:pt x="2048" y="590"/>
                </a:lnTo>
                <a:lnTo>
                  <a:pt x="2058" y="596"/>
                </a:lnTo>
                <a:lnTo>
                  <a:pt x="2071" y="601"/>
                </a:lnTo>
                <a:lnTo>
                  <a:pt x="2088" y="606"/>
                </a:lnTo>
                <a:lnTo>
                  <a:pt x="2109" y="610"/>
                </a:lnTo>
                <a:lnTo>
                  <a:pt x="2134" y="611"/>
                </a:lnTo>
                <a:lnTo>
                  <a:pt x="2157" y="610"/>
                </a:lnTo>
                <a:lnTo>
                  <a:pt x="2179" y="606"/>
                </a:lnTo>
                <a:lnTo>
                  <a:pt x="2195" y="601"/>
                </a:lnTo>
                <a:lnTo>
                  <a:pt x="2209" y="596"/>
                </a:lnTo>
                <a:lnTo>
                  <a:pt x="2219" y="590"/>
                </a:lnTo>
                <a:lnTo>
                  <a:pt x="2225" y="585"/>
                </a:lnTo>
                <a:lnTo>
                  <a:pt x="2227" y="580"/>
                </a:lnTo>
                <a:lnTo>
                  <a:pt x="2225" y="576"/>
                </a:lnTo>
                <a:lnTo>
                  <a:pt x="2219" y="569"/>
                </a:lnTo>
                <a:lnTo>
                  <a:pt x="2209" y="564"/>
                </a:lnTo>
                <a:lnTo>
                  <a:pt x="2195" y="558"/>
                </a:lnTo>
                <a:lnTo>
                  <a:pt x="2179" y="554"/>
                </a:lnTo>
                <a:lnTo>
                  <a:pt x="2157" y="550"/>
                </a:lnTo>
                <a:lnTo>
                  <a:pt x="2134" y="549"/>
                </a:lnTo>
                <a:close/>
                <a:moveTo>
                  <a:pt x="1814" y="0"/>
                </a:moveTo>
                <a:lnTo>
                  <a:pt x="1820" y="0"/>
                </a:lnTo>
                <a:lnTo>
                  <a:pt x="1821" y="4"/>
                </a:lnTo>
                <a:lnTo>
                  <a:pt x="1818" y="6"/>
                </a:lnTo>
                <a:lnTo>
                  <a:pt x="1816" y="8"/>
                </a:lnTo>
                <a:lnTo>
                  <a:pt x="1813" y="10"/>
                </a:lnTo>
                <a:lnTo>
                  <a:pt x="1810" y="14"/>
                </a:lnTo>
                <a:lnTo>
                  <a:pt x="1809" y="17"/>
                </a:lnTo>
                <a:lnTo>
                  <a:pt x="1809" y="19"/>
                </a:lnTo>
                <a:lnTo>
                  <a:pt x="1811" y="22"/>
                </a:lnTo>
                <a:lnTo>
                  <a:pt x="1814" y="25"/>
                </a:lnTo>
                <a:lnTo>
                  <a:pt x="1852" y="58"/>
                </a:lnTo>
                <a:lnTo>
                  <a:pt x="1861" y="69"/>
                </a:lnTo>
                <a:lnTo>
                  <a:pt x="1866" y="82"/>
                </a:lnTo>
                <a:lnTo>
                  <a:pt x="1868" y="95"/>
                </a:lnTo>
                <a:lnTo>
                  <a:pt x="1868" y="110"/>
                </a:lnTo>
                <a:lnTo>
                  <a:pt x="1868" y="123"/>
                </a:lnTo>
                <a:lnTo>
                  <a:pt x="1868" y="134"/>
                </a:lnTo>
                <a:lnTo>
                  <a:pt x="1868" y="149"/>
                </a:lnTo>
                <a:lnTo>
                  <a:pt x="1868" y="151"/>
                </a:lnTo>
                <a:lnTo>
                  <a:pt x="1868" y="153"/>
                </a:lnTo>
                <a:lnTo>
                  <a:pt x="1868" y="157"/>
                </a:lnTo>
                <a:lnTo>
                  <a:pt x="1869" y="159"/>
                </a:lnTo>
                <a:lnTo>
                  <a:pt x="1871" y="160"/>
                </a:lnTo>
                <a:lnTo>
                  <a:pt x="1874" y="162"/>
                </a:lnTo>
                <a:lnTo>
                  <a:pt x="1875" y="163"/>
                </a:lnTo>
                <a:lnTo>
                  <a:pt x="1876" y="165"/>
                </a:lnTo>
                <a:lnTo>
                  <a:pt x="1876" y="166"/>
                </a:lnTo>
                <a:lnTo>
                  <a:pt x="1872" y="205"/>
                </a:lnTo>
                <a:lnTo>
                  <a:pt x="1872" y="206"/>
                </a:lnTo>
                <a:lnTo>
                  <a:pt x="1865" y="219"/>
                </a:lnTo>
                <a:lnTo>
                  <a:pt x="1860" y="233"/>
                </a:lnTo>
                <a:lnTo>
                  <a:pt x="1856" y="247"/>
                </a:lnTo>
                <a:lnTo>
                  <a:pt x="1850" y="261"/>
                </a:lnTo>
                <a:lnTo>
                  <a:pt x="1850" y="262"/>
                </a:lnTo>
                <a:lnTo>
                  <a:pt x="1850" y="263"/>
                </a:lnTo>
                <a:lnTo>
                  <a:pt x="1843" y="275"/>
                </a:lnTo>
                <a:lnTo>
                  <a:pt x="1840" y="286"/>
                </a:lnTo>
                <a:lnTo>
                  <a:pt x="1839" y="298"/>
                </a:lnTo>
                <a:lnTo>
                  <a:pt x="1839" y="311"/>
                </a:lnTo>
                <a:lnTo>
                  <a:pt x="1839" y="323"/>
                </a:lnTo>
                <a:lnTo>
                  <a:pt x="1839" y="326"/>
                </a:lnTo>
                <a:lnTo>
                  <a:pt x="1841" y="328"/>
                </a:lnTo>
                <a:lnTo>
                  <a:pt x="1842" y="329"/>
                </a:lnTo>
                <a:lnTo>
                  <a:pt x="1845" y="331"/>
                </a:lnTo>
                <a:lnTo>
                  <a:pt x="1848" y="333"/>
                </a:lnTo>
                <a:lnTo>
                  <a:pt x="1849" y="336"/>
                </a:lnTo>
                <a:lnTo>
                  <a:pt x="1850" y="339"/>
                </a:lnTo>
                <a:lnTo>
                  <a:pt x="1851" y="343"/>
                </a:lnTo>
                <a:lnTo>
                  <a:pt x="1855" y="356"/>
                </a:lnTo>
                <a:lnTo>
                  <a:pt x="1860" y="369"/>
                </a:lnTo>
                <a:lnTo>
                  <a:pt x="1862" y="372"/>
                </a:lnTo>
                <a:lnTo>
                  <a:pt x="1867" y="374"/>
                </a:lnTo>
                <a:lnTo>
                  <a:pt x="1870" y="376"/>
                </a:lnTo>
                <a:lnTo>
                  <a:pt x="1939" y="404"/>
                </a:lnTo>
                <a:lnTo>
                  <a:pt x="2007" y="436"/>
                </a:lnTo>
                <a:lnTo>
                  <a:pt x="2020" y="444"/>
                </a:lnTo>
                <a:lnTo>
                  <a:pt x="2031" y="453"/>
                </a:lnTo>
                <a:lnTo>
                  <a:pt x="2048" y="527"/>
                </a:lnTo>
                <a:lnTo>
                  <a:pt x="2068" y="521"/>
                </a:lnTo>
                <a:lnTo>
                  <a:pt x="2089" y="516"/>
                </a:lnTo>
                <a:lnTo>
                  <a:pt x="2113" y="513"/>
                </a:lnTo>
                <a:lnTo>
                  <a:pt x="2138" y="513"/>
                </a:lnTo>
                <a:lnTo>
                  <a:pt x="2161" y="514"/>
                </a:lnTo>
                <a:lnTo>
                  <a:pt x="2184" y="517"/>
                </a:lnTo>
                <a:lnTo>
                  <a:pt x="2206" y="522"/>
                </a:lnTo>
                <a:lnTo>
                  <a:pt x="2225" y="529"/>
                </a:lnTo>
                <a:lnTo>
                  <a:pt x="2240" y="540"/>
                </a:lnTo>
                <a:lnTo>
                  <a:pt x="2254" y="551"/>
                </a:lnTo>
                <a:lnTo>
                  <a:pt x="2261" y="564"/>
                </a:lnTo>
                <a:lnTo>
                  <a:pt x="2264" y="580"/>
                </a:lnTo>
                <a:lnTo>
                  <a:pt x="2261" y="596"/>
                </a:lnTo>
                <a:lnTo>
                  <a:pt x="2253" y="610"/>
                </a:lnTo>
                <a:lnTo>
                  <a:pt x="2240" y="621"/>
                </a:lnTo>
                <a:lnTo>
                  <a:pt x="2223" y="631"/>
                </a:lnTo>
                <a:lnTo>
                  <a:pt x="2204" y="638"/>
                </a:lnTo>
                <a:lnTo>
                  <a:pt x="2181" y="644"/>
                </a:lnTo>
                <a:lnTo>
                  <a:pt x="2158" y="648"/>
                </a:lnTo>
                <a:lnTo>
                  <a:pt x="2134" y="649"/>
                </a:lnTo>
                <a:lnTo>
                  <a:pt x="2105" y="646"/>
                </a:lnTo>
                <a:lnTo>
                  <a:pt x="2077" y="642"/>
                </a:lnTo>
                <a:lnTo>
                  <a:pt x="2051" y="634"/>
                </a:lnTo>
                <a:lnTo>
                  <a:pt x="1484" y="827"/>
                </a:lnTo>
                <a:lnTo>
                  <a:pt x="1491" y="841"/>
                </a:lnTo>
                <a:lnTo>
                  <a:pt x="1494" y="854"/>
                </a:lnTo>
                <a:lnTo>
                  <a:pt x="1491" y="870"/>
                </a:lnTo>
                <a:lnTo>
                  <a:pt x="1483" y="885"/>
                </a:lnTo>
                <a:lnTo>
                  <a:pt x="1471" y="898"/>
                </a:lnTo>
                <a:lnTo>
                  <a:pt x="1455" y="909"/>
                </a:lnTo>
                <a:lnTo>
                  <a:pt x="1435" y="920"/>
                </a:lnTo>
                <a:lnTo>
                  <a:pt x="1413" y="928"/>
                </a:lnTo>
                <a:lnTo>
                  <a:pt x="2046" y="1780"/>
                </a:lnTo>
                <a:lnTo>
                  <a:pt x="2051" y="1780"/>
                </a:lnTo>
                <a:lnTo>
                  <a:pt x="2094" y="1782"/>
                </a:lnTo>
                <a:lnTo>
                  <a:pt x="2133" y="1788"/>
                </a:lnTo>
                <a:lnTo>
                  <a:pt x="2168" y="1797"/>
                </a:lnTo>
                <a:lnTo>
                  <a:pt x="2197" y="1808"/>
                </a:lnTo>
                <a:lnTo>
                  <a:pt x="2223" y="1822"/>
                </a:lnTo>
                <a:lnTo>
                  <a:pt x="2243" y="1838"/>
                </a:lnTo>
                <a:lnTo>
                  <a:pt x="2262" y="1756"/>
                </a:lnTo>
                <a:lnTo>
                  <a:pt x="2277" y="1743"/>
                </a:lnTo>
                <a:lnTo>
                  <a:pt x="2294" y="1732"/>
                </a:lnTo>
                <a:lnTo>
                  <a:pt x="2311" y="1722"/>
                </a:lnTo>
                <a:lnTo>
                  <a:pt x="2357" y="1697"/>
                </a:lnTo>
                <a:lnTo>
                  <a:pt x="2403" y="1675"/>
                </a:lnTo>
                <a:lnTo>
                  <a:pt x="2449" y="1654"/>
                </a:lnTo>
                <a:lnTo>
                  <a:pt x="2495" y="1635"/>
                </a:lnTo>
                <a:lnTo>
                  <a:pt x="2538" y="1616"/>
                </a:lnTo>
                <a:lnTo>
                  <a:pt x="2583" y="1599"/>
                </a:lnTo>
                <a:lnTo>
                  <a:pt x="2587" y="1596"/>
                </a:lnTo>
                <a:lnTo>
                  <a:pt x="2592" y="1590"/>
                </a:lnTo>
                <a:lnTo>
                  <a:pt x="2594" y="1586"/>
                </a:lnTo>
                <a:lnTo>
                  <a:pt x="2611" y="1536"/>
                </a:lnTo>
                <a:lnTo>
                  <a:pt x="2613" y="1529"/>
                </a:lnTo>
                <a:lnTo>
                  <a:pt x="2616" y="1522"/>
                </a:lnTo>
                <a:lnTo>
                  <a:pt x="2620" y="1515"/>
                </a:lnTo>
                <a:lnTo>
                  <a:pt x="2626" y="1511"/>
                </a:lnTo>
                <a:lnTo>
                  <a:pt x="2634" y="1508"/>
                </a:lnTo>
                <a:lnTo>
                  <a:pt x="2636" y="1507"/>
                </a:lnTo>
                <a:lnTo>
                  <a:pt x="2639" y="1504"/>
                </a:lnTo>
                <a:lnTo>
                  <a:pt x="2641" y="1501"/>
                </a:lnTo>
                <a:lnTo>
                  <a:pt x="2642" y="1498"/>
                </a:lnTo>
                <a:lnTo>
                  <a:pt x="2643" y="1495"/>
                </a:lnTo>
                <a:lnTo>
                  <a:pt x="2651" y="1422"/>
                </a:lnTo>
                <a:lnTo>
                  <a:pt x="2650" y="1418"/>
                </a:lnTo>
                <a:lnTo>
                  <a:pt x="2649" y="1414"/>
                </a:lnTo>
                <a:lnTo>
                  <a:pt x="2647" y="1410"/>
                </a:lnTo>
                <a:lnTo>
                  <a:pt x="2645" y="1407"/>
                </a:lnTo>
                <a:lnTo>
                  <a:pt x="2631" y="1388"/>
                </a:lnTo>
                <a:lnTo>
                  <a:pt x="2620" y="1368"/>
                </a:lnTo>
                <a:lnTo>
                  <a:pt x="2612" y="1346"/>
                </a:lnTo>
                <a:lnTo>
                  <a:pt x="2607" y="1323"/>
                </a:lnTo>
                <a:lnTo>
                  <a:pt x="2603" y="1308"/>
                </a:lnTo>
                <a:lnTo>
                  <a:pt x="2597" y="1293"/>
                </a:lnTo>
                <a:lnTo>
                  <a:pt x="2591" y="1277"/>
                </a:lnTo>
                <a:lnTo>
                  <a:pt x="2583" y="1245"/>
                </a:lnTo>
                <a:lnTo>
                  <a:pt x="2575" y="1213"/>
                </a:lnTo>
                <a:lnTo>
                  <a:pt x="2574" y="1202"/>
                </a:lnTo>
                <a:lnTo>
                  <a:pt x="2573" y="1190"/>
                </a:lnTo>
                <a:lnTo>
                  <a:pt x="2572" y="1182"/>
                </a:lnTo>
                <a:lnTo>
                  <a:pt x="2573" y="1174"/>
                </a:lnTo>
                <a:lnTo>
                  <a:pt x="2577" y="1169"/>
                </a:lnTo>
                <a:lnTo>
                  <a:pt x="2586" y="1165"/>
                </a:lnTo>
                <a:lnTo>
                  <a:pt x="2588" y="1164"/>
                </a:lnTo>
                <a:lnTo>
                  <a:pt x="2589" y="1161"/>
                </a:lnTo>
                <a:lnTo>
                  <a:pt x="2591" y="1159"/>
                </a:lnTo>
                <a:lnTo>
                  <a:pt x="2592" y="1155"/>
                </a:lnTo>
                <a:lnTo>
                  <a:pt x="2592" y="1152"/>
                </a:lnTo>
                <a:lnTo>
                  <a:pt x="2593" y="1149"/>
                </a:lnTo>
                <a:lnTo>
                  <a:pt x="2593" y="1135"/>
                </a:lnTo>
                <a:lnTo>
                  <a:pt x="2593" y="1126"/>
                </a:lnTo>
                <a:lnTo>
                  <a:pt x="2593" y="1119"/>
                </a:lnTo>
                <a:lnTo>
                  <a:pt x="2593" y="1113"/>
                </a:lnTo>
                <a:lnTo>
                  <a:pt x="2593" y="1104"/>
                </a:lnTo>
                <a:lnTo>
                  <a:pt x="2593" y="1089"/>
                </a:lnTo>
                <a:lnTo>
                  <a:pt x="2594" y="1058"/>
                </a:lnTo>
                <a:lnTo>
                  <a:pt x="2595" y="1027"/>
                </a:lnTo>
                <a:lnTo>
                  <a:pt x="2599" y="1004"/>
                </a:lnTo>
                <a:lnTo>
                  <a:pt x="2607" y="983"/>
                </a:lnTo>
                <a:lnTo>
                  <a:pt x="2619" y="966"/>
                </a:lnTo>
                <a:lnTo>
                  <a:pt x="2633" y="949"/>
                </a:lnTo>
                <a:lnTo>
                  <a:pt x="2650" y="934"/>
                </a:lnTo>
                <a:lnTo>
                  <a:pt x="2677" y="916"/>
                </a:lnTo>
                <a:lnTo>
                  <a:pt x="2705" y="900"/>
                </a:lnTo>
                <a:lnTo>
                  <a:pt x="2735" y="888"/>
                </a:lnTo>
                <a:lnTo>
                  <a:pt x="2765" y="878"/>
                </a:lnTo>
                <a:lnTo>
                  <a:pt x="2797" y="870"/>
                </a:lnTo>
                <a:lnTo>
                  <a:pt x="2839" y="862"/>
                </a:lnTo>
                <a:lnTo>
                  <a:pt x="2882" y="855"/>
                </a:lnTo>
                <a:lnTo>
                  <a:pt x="2893" y="855"/>
                </a:lnTo>
                <a:lnTo>
                  <a:pt x="2904" y="855"/>
                </a:lnTo>
                <a:lnTo>
                  <a:pt x="2906" y="858"/>
                </a:lnTo>
                <a:lnTo>
                  <a:pt x="2908" y="861"/>
                </a:lnTo>
                <a:lnTo>
                  <a:pt x="2899" y="867"/>
                </a:lnTo>
                <a:lnTo>
                  <a:pt x="2891" y="873"/>
                </a:lnTo>
                <a:lnTo>
                  <a:pt x="2885" y="882"/>
                </a:lnTo>
                <a:lnTo>
                  <a:pt x="2883" y="889"/>
                </a:lnTo>
                <a:lnTo>
                  <a:pt x="2886" y="896"/>
                </a:lnTo>
                <a:lnTo>
                  <a:pt x="2893" y="903"/>
                </a:lnTo>
                <a:lnTo>
                  <a:pt x="2931" y="936"/>
                </a:lnTo>
                <a:lnTo>
                  <a:pt x="2969" y="969"/>
                </a:lnTo>
                <a:lnTo>
                  <a:pt x="2982" y="984"/>
                </a:lnTo>
                <a:lnTo>
                  <a:pt x="2991" y="1003"/>
                </a:lnTo>
                <a:lnTo>
                  <a:pt x="2997" y="1022"/>
                </a:lnTo>
                <a:lnTo>
                  <a:pt x="2999" y="1043"/>
                </a:lnTo>
                <a:lnTo>
                  <a:pt x="2999" y="1065"/>
                </a:lnTo>
                <a:lnTo>
                  <a:pt x="2999" y="1081"/>
                </a:lnTo>
                <a:lnTo>
                  <a:pt x="2999" y="1096"/>
                </a:lnTo>
                <a:lnTo>
                  <a:pt x="2999" y="1111"/>
                </a:lnTo>
                <a:lnTo>
                  <a:pt x="2999" y="1127"/>
                </a:lnTo>
                <a:lnTo>
                  <a:pt x="2999" y="1149"/>
                </a:lnTo>
                <a:lnTo>
                  <a:pt x="2999" y="1157"/>
                </a:lnTo>
                <a:lnTo>
                  <a:pt x="3000" y="1163"/>
                </a:lnTo>
                <a:lnTo>
                  <a:pt x="3004" y="1169"/>
                </a:lnTo>
                <a:lnTo>
                  <a:pt x="3011" y="1173"/>
                </a:lnTo>
                <a:lnTo>
                  <a:pt x="3012" y="1175"/>
                </a:lnTo>
                <a:lnTo>
                  <a:pt x="3014" y="1178"/>
                </a:lnTo>
                <a:lnTo>
                  <a:pt x="3015" y="1181"/>
                </a:lnTo>
                <a:lnTo>
                  <a:pt x="3016" y="1184"/>
                </a:lnTo>
                <a:lnTo>
                  <a:pt x="3008" y="1260"/>
                </a:lnTo>
                <a:lnTo>
                  <a:pt x="3008" y="1261"/>
                </a:lnTo>
                <a:lnTo>
                  <a:pt x="3008" y="1263"/>
                </a:lnTo>
                <a:lnTo>
                  <a:pt x="2996" y="1283"/>
                </a:lnTo>
                <a:lnTo>
                  <a:pt x="2987" y="1305"/>
                </a:lnTo>
                <a:lnTo>
                  <a:pt x="2981" y="1327"/>
                </a:lnTo>
                <a:lnTo>
                  <a:pt x="2974" y="1350"/>
                </a:lnTo>
                <a:lnTo>
                  <a:pt x="2966" y="1373"/>
                </a:lnTo>
                <a:lnTo>
                  <a:pt x="2965" y="1375"/>
                </a:lnTo>
                <a:lnTo>
                  <a:pt x="2964" y="1377"/>
                </a:lnTo>
                <a:lnTo>
                  <a:pt x="2951" y="1394"/>
                </a:lnTo>
                <a:lnTo>
                  <a:pt x="2944" y="1414"/>
                </a:lnTo>
                <a:lnTo>
                  <a:pt x="2941" y="1434"/>
                </a:lnTo>
                <a:lnTo>
                  <a:pt x="2941" y="1454"/>
                </a:lnTo>
                <a:lnTo>
                  <a:pt x="2942" y="1475"/>
                </a:lnTo>
                <a:lnTo>
                  <a:pt x="2942" y="1496"/>
                </a:lnTo>
                <a:lnTo>
                  <a:pt x="2942" y="1498"/>
                </a:lnTo>
                <a:lnTo>
                  <a:pt x="2944" y="1502"/>
                </a:lnTo>
                <a:lnTo>
                  <a:pt x="2946" y="1505"/>
                </a:lnTo>
                <a:lnTo>
                  <a:pt x="2948" y="1507"/>
                </a:lnTo>
                <a:lnTo>
                  <a:pt x="2955" y="1512"/>
                </a:lnTo>
                <a:lnTo>
                  <a:pt x="2961" y="1519"/>
                </a:lnTo>
                <a:lnTo>
                  <a:pt x="2965" y="1527"/>
                </a:lnTo>
                <a:lnTo>
                  <a:pt x="2967" y="1535"/>
                </a:lnTo>
                <a:lnTo>
                  <a:pt x="2975" y="1561"/>
                </a:lnTo>
                <a:lnTo>
                  <a:pt x="2985" y="1587"/>
                </a:lnTo>
                <a:lnTo>
                  <a:pt x="2989" y="1592"/>
                </a:lnTo>
                <a:lnTo>
                  <a:pt x="2997" y="1598"/>
                </a:lnTo>
                <a:lnTo>
                  <a:pt x="3004" y="1601"/>
                </a:lnTo>
                <a:lnTo>
                  <a:pt x="3096" y="1638"/>
                </a:lnTo>
                <a:lnTo>
                  <a:pt x="3188" y="1677"/>
                </a:lnTo>
                <a:lnTo>
                  <a:pt x="3277" y="1720"/>
                </a:lnTo>
                <a:lnTo>
                  <a:pt x="3302" y="1735"/>
                </a:lnTo>
                <a:lnTo>
                  <a:pt x="3323" y="1754"/>
                </a:lnTo>
                <a:lnTo>
                  <a:pt x="3365" y="1937"/>
                </a:lnTo>
                <a:lnTo>
                  <a:pt x="3338" y="1939"/>
                </a:lnTo>
                <a:lnTo>
                  <a:pt x="3306" y="1944"/>
                </a:lnTo>
                <a:lnTo>
                  <a:pt x="3272" y="1953"/>
                </a:lnTo>
                <a:lnTo>
                  <a:pt x="3235" y="1964"/>
                </a:lnTo>
                <a:lnTo>
                  <a:pt x="3197" y="1978"/>
                </a:lnTo>
                <a:lnTo>
                  <a:pt x="3156" y="1993"/>
                </a:lnTo>
                <a:lnTo>
                  <a:pt x="3115" y="2008"/>
                </a:lnTo>
                <a:lnTo>
                  <a:pt x="3074" y="2025"/>
                </a:lnTo>
                <a:lnTo>
                  <a:pt x="3031" y="2041"/>
                </a:lnTo>
                <a:lnTo>
                  <a:pt x="2990" y="2057"/>
                </a:lnTo>
                <a:lnTo>
                  <a:pt x="2949" y="2071"/>
                </a:lnTo>
                <a:lnTo>
                  <a:pt x="2910" y="2083"/>
                </a:lnTo>
                <a:lnTo>
                  <a:pt x="2873" y="2094"/>
                </a:lnTo>
                <a:lnTo>
                  <a:pt x="2838" y="2101"/>
                </a:lnTo>
                <a:lnTo>
                  <a:pt x="2915" y="1995"/>
                </a:lnTo>
                <a:lnTo>
                  <a:pt x="2793" y="1659"/>
                </a:lnTo>
                <a:lnTo>
                  <a:pt x="2831" y="1577"/>
                </a:lnTo>
                <a:lnTo>
                  <a:pt x="2755" y="1577"/>
                </a:lnTo>
                <a:lnTo>
                  <a:pt x="2793" y="1659"/>
                </a:lnTo>
                <a:lnTo>
                  <a:pt x="2670" y="1995"/>
                </a:lnTo>
                <a:lnTo>
                  <a:pt x="2749" y="2104"/>
                </a:lnTo>
                <a:lnTo>
                  <a:pt x="2703" y="2098"/>
                </a:lnTo>
                <a:lnTo>
                  <a:pt x="2660" y="2088"/>
                </a:lnTo>
                <a:lnTo>
                  <a:pt x="2619" y="2075"/>
                </a:lnTo>
                <a:lnTo>
                  <a:pt x="2579" y="2060"/>
                </a:lnTo>
                <a:lnTo>
                  <a:pt x="2543" y="2043"/>
                </a:lnTo>
                <a:lnTo>
                  <a:pt x="2507" y="2026"/>
                </a:lnTo>
                <a:lnTo>
                  <a:pt x="2471" y="2008"/>
                </a:lnTo>
                <a:lnTo>
                  <a:pt x="2435" y="1991"/>
                </a:lnTo>
                <a:lnTo>
                  <a:pt x="2399" y="1975"/>
                </a:lnTo>
                <a:lnTo>
                  <a:pt x="2362" y="1961"/>
                </a:lnTo>
                <a:lnTo>
                  <a:pt x="2323" y="1950"/>
                </a:lnTo>
                <a:lnTo>
                  <a:pt x="2282" y="1942"/>
                </a:lnTo>
                <a:lnTo>
                  <a:pt x="2238" y="1937"/>
                </a:lnTo>
                <a:lnTo>
                  <a:pt x="2218" y="1952"/>
                </a:lnTo>
                <a:lnTo>
                  <a:pt x="2192" y="1965"/>
                </a:lnTo>
                <a:lnTo>
                  <a:pt x="2162" y="1976"/>
                </a:lnTo>
                <a:lnTo>
                  <a:pt x="2130" y="1984"/>
                </a:lnTo>
                <a:lnTo>
                  <a:pt x="2092" y="1988"/>
                </a:lnTo>
                <a:lnTo>
                  <a:pt x="2052" y="1990"/>
                </a:lnTo>
                <a:lnTo>
                  <a:pt x="2027" y="1989"/>
                </a:lnTo>
                <a:lnTo>
                  <a:pt x="1581" y="2690"/>
                </a:lnTo>
                <a:lnTo>
                  <a:pt x="1617" y="2702"/>
                </a:lnTo>
                <a:lnTo>
                  <a:pt x="1649" y="2714"/>
                </a:lnTo>
                <a:lnTo>
                  <a:pt x="1678" y="2728"/>
                </a:lnTo>
                <a:lnTo>
                  <a:pt x="1701" y="2745"/>
                </a:lnTo>
                <a:lnTo>
                  <a:pt x="1721" y="2762"/>
                </a:lnTo>
                <a:lnTo>
                  <a:pt x="1735" y="2782"/>
                </a:lnTo>
                <a:lnTo>
                  <a:pt x="1744" y="2802"/>
                </a:lnTo>
                <a:lnTo>
                  <a:pt x="1747" y="2824"/>
                </a:lnTo>
                <a:lnTo>
                  <a:pt x="1743" y="2847"/>
                </a:lnTo>
                <a:lnTo>
                  <a:pt x="1734" y="2868"/>
                </a:lnTo>
                <a:lnTo>
                  <a:pt x="1718" y="2888"/>
                </a:lnTo>
                <a:lnTo>
                  <a:pt x="1697" y="2906"/>
                </a:lnTo>
                <a:lnTo>
                  <a:pt x="1670" y="2924"/>
                </a:lnTo>
                <a:lnTo>
                  <a:pt x="1640" y="2938"/>
                </a:lnTo>
                <a:lnTo>
                  <a:pt x="1605" y="2950"/>
                </a:lnTo>
                <a:lnTo>
                  <a:pt x="1566" y="2961"/>
                </a:lnTo>
                <a:lnTo>
                  <a:pt x="1523" y="2968"/>
                </a:lnTo>
                <a:lnTo>
                  <a:pt x="1478" y="2973"/>
                </a:lnTo>
                <a:lnTo>
                  <a:pt x="1431" y="2974"/>
                </a:lnTo>
                <a:lnTo>
                  <a:pt x="1384" y="2973"/>
                </a:lnTo>
                <a:lnTo>
                  <a:pt x="1340" y="2968"/>
                </a:lnTo>
                <a:lnTo>
                  <a:pt x="1297" y="2961"/>
                </a:lnTo>
                <a:lnTo>
                  <a:pt x="1258" y="2950"/>
                </a:lnTo>
                <a:lnTo>
                  <a:pt x="1223" y="2938"/>
                </a:lnTo>
                <a:lnTo>
                  <a:pt x="1193" y="2924"/>
                </a:lnTo>
                <a:lnTo>
                  <a:pt x="1166" y="2906"/>
                </a:lnTo>
                <a:lnTo>
                  <a:pt x="1144" y="2888"/>
                </a:lnTo>
                <a:lnTo>
                  <a:pt x="1129" y="2868"/>
                </a:lnTo>
                <a:lnTo>
                  <a:pt x="1119" y="2847"/>
                </a:lnTo>
                <a:lnTo>
                  <a:pt x="1116" y="2824"/>
                </a:lnTo>
                <a:lnTo>
                  <a:pt x="1119" y="2805"/>
                </a:lnTo>
                <a:lnTo>
                  <a:pt x="1125" y="2788"/>
                </a:lnTo>
                <a:lnTo>
                  <a:pt x="1074" y="2809"/>
                </a:lnTo>
                <a:lnTo>
                  <a:pt x="1023" y="2828"/>
                </a:lnTo>
                <a:lnTo>
                  <a:pt x="973" y="2847"/>
                </a:lnTo>
                <a:lnTo>
                  <a:pt x="925" y="2863"/>
                </a:lnTo>
                <a:lnTo>
                  <a:pt x="877" y="2878"/>
                </a:lnTo>
                <a:lnTo>
                  <a:pt x="832" y="2890"/>
                </a:lnTo>
                <a:lnTo>
                  <a:pt x="790" y="2899"/>
                </a:lnTo>
                <a:lnTo>
                  <a:pt x="889" y="2762"/>
                </a:lnTo>
                <a:lnTo>
                  <a:pt x="731" y="2334"/>
                </a:lnTo>
                <a:lnTo>
                  <a:pt x="781" y="2229"/>
                </a:lnTo>
                <a:lnTo>
                  <a:pt x="683" y="2229"/>
                </a:lnTo>
                <a:lnTo>
                  <a:pt x="731" y="2334"/>
                </a:lnTo>
                <a:lnTo>
                  <a:pt x="575" y="2762"/>
                </a:lnTo>
                <a:lnTo>
                  <a:pt x="676" y="2902"/>
                </a:lnTo>
                <a:lnTo>
                  <a:pt x="626" y="2896"/>
                </a:lnTo>
                <a:lnTo>
                  <a:pt x="579" y="2887"/>
                </a:lnTo>
                <a:lnTo>
                  <a:pt x="534" y="2873"/>
                </a:lnTo>
                <a:lnTo>
                  <a:pt x="492" y="2859"/>
                </a:lnTo>
                <a:lnTo>
                  <a:pt x="451" y="2842"/>
                </a:lnTo>
                <a:lnTo>
                  <a:pt x="411" y="2824"/>
                </a:lnTo>
                <a:lnTo>
                  <a:pt x="372" y="2805"/>
                </a:lnTo>
                <a:lnTo>
                  <a:pt x="334" y="2786"/>
                </a:lnTo>
                <a:lnTo>
                  <a:pt x="296" y="2767"/>
                </a:lnTo>
                <a:lnTo>
                  <a:pt x="258" y="2750"/>
                </a:lnTo>
                <a:lnTo>
                  <a:pt x="219" y="2733"/>
                </a:lnTo>
                <a:lnTo>
                  <a:pt x="179" y="2718"/>
                </a:lnTo>
                <a:lnTo>
                  <a:pt x="137" y="2706"/>
                </a:lnTo>
                <a:lnTo>
                  <a:pt x="93" y="2697"/>
                </a:lnTo>
                <a:lnTo>
                  <a:pt x="48" y="2690"/>
                </a:lnTo>
                <a:lnTo>
                  <a:pt x="0" y="2688"/>
                </a:lnTo>
                <a:lnTo>
                  <a:pt x="54" y="2457"/>
                </a:lnTo>
                <a:lnTo>
                  <a:pt x="73" y="2442"/>
                </a:lnTo>
                <a:lnTo>
                  <a:pt x="95" y="2428"/>
                </a:lnTo>
                <a:lnTo>
                  <a:pt x="116" y="2414"/>
                </a:lnTo>
                <a:lnTo>
                  <a:pt x="175" y="2383"/>
                </a:lnTo>
                <a:lnTo>
                  <a:pt x="233" y="2354"/>
                </a:lnTo>
                <a:lnTo>
                  <a:pt x="292" y="2327"/>
                </a:lnTo>
                <a:lnTo>
                  <a:pt x="351" y="2302"/>
                </a:lnTo>
                <a:lnTo>
                  <a:pt x="408" y="2280"/>
                </a:lnTo>
                <a:lnTo>
                  <a:pt x="463" y="2256"/>
                </a:lnTo>
                <a:lnTo>
                  <a:pt x="467" y="2253"/>
                </a:lnTo>
                <a:lnTo>
                  <a:pt x="473" y="2250"/>
                </a:lnTo>
                <a:lnTo>
                  <a:pt x="476" y="2245"/>
                </a:lnTo>
                <a:lnTo>
                  <a:pt x="479" y="2241"/>
                </a:lnTo>
                <a:lnTo>
                  <a:pt x="490" y="2209"/>
                </a:lnTo>
                <a:lnTo>
                  <a:pt x="500" y="2177"/>
                </a:lnTo>
                <a:lnTo>
                  <a:pt x="502" y="2168"/>
                </a:lnTo>
                <a:lnTo>
                  <a:pt x="506" y="2158"/>
                </a:lnTo>
                <a:lnTo>
                  <a:pt x="512" y="2151"/>
                </a:lnTo>
                <a:lnTo>
                  <a:pt x="519" y="2145"/>
                </a:lnTo>
                <a:lnTo>
                  <a:pt x="529" y="2141"/>
                </a:lnTo>
                <a:lnTo>
                  <a:pt x="531" y="2140"/>
                </a:lnTo>
                <a:lnTo>
                  <a:pt x="534" y="2137"/>
                </a:lnTo>
                <a:lnTo>
                  <a:pt x="536" y="2135"/>
                </a:lnTo>
                <a:lnTo>
                  <a:pt x="538" y="2131"/>
                </a:lnTo>
                <a:lnTo>
                  <a:pt x="540" y="2128"/>
                </a:lnTo>
                <a:lnTo>
                  <a:pt x="541" y="2125"/>
                </a:lnTo>
                <a:lnTo>
                  <a:pt x="551" y="2031"/>
                </a:lnTo>
                <a:lnTo>
                  <a:pt x="550" y="2024"/>
                </a:lnTo>
                <a:lnTo>
                  <a:pt x="548" y="2017"/>
                </a:lnTo>
                <a:lnTo>
                  <a:pt x="543" y="2011"/>
                </a:lnTo>
                <a:lnTo>
                  <a:pt x="525" y="1987"/>
                </a:lnTo>
                <a:lnTo>
                  <a:pt x="512" y="1961"/>
                </a:lnTo>
                <a:lnTo>
                  <a:pt x="501" y="1934"/>
                </a:lnTo>
                <a:lnTo>
                  <a:pt x="495" y="1905"/>
                </a:lnTo>
                <a:lnTo>
                  <a:pt x="489" y="1885"/>
                </a:lnTo>
                <a:lnTo>
                  <a:pt x="482" y="1866"/>
                </a:lnTo>
                <a:lnTo>
                  <a:pt x="475" y="1845"/>
                </a:lnTo>
                <a:lnTo>
                  <a:pt x="463" y="1805"/>
                </a:lnTo>
                <a:lnTo>
                  <a:pt x="454" y="1764"/>
                </a:lnTo>
                <a:lnTo>
                  <a:pt x="453" y="1750"/>
                </a:lnTo>
                <a:lnTo>
                  <a:pt x="451" y="1734"/>
                </a:lnTo>
                <a:lnTo>
                  <a:pt x="450" y="1726"/>
                </a:lnTo>
                <a:lnTo>
                  <a:pt x="451" y="1718"/>
                </a:lnTo>
                <a:lnTo>
                  <a:pt x="453" y="1712"/>
                </a:lnTo>
                <a:lnTo>
                  <a:pt x="458" y="1706"/>
                </a:lnTo>
                <a:lnTo>
                  <a:pt x="467" y="1702"/>
                </a:lnTo>
                <a:lnTo>
                  <a:pt x="472" y="1698"/>
                </a:lnTo>
                <a:lnTo>
                  <a:pt x="475" y="1690"/>
                </a:lnTo>
                <a:lnTo>
                  <a:pt x="477" y="1682"/>
                </a:lnTo>
                <a:lnTo>
                  <a:pt x="477" y="1666"/>
                </a:lnTo>
                <a:lnTo>
                  <a:pt x="477" y="1655"/>
                </a:lnTo>
                <a:lnTo>
                  <a:pt x="477" y="1647"/>
                </a:lnTo>
                <a:lnTo>
                  <a:pt x="477" y="1641"/>
                </a:lnTo>
                <a:lnTo>
                  <a:pt x="477" y="1633"/>
                </a:lnTo>
                <a:lnTo>
                  <a:pt x="477" y="1621"/>
                </a:lnTo>
                <a:lnTo>
                  <a:pt x="477" y="1606"/>
                </a:lnTo>
                <a:lnTo>
                  <a:pt x="477" y="1566"/>
                </a:lnTo>
                <a:lnTo>
                  <a:pt x="479" y="1526"/>
                </a:lnTo>
                <a:lnTo>
                  <a:pt x="483" y="1501"/>
                </a:lnTo>
                <a:lnTo>
                  <a:pt x="490" y="1479"/>
                </a:lnTo>
                <a:lnTo>
                  <a:pt x="501" y="1459"/>
                </a:lnTo>
                <a:lnTo>
                  <a:pt x="516" y="1440"/>
                </a:lnTo>
                <a:lnTo>
                  <a:pt x="532" y="1424"/>
                </a:lnTo>
                <a:lnTo>
                  <a:pt x="550" y="1408"/>
                </a:lnTo>
                <a:lnTo>
                  <a:pt x="578" y="1387"/>
                </a:lnTo>
                <a:lnTo>
                  <a:pt x="608" y="1370"/>
                </a:lnTo>
                <a:lnTo>
                  <a:pt x="639" y="1355"/>
                </a:lnTo>
                <a:lnTo>
                  <a:pt x="671" y="1344"/>
                </a:lnTo>
                <a:lnTo>
                  <a:pt x="705" y="1334"/>
                </a:lnTo>
                <a:lnTo>
                  <a:pt x="738" y="1325"/>
                </a:lnTo>
                <a:lnTo>
                  <a:pt x="791" y="1315"/>
                </a:lnTo>
                <a:lnTo>
                  <a:pt x="845" y="1306"/>
                </a:lnTo>
                <a:lnTo>
                  <a:pt x="860" y="1306"/>
                </a:lnTo>
                <a:lnTo>
                  <a:pt x="874" y="1306"/>
                </a:lnTo>
                <a:lnTo>
                  <a:pt x="877" y="1310"/>
                </a:lnTo>
                <a:lnTo>
                  <a:pt x="879" y="1313"/>
                </a:lnTo>
                <a:lnTo>
                  <a:pt x="868" y="1321"/>
                </a:lnTo>
                <a:lnTo>
                  <a:pt x="857" y="1331"/>
                </a:lnTo>
                <a:lnTo>
                  <a:pt x="850" y="1341"/>
                </a:lnTo>
                <a:lnTo>
                  <a:pt x="846" y="1350"/>
                </a:lnTo>
                <a:lnTo>
                  <a:pt x="851" y="1358"/>
                </a:lnTo>
                <a:lnTo>
                  <a:pt x="860" y="1369"/>
                </a:lnTo>
                <a:lnTo>
                  <a:pt x="908" y="1410"/>
                </a:lnTo>
                <a:lnTo>
                  <a:pt x="956" y="1452"/>
                </a:lnTo>
                <a:lnTo>
                  <a:pt x="971" y="1468"/>
                </a:lnTo>
                <a:lnTo>
                  <a:pt x="982" y="1486"/>
                </a:lnTo>
                <a:lnTo>
                  <a:pt x="989" y="1504"/>
                </a:lnTo>
                <a:lnTo>
                  <a:pt x="993" y="1525"/>
                </a:lnTo>
                <a:lnTo>
                  <a:pt x="995" y="1546"/>
                </a:lnTo>
                <a:lnTo>
                  <a:pt x="995" y="1571"/>
                </a:lnTo>
                <a:lnTo>
                  <a:pt x="995" y="1589"/>
                </a:lnTo>
                <a:lnTo>
                  <a:pt x="995" y="1607"/>
                </a:lnTo>
                <a:lnTo>
                  <a:pt x="995" y="1622"/>
                </a:lnTo>
                <a:lnTo>
                  <a:pt x="995" y="1639"/>
                </a:lnTo>
                <a:lnTo>
                  <a:pt x="995" y="1658"/>
                </a:lnTo>
                <a:lnTo>
                  <a:pt x="995" y="1682"/>
                </a:lnTo>
                <a:lnTo>
                  <a:pt x="995" y="1690"/>
                </a:lnTo>
                <a:lnTo>
                  <a:pt x="995" y="1697"/>
                </a:lnTo>
                <a:lnTo>
                  <a:pt x="997" y="1703"/>
                </a:lnTo>
                <a:lnTo>
                  <a:pt x="1003" y="1710"/>
                </a:lnTo>
                <a:lnTo>
                  <a:pt x="1010" y="1714"/>
                </a:lnTo>
                <a:lnTo>
                  <a:pt x="1012" y="1715"/>
                </a:lnTo>
                <a:lnTo>
                  <a:pt x="1014" y="1718"/>
                </a:lnTo>
                <a:lnTo>
                  <a:pt x="1016" y="1720"/>
                </a:lnTo>
                <a:lnTo>
                  <a:pt x="1017" y="1723"/>
                </a:lnTo>
                <a:lnTo>
                  <a:pt x="1017" y="1726"/>
                </a:lnTo>
                <a:lnTo>
                  <a:pt x="1008" y="1824"/>
                </a:lnTo>
                <a:lnTo>
                  <a:pt x="1007" y="1826"/>
                </a:lnTo>
                <a:lnTo>
                  <a:pt x="1007" y="1827"/>
                </a:lnTo>
                <a:lnTo>
                  <a:pt x="993" y="1849"/>
                </a:lnTo>
                <a:lnTo>
                  <a:pt x="984" y="1872"/>
                </a:lnTo>
                <a:lnTo>
                  <a:pt x="976" y="1895"/>
                </a:lnTo>
                <a:lnTo>
                  <a:pt x="969" y="1920"/>
                </a:lnTo>
                <a:lnTo>
                  <a:pt x="962" y="1944"/>
                </a:lnTo>
                <a:lnTo>
                  <a:pt x="952" y="1967"/>
                </a:lnTo>
                <a:lnTo>
                  <a:pt x="952" y="1968"/>
                </a:lnTo>
                <a:lnTo>
                  <a:pt x="951" y="1970"/>
                </a:lnTo>
                <a:lnTo>
                  <a:pt x="950" y="1973"/>
                </a:lnTo>
                <a:lnTo>
                  <a:pt x="936" y="1992"/>
                </a:lnTo>
                <a:lnTo>
                  <a:pt x="928" y="2014"/>
                </a:lnTo>
                <a:lnTo>
                  <a:pt x="924" y="2035"/>
                </a:lnTo>
                <a:lnTo>
                  <a:pt x="921" y="2057"/>
                </a:lnTo>
                <a:lnTo>
                  <a:pt x="921" y="2079"/>
                </a:lnTo>
                <a:lnTo>
                  <a:pt x="922" y="2102"/>
                </a:lnTo>
                <a:lnTo>
                  <a:pt x="922" y="2125"/>
                </a:lnTo>
                <a:lnTo>
                  <a:pt x="924" y="2128"/>
                </a:lnTo>
                <a:lnTo>
                  <a:pt x="925" y="2132"/>
                </a:lnTo>
                <a:lnTo>
                  <a:pt x="926" y="2136"/>
                </a:lnTo>
                <a:lnTo>
                  <a:pt x="929" y="2138"/>
                </a:lnTo>
                <a:lnTo>
                  <a:pt x="931" y="2140"/>
                </a:lnTo>
                <a:lnTo>
                  <a:pt x="940" y="2146"/>
                </a:lnTo>
                <a:lnTo>
                  <a:pt x="947" y="2154"/>
                </a:lnTo>
                <a:lnTo>
                  <a:pt x="951" y="2165"/>
                </a:lnTo>
                <a:lnTo>
                  <a:pt x="954" y="2175"/>
                </a:lnTo>
                <a:lnTo>
                  <a:pt x="966" y="2209"/>
                </a:lnTo>
                <a:lnTo>
                  <a:pt x="978" y="2242"/>
                </a:lnTo>
                <a:lnTo>
                  <a:pt x="983" y="2249"/>
                </a:lnTo>
                <a:lnTo>
                  <a:pt x="992" y="2255"/>
                </a:lnTo>
                <a:lnTo>
                  <a:pt x="1002" y="2259"/>
                </a:lnTo>
                <a:lnTo>
                  <a:pt x="1090" y="2294"/>
                </a:lnTo>
                <a:lnTo>
                  <a:pt x="1178" y="2331"/>
                </a:lnTo>
                <a:lnTo>
                  <a:pt x="1265" y="2370"/>
                </a:lnTo>
                <a:lnTo>
                  <a:pt x="1351" y="2411"/>
                </a:lnTo>
                <a:lnTo>
                  <a:pt x="1372" y="2424"/>
                </a:lnTo>
                <a:lnTo>
                  <a:pt x="1392" y="2439"/>
                </a:lnTo>
                <a:lnTo>
                  <a:pt x="1409" y="2454"/>
                </a:lnTo>
                <a:lnTo>
                  <a:pt x="1461" y="2674"/>
                </a:lnTo>
                <a:lnTo>
                  <a:pt x="1502" y="2677"/>
                </a:lnTo>
                <a:lnTo>
                  <a:pt x="1542" y="2682"/>
                </a:lnTo>
                <a:lnTo>
                  <a:pt x="1985" y="1985"/>
                </a:lnTo>
                <a:lnTo>
                  <a:pt x="1954" y="1979"/>
                </a:lnTo>
                <a:lnTo>
                  <a:pt x="1926" y="1970"/>
                </a:lnTo>
                <a:lnTo>
                  <a:pt x="1901" y="1960"/>
                </a:lnTo>
                <a:lnTo>
                  <a:pt x="1880" y="1948"/>
                </a:lnTo>
                <a:lnTo>
                  <a:pt x="1862" y="1934"/>
                </a:lnTo>
                <a:lnTo>
                  <a:pt x="1850" y="1919"/>
                </a:lnTo>
                <a:lnTo>
                  <a:pt x="1843" y="1903"/>
                </a:lnTo>
                <a:lnTo>
                  <a:pt x="1840" y="1885"/>
                </a:lnTo>
                <a:lnTo>
                  <a:pt x="1843" y="1867"/>
                </a:lnTo>
                <a:lnTo>
                  <a:pt x="1851" y="1849"/>
                </a:lnTo>
                <a:lnTo>
                  <a:pt x="1866" y="1834"/>
                </a:lnTo>
                <a:lnTo>
                  <a:pt x="1885" y="1819"/>
                </a:lnTo>
                <a:lnTo>
                  <a:pt x="1909" y="1807"/>
                </a:lnTo>
                <a:lnTo>
                  <a:pt x="1936" y="1797"/>
                </a:lnTo>
                <a:lnTo>
                  <a:pt x="1967" y="1789"/>
                </a:lnTo>
                <a:lnTo>
                  <a:pt x="2001" y="1784"/>
                </a:lnTo>
                <a:lnTo>
                  <a:pt x="1371" y="936"/>
                </a:lnTo>
                <a:lnTo>
                  <a:pt x="1349" y="939"/>
                </a:lnTo>
                <a:lnTo>
                  <a:pt x="1324" y="940"/>
                </a:lnTo>
                <a:lnTo>
                  <a:pt x="1289" y="938"/>
                </a:lnTo>
                <a:lnTo>
                  <a:pt x="1256" y="933"/>
                </a:lnTo>
                <a:lnTo>
                  <a:pt x="1228" y="926"/>
                </a:lnTo>
                <a:lnTo>
                  <a:pt x="1203" y="916"/>
                </a:lnTo>
                <a:lnTo>
                  <a:pt x="1182" y="903"/>
                </a:lnTo>
                <a:lnTo>
                  <a:pt x="1168" y="888"/>
                </a:lnTo>
                <a:lnTo>
                  <a:pt x="1158" y="872"/>
                </a:lnTo>
                <a:lnTo>
                  <a:pt x="1155" y="854"/>
                </a:lnTo>
                <a:lnTo>
                  <a:pt x="1157" y="844"/>
                </a:lnTo>
                <a:lnTo>
                  <a:pt x="1160" y="833"/>
                </a:lnTo>
                <a:lnTo>
                  <a:pt x="1135" y="838"/>
                </a:lnTo>
                <a:lnTo>
                  <a:pt x="1107" y="845"/>
                </a:lnTo>
                <a:lnTo>
                  <a:pt x="1077" y="854"/>
                </a:lnTo>
                <a:lnTo>
                  <a:pt x="1045" y="865"/>
                </a:lnTo>
                <a:lnTo>
                  <a:pt x="1011" y="879"/>
                </a:lnTo>
                <a:lnTo>
                  <a:pt x="977" y="892"/>
                </a:lnTo>
                <a:lnTo>
                  <a:pt x="943" y="905"/>
                </a:lnTo>
                <a:lnTo>
                  <a:pt x="909" y="918"/>
                </a:lnTo>
                <a:lnTo>
                  <a:pt x="876" y="929"/>
                </a:lnTo>
                <a:lnTo>
                  <a:pt x="845" y="937"/>
                </a:lnTo>
                <a:lnTo>
                  <a:pt x="817" y="943"/>
                </a:lnTo>
                <a:lnTo>
                  <a:pt x="869" y="871"/>
                </a:lnTo>
                <a:lnTo>
                  <a:pt x="786" y="644"/>
                </a:lnTo>
                <a:lnTo>
                  <a:pt x="812" y="589"/>
                </a:lnTo>
                <a:lnTo>
                  <a:pt x="760" y="589"/>
                </a:lnTo>
                <a:lnTo>
                  <a:pt x="786" y="644"/>
                </a:lnTo>
                <a:lnTo>
                  <a:pt x="703" y="871"/>
                </a:lnTo>
                <a:lnTo>
                  <a:pt x="757" y="945"/>
                </a:lnTo>
                <a:lnTo>
                  <a:pt x="722" y="940"/>
                </a:lnTo>
                <a:lnTo>
                  <a:pt x="689" y="933"/>
                </a:lnTo>
                <a:lnTo>
                  <a:pt x="660" y="923"/>
                </a:lnTo>
                <a:lnTo>
                  <a:pt x="631" y="910"/>
                </a:lnTo>
                <a:lnTo>
                  <a:pt x="603" y="897"/>
                </a:lnTo>
                <a:lnTo>
                  <a:pt x="575" y="884"/>
                </a:lnTo>
                <a:lnTo>
                  <a:pt x="549" y="870"/>
                </a:lnTo>
                <a:lnTo>
                  <a:pt x="522" y="859"/>
                </a:lnTo>
                <a:lnTo>
                  <a:pt x="493" y="848"/>
                </a:lnTo>
                <a:lnTo>
                  <a:pt x="464" y="840"/>
                </a:lnTo>
                <a:lnTo>
                  <a:pt x="432" y="834"/>
                </a:lnTo>
                <a:lnTo>
                  <a:pt x="399" y="832"/>
                </a:lnTo>
                <a:lnTo>
                  <a:pt x="427" y="710"/>
                </a:lnTo>
                <a:lnTo>
                  <a:pt x="443" y="698"/>
                </a:lnTo>
                <a:lnTo>
                  <a:pt x="460" y="688"/>
                </a:lnTo>
                <a:lnTo>
                  <a:pt x="491" y="671"/>
                </a:lnTo>
                <a:lnTo>
                  <a:pt x="523" y="655"/>
                </a:lnTo>
                <a:lnTo>
                  <a:pt x="554" y="641"/>
                </a:lnTo>
                <a:lnTo>
                  <a:pt x="585" y="628"/>
                </a:lnTo>
                <a:lnTo>
                  <a:pt x="644" y="603"/>
                </a:lnTo>
                <a:lnTo>
                  <a:pt x="647" y="601"/>
                </a:lnTo>
                <a:lnTo>
                  <a:pt x="650" y="598"/>
                </a:lnTo>
                <a:lnTo>
                  <a:pt x="652" y="595"/>
                </a:lnTo>
                <a:lnTo>
                  <a:pt x="664" y="561"/>
                </a:lnTo>
                <a:lnTo>
                  <a:pt x="666" y="555"/>
                </a:lnTo>
                <a:lnTo>
                  <a:pt x="668" y="550"/>
                </a:lnTo>
                <a:lnTo>
                  <a:pt x="672" y="545"/>
                </a:lnTo>
                <a:lnTo>
                  <a:pt x="679" y="543"/>
                </a:lnTo>
                <a:lnTo>
                  <a:pt x="681" y="542"/>
                </a:lnTo>
                <a:lnTo>
                  <a:pt x="683" y="540"/>
                </a:lnTo>
                <a:lnTo>
                  <a:pt x="684" y="537"/>
                </a:lnTo>
                <a:lnTo>
                  <a:pt x="685" y="535"/>
                </a:lnTo>
                <a:lnTo>
                  <a:pt x="690" y="484"/>
                </a:lnTo>
                <a:lnTo>
                  <a:pt x="690" y="482"/>
                </a:lnTo>
                <a:lnTo>
                  <a:pt x="689" y="479"/>
                </a:lnTo>
                <a:lnTo>
                  <a:pt x="688" y="476"/>
                </a:lnTo>
                <a:lnTo>
                  <a:pt x="686" y="474"/>
                </a:lnTo>
                <a:lnTo>
                  <a:pt x="674" y="456"/>
                </a:lnTo>
                <a:lnTo>
                  <a:pt x="666" y="438"/>
                </a:lnTo>
                <a:lnTo>
                  <a:pt x="661" y="417"/>
                </a:lnTo>
                <a:lnTo>
                  <a:pt x="655" y="402"/>
                </a:lnTo>
                <a:lnTo>
                  <a:pt x="650" y="387"/>
                </a:lnTo>
                <a:lnTo>
                  <a:pt x="639" y="343"/>
                </a:lnTo>
                <a:lnTo>
                  <a:pt x="639" y="338"/>
                </a:lnTo>
                <a:lnTo>
                  <a:pt x="638" y="332"/>
                </a:lnTo>
                <a:lnTo>
                  <a:pt x="638" y="327"/>
                </a:lnTo>
                <a:lnTo>
                  <a:pt x="637" y="320"/>
                </a:lnTo>
                <a:lnTo>
                  <a:pt x="639" y="315"/>
                </a:lnTo>
                <a:lnTo>
                  <a:pt x="646" y="311"/>
                </a:lnTo>
                <a:lnTo>
                  <a:pt x="647" y="310"/>
                </a:lnTo>
                <a:lnTo>
                  <a:pt x="649" y="308"/>
                </a:lnTo>
                <a:lnTo>
                  <a:pt x="650" y="305"/>
                </a:lnTo>
                <a:lnTo>
                  <a:pt x="650" y="302"/>
                </a:lnTo>
                <a:lnTo>
                  <a:pt x="651" y="300"/>
                </a:lnTo>
                <a:lnTo>
                  <a:pt x="651" y="289"/>
                </a:lnTo>
                <a:lnTo>
                  <a:pt x="651" y="282"/>
                </a:lnTo>
                <a:lnTo>
                  <a:pt x="651" y="277"/>
                </a:lnTo>
                <a:lnTo>
                  <a:pt x="651" y="271"/>
                </a:lnTo>
                <a:lnTo>
                  <a:pt x="651" y="259"/>
                </a:lnTo>
                <a:lnTo>
                  <a:pt x="652" y="217"/>
                </a:lnTo>
                <a:lnTo>
                  <a:pt x="656" y="199"/>
                </a:lnTo>
                <a:lnTo>
                  <a:pt x="665" y="182"/>
                </a:lnTo>
                <a:lnTo>
                  <a:pt x="676" y="168"/>
                </a:lnTo>
                <a:lnTo>
                  <a:pt x="690" y="155"/>
                </a:lnTo>
                <a:lnTo>
                  <a:pt x="713" y="139"/>
                </a:lnTo>
                <a:lnTo>
                  <a:pt x="737" y="127"/>
                </a:lnTo>
                <a:lnTo>
                  <a:pt x="762" y="119"/>
                </a:lnTo>
                <a:lnTo>
                  <a:pt x="789" y="111"/>
                </a:lnTo>
                <a:lnTo>
                  <a:pt x="818" y="105"/>
                </a:lnTo>
                <a:lnTo>
                  <a:pt x="846" y="101"/>
                </a:lnTo>
                <a:lnTo>
                  <a:pt x="852" y="101"/>
                </a:lnTo>
                <a:lnTo>
                  <a:pt x="857" y="101"/>
                </a:lnTo>
                <a:lnTo>
                  <a:pt x="862" y="101"/>
                </a:lnTo>
                <a:lnTo>
                  <a:pt x="864" y="105"/>
                </a:lnTo>
                <a:lnTo>
                  <a:pt x="860" y="107"/>
                </a:lnTo>
                <a:lnTo>
                  <a:pt x="856" y="110"/>
                </a:lnTo>
                <a:lnTo>
                  <a:pt x="853" y="113"/>
                </a:lnTo>
                <a:lnTo>
                  <a:pt x="848" y="121"/>
                </a:lnTo>
                <a:lnTo>
                  <a:pt x="848" y="127"/>
                </a:lnTo>
                <a:lnTo>
                  <a:pt x="854" y="134"/>
                </a:lnTo>
                <a:lnTo>
                  <a:pt x="905" y="178"/>
                </a:lnTo>
                <a:lnTo>
                  <a:pt x="914" y="188"/>
                </a:lnTo>
                <a:lnTo>
                  <a:pt x="920" y="201"/>
                </a:lnTo>
                <a:lnTo>
                  <a:pt x="925" y="214"/>
                </a:lnTo>
                <a:lnTo>
                  <a:pt x="926" y="228"/>
                </a:lnTo>
                <a:lnTo>
                  <a:pt x="926" y="245"/>
                </a:lnTo>
                <a:lnTo>
                  <a:pt x="926" y="258"/>
                </a:lnTo>
                <a:lnTo>
                  <a:pt x="926" y="270"/>
                </a:lnTo>
                <a:lnTo>
                  <a:pt x="926" y="283"/>
                </a:lnTo>
                <a:lnTo>
                  <a:pt x="926" y="300"/>
                </a:lnTo>
                <a:lnTo>
                  <a:pt x="926" y="305"/>
                </a:lnTo>
                <a:lnTo>
                  <a:pt x="927" y="310"/>
                </a:lnTo>
                <a:lnTo>
                  <a:pt x="929" y="314"/>
                </a:lnTo>
                <a:lnTo>
                  <a:pt x="934" y="317"/>
                </a:lnTo>
                <a:lnTo>
                  <a:pt x="935" y="318"/>
                </a:lnTo>
                <a:lnTo>
                  <a:pt x="936" y="319"/>
                </a:lnTo>
                <a:lnTo>
                  <a:pt x="937" y="321"/>
                </a:lnTo>
                <a:lnTo>
                  <a:pt x="937" y="323"/>
                </a:lnTo>
                <a:lnTo>
                  <a:pt x="932" y="374"/>
                </a:lnTo>
                <a:lnTo>
                  <a:pt x="932" y="376"/>
                </a:lnTo>
                <a:lnTo>
                  <a:pt x="921" y="394"/>
                </a:lnTo>
                <a:lnTo>
                  <a:pt x="915" y="413"/>
                </a:lnTo>
                <a:lnTo>
                  <a:pt x="910" y="432"/>
                </a:lnTo>
                <a:lnTo>
                  <a:pt x="903" y="450"/>
                </a:lnTo>
                <a:lnTo>
                  <a:pt x="902" y="452"/>
                </a:lnTo>
                <a:lnTo>
                  <a:pt x="902" y="453"/>
                </a:lnTo>
                <a:lnTo>
                  <a:pt x="893" y="469"/>
                </a:lnTo>
                <a:lnTo>
                  <a:pt x="888" y="484"/>
                </a:lnTo>
                <a:lnTo>
                  <a:pt x="887" y="501"/>
                </a:lnTo>
                <a:lnTo>
                  <a:pt x="887" y="517"/>
                </a:lnTo>
                <a:lnTo>
                  <a:pt x="888" y="535"/>
                </a:lnTo>
                <a:lnTo>
                  <a:pt x="888" y="537"/>
                </a:lnTo>
                <a:lnTo>
                  <a:pt x="889" y="539"/>
                </a:lnTo>
                <a:lnTo>
                  <a:pt x="890" y="541"/>
                </a:lnTo>
                <a:lnTo>
                  <a:pt x="892" y="543"/>
                </a:lnTo>
                <a:lnTo>
                  <a:pt x="898" y="547"/>
                </a:lnTo>
                <a:lnTo>
                  <a:pt x="902" y="553"/>
                </a:lnTo>
                <a:lnTo>
                  <a:pt x="904" y="560"/>
                </a:lnTo>
                <a:lnTo>
                  <a:pt x="909" y="579"/>
                </a:lnTo>
                <a:lnTo>
                  <a:pt x="916" y="596"/>
                </a:lnTo>
                <a:lnTo>
                  <a:pt x="918" y="599"/>
                </a:lnTo>
                <a:lnTo>
                  <a:pt x="921" y="601"/>
                </a:lnTo>
                <a:lnTo>
                  <a:pt x="925" y="603"/>
                </a:lnTo>
                <a:lnTo>
                  <a:pt x="929" y="605"/>
                </a:lnTo>
                <a:lnTo>
                  <a:pt x="991" y="630"/>
                </a:lnTo>
                <a:lnTo>
                  <a:pt x="1053" y="657"/>
                </a:lnTo>
                <a:lnTo>
                  <a:pt x="1114" y="686"/>
                </a:lnTo>
                <a:lnTo>
                  <a:pt x="1130" y="696"/>
                </a:lnTo>
                <a:lnTo>
                  <a:pt x="1144" y="708"/>
                </a:lnTo>
                <a:lnTo>
                  <a:pt x="1170" y="818"/>
                </a:lnTo>
                <a:lnTo>
                  <a:pt x="1185" y="804"/>
                </a:lnTo>
                <a:lnTo>
                  <a:pt x="1206" y="792"/>
                </a:lnTo>
                <a:lnTo>
                  <a:pt x="1231" y="782"/>
                </a:lnTo>
                <a:lnTo>
                  <a:pt x="1258" y="775"/>
                </a:lnTo>
                <a:lnTo>
                  <a:pt x="1290" y="771"/>
                </a:lnTo>
                <a:lnTo>
                  <a:pt x="1324" y="769"/>
                </a:lnTo>
                <a:lnTo>
                  <a:pt x="1362" y="771"/>
                </a:lnTo>
                <a:lnTo>
                  <a:pt x="1397" y="777"/>
                </a:lnTo>
                <a:lnTo>
                  <a:pt x="1428" y="786"/>
                </a:lnTo>
                <a:lnTo>
                  <a:pt x="1454" y="799"/>
                </a:lnTo>
                <a:lnTo>
                  <a:pt x="2013" y="607"/>
                </a:lnTo>
                <a:lnTo>
                  <a:pt x="2005" y="594"/>
                </a:lnTo>
                <a:lnTo>
                  <a:pt x="2003" y="580"/>
                </a:lnTo>
                <a:lnTo>
                  <a:pt x="2005" y="564"/>
                </a:lnTo>
                <a:lnTo>
                  <a:pt x="2013" y="552"/>
                </a:lnTo>
                <a:lnTo>
                  <a:pt x="1987" y="559"/>
                </a:lnTo>
                <a:lnTo>
                  <a:pt x="1959" y="569"/>
                </a:lnTo>
                <a:lnTo>
                  <a:pt x="1929" y="581"/>
                </a:lnTo>
                <a:lnTo>
                  <a:pt x="1899" y="592"/>
                </a:lnTo>
                <a:lnTo>
                  <a:pt x="1870" y="603"/>
                </a:lnTo>
                <a:lnTo>
                  <a:pt x="1840" y="614"/>
                </a:lnTo>
                <a:lnTo>
                  <a:pt x="1812" y="623"/>
                </a:lnTo>
                <a:lnTo>
                  <a:pt x="1786" y="628"/>
                </a:lnTo>
                <a:lnTo>
                  <a:pt x="1825" y="575"/>
                </a:lnTo>
                <a:lnTo>
                  <a:pt x="1764" y="405"/>
                </a:lnTo>
                <a:lnTo>
                  <a:pt x="1783" y="364"/>
                </a:lnTo>
                <a:lnTo>
                  <a:pt x="1744" y="364"/>
                </a:lnTo>
                <a:lnTo>
                  <a:pt x="1764" y="405"/>
                </a:lnTo>
                <a:lnTo>
                  <a:pt x="1702" y="575"/>
                </a:lnTo>
                <a:lnTo>
                  <a:pt x="1742" y="629"/>
                </a:lnTo>
                <a:lnTo>
                  <a:pt x="1710" y="625"/>
                </a:lnTo>
                <a:lnTo>
                  <a:pt x="1683" y="617"/>
                </a:lnTo>
                <a:lnTo>
                  <a:pt x="1656" y="607"/>
                </a:lnTo>
                <a:lnTo>
                  <a:pt x="1631" y="596"/>
                </a:lnTo>
                <a:lnTo>
                  <a:pt x="1607" y="584"/>
                </a:lnTo>
                <a:lnTo>
                  <a:pt x="1583" y="573"/>
                </a:lnTo>
                <a:lnTo>
                  <a:pt x="1558" y="561"/>
                </a:lnTo>
                <a:lnTo>
                  <a:pt x="1533" y="553"/>
                </a:lnTo>
                <a:lnTo>
                  <a:pt x="1505" y="547"/>
                </a:lnTo>
                <a:lnTo>
                  <a:pt x="1475" y="545"/>
                </a:lnTo>
                <a:lnTo>
                  <a:pt x="1497" y="454"/>
                </a:lnTo>
                <a:lnTo>
                  <a:pt x="1508" y="445"/>
                </a:lnTo>
                <a:lnTo>
                  <a:pt x="1521" y="437"/>
                </a:lnTo>
                <a:lnTo>
                  <a:pt x="1568" y="413"/>
                </a:lnTo>
                <a:lnTo>
                  <a:pt x="1590" y="403"/>
                </a:lnTo>
                <a:lnTo>
                  <a:pt x="1614" y="393"/>
                </a:lnTo>
                <a:lnTo>
                  <a:pt x="1658" y="375"/>
                </a:lnTo>
                <a:lnTo>
                  <a:pt x="1660" y="373"/>
                </a:lnTo>
                <a:lnTo>
                  <a:pt x="1662" y="371"/>
                </a:lnTo>
                <a:lnTo>
                  <a:pt x="1664" y="369"/>
                </a:lnTo>
                <a:lnTo>
                  <a:pt x="1672" y="343"/>
                </a:lnTo>
                <a:lnTo>
                  <a:pt x="1673" y="340"/>
                </a:lnTo>
                <a:lnTo>
                  <a:pt x="1674" y="337"/>
                </a:lnTo>
                <a:lnTo>
                  <a:pt x="1675" y="335"/>
                </a:lnTo>
                <a:lnTo>
                  <a:pt x="1678" y="332"/>
                </a:lnTo>
                <a:lnTo>
                  <a:pt x="1681" y="331"/>
                </a:lnTo>
                <a:lnTo>
                  <a:pt x="1684" y="329"/>
                </a:lnTo>
                <a:lnTo>
                  <a:pt x="1686" y="329"/>
                </a:lnTo>
                <a:lnTo>
                  <a:pt x="1687" y="327"/>
                </a:lnTo>
                <a:lnTo>
                  <a:pt x="1688" y="325"/>
                </a:lnTo>
                <a:lnTo>
                  <a:pt x="1689" y="323"/>
                </a:lnTo>
                <a:lnTo>
                  <a:pt x="1692" y="286"/>
                </a:lnTo>
                <a:lnTo>
                  <a:pt x="1692" y="284"/>
                </a:lnTo>
                <a:lnTo>
                  <a:pt x="1691" y="281"/>
                </a:lnTo>
                <a:lnTo>
                  <a:pt x="1690" y="279"/>
                </a:lnTo>
                <a:lnTo>
                  <a:pt x="1681" y="265"/>
                </a:lnTo>
                <a:lnTo>
                  <a:pt x="1673" y="252"/>
                </a:lnTo>
                <a:lnTo>
                  <a:pt x="1670" y="237"/>
                </a:lnTo>
                <a:lnTo>
                  <a:pt x="1666" y="224"/>
                </a:lnTo>
                <a:lnTo>
                  <a:pt x="1662" y="213"/>
                </a:lnTo>
                <a:lnTo>
                  <a:pt x="1654" y="181"/>
                </a:lnTo>
                <a:lnTo>
                  <a:pt x="1654" y="177"/>
                </a:lnTo>
                <a:lnTo>
                  <a:pt x="1654" y="173"/>
                </a:lnTo>
                <a:lnTo>
                  <a:pt x="1653" y="169"/>
                </a:lnTo>
                <a:lnTo>
                  <a:pt x="1653" y="167"/>
                </a:lnTo>
                <a:lnTo>
                  <a:pt x="1653" y="164"/>
                </a:lnTo>
                <a:lnTo>
                  <a:pt x="1653" y="162"/>
                </a:lnTo>
                <a:lnTo>
                  <a:pt x="1655" y="160"/>
                </a:lnTo>
                <a:lnTo>
                  <a:pt x="1656" y="159"/>
                </a:lnTo>
                <a:lnTo>
                  <a:pt x="1659" y="157"/>
                </a:lnTo>
                <a:lnTo>
                  <a:pt x="1661" y="156"/>
                </a:lnTo>
                <a:lnTo>
                  <a:pt x="1662" y="153"/>
                </a:lnTo>
                <a:lnTo>
                  <a:pt x="1662" y="151"/>
                </a:lnTo>
                <a:lnTo>
                  <a:pt x="1663" y="148"/>
                </a:lnTo>
                <a:lnTo>
                  <a:pt x="1663" y="139"/>
                </a:lnTo>
                <a:lnTo>
                  <a:pt x="1663" y="134"/>
                </a:lnTo>
                <a:lnTo>
                  <a:pt x="1663" y="128"/>
                </a:lnTo>
                <a:lnTo>
                  <a:pt x="1663" y="119"/>
                </a:lnTo>
                <a:lnTo>
                  <a:pt x="1664" y="88"/>
                </a:lnTo>
                <a:lnTo>
                  <a:pt x="1667" y="73"/>
                </a:lnTo>
                <a:lnTo>
                  <a:pt x="1673" y="61"/>
                </a:lnTo>
                <a:lnTo>
                  <a:pt x="1682" y="51"/>
                </a:lnTo>
                <a:lnTo>
                  <a:pt x="1692" y="40"/>
                </a:lnTo>
                <a:lnTo>
                  <a:pt x="1708" y="29"/>
                </a:lnTo>
                <a:lnTo>
                  <a:pt x="1727" y="20"/>
                </a:lnTo>
                <a:lnTo>
                  <a:pt x="1746" y="14"/>
                </a:lnTo>
                <a:lnTo>
                  <a:pt x="1766" y="9"/>
                </a:lnTo>
                <a:lnTo>
                  <a:pt x="1787" y="5"/>
                </a:lnTo>
                <a:lnTo>
                  <a:pt x="1808" y="0"/>
                </a:lnTo>
                <a:lnTo>
                  <a:pt x="1814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63366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86B057-C001-D7F8-7107-5E8FBBB95E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think-cell data - do not delete" hidden="1">
            <a:extLst>
              <a:ext uri="{FF2B5EF4-FFF2-40B4-BE49-F238E27FC236}">
                <a16:creationId xmlns:a16="http://schemas.microsoft.com/office/drawing/2014/main" id="{247864B3-3921-9B09-3F03-0747309222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3643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7864B3-3921-9B09-3F03-0747309222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A3F75D7-A5F1-35AD-B81D-50B060103D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8567"/>
            <a:ext cx="8629996" cy="948770"/>
          </a:xfrm>
        </p:spPr>
        <p:txBody>
          <a:bodyPr vert="horz">
            <a:norm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sz="2800" b="1" dirty="0"/>
              <a:t>Customization in </a:t>
            </a:r>
            <a:r>
              <a:rPr lang="en-US" sz="2800" b="1" dirty="0" err="1"/>
              <a:t>Polarion</a:t>
            </a:r>
            <a:r>
              <a:rPr lang="en-US" sz="2800" b="1" dirty="0"/>
              <a:t> </a:t>
            </a:r>
            <a:r>
              <a:rPr lang="en-US" b="1" dirty="0"/>
              <a:t>(Script / Develop)</a:t>
            </a:r>
            <a:endParaRPr lang="en-US" sz="2800" dirty="0"/>
          </a:p>
        </p:txBody>
      </p:sp>
      <p:sp>
        <p:nvSpPr>
          <p:cNvPr id="4" name="Oval 6">
            <a:extLst>
              <a:ext uri="{FF2B5EF4-FFF2-40B4-BE49-F238E27FC236}">
                <a16:creationId xmlns:a16="http://schemas.microsoft.com/office/drawing/2014/main" id="{45F1F6AB-0329-D762-9B73-DAA359FB85F8}"/>
              </a:ext>
            </a:extLst>
          </p:cNvPr>
          <p:cNvSpPr/>
          <p:nvPr/>
        </p:nvSpPr>
        <p:spPr>
          <a:xfrm>
            <a:off x="615931" y="1368441"/>
            <a:ext cx="914400" cy="914400"/>
          </a:xfrm>
          <a:prstGeom prst="ellipse">
            <a:avLst/>
          </a:prstGeom>
          <a:solidFill>
            <a:srgbClr val="00D0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12">
            <a:extLst>
              <a:ext uri="{FF2B5EF4-FFF2-40B4-BE49-F238E27FC236}">
                <a16:creationId xmlns:a16="http://schemas.microsoft.com/office/drawing/2014/main" id="{D51B300A-33CE-7B02-6B1C-11E6063C652A}"/>
              </a:ext>
            </a:extLst>
          </p:cNvPr>
          <p:cNvSpPr/>
          <p:nvPr/>
        </p:nvSpPr>
        <p:spPr>
          <a:xfrm>
            <a:off x="615931" y="2591462"/>
            <a:ext cx="914400" cy="914400"/>
          </a:xfrm>
          <a:prstGeom prst="ellipse">
            <a:avLst/>
          </a:prstGeom>
          <a:solidFill>
            <a:srgbClr val="5C8E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4">
            <a:extLst>
              <a:ext uri="{FF2B5EF4-FFF2-40B4-BE49-F238E27FC236}">
                <a16:creationId xmlns:a16="http://schemas.microsoft.com/office/drawing/2014/main" id="{426AEAE9-283F-C761-7230-031D20BE35D5}"/>
              </a:ext>
            </a:extLst>
          </p:cNvPr>
          <p:cNvSpPr/>
          <p:nvPr/>
        </p:nvSpPr>
        <p:spPr>
          <a:xfrm>
            <a:off x="615931" y="3609785"/>
            <a:ext cx="914400" cy="914400"/>
          </a:xfrm>
          <a:prstGeom prst="ellipse">
            <a:avLst/>
          </a:prstGeom>
          <a:solidFill>
            <a:srgbClr val="686C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9">
            <a:extLst>
              <a:ext uri="{FF2B5EF4-FFF2-40B4-BE49-F238E27FC236}">
                <a16:creationId xmlns:a16="http://schemas.microsoft.com/office/drawing/2014/main" id="{2DD743FC-1B1A-72D4-AD0F-0E6BDC089E69}"/>
              </a:ext>
            </a:extLst>
          </p:cNvPr>
          <p:cNvSpPr/>
          <p:nvPr/>
        </p:nvSpPr>
        <p:spPr>
          <a:xfrm>
            <a:off x="1707217" y="1368441"/>
            <a:ext cx="4140000" cy="116955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00" b="1">
                <a:latin typeface="Montserrat" panose="00000500000000000000" pitchFamily="2" charset="0"/>
              </a:rPr>
              <a:t>Custom Widgets</a:t>
            </a:r>
            <a:r>
              <a:rPr lang="en-US" sz="1000">
                <a:latin typeface="Montserrat" panose="00000500000000000000" pitchFamily="2" charset="0"/>
              </a:rPr>
              <a:t>:</a:t>
            </a:r>
            <a:endParaRPr lang="en-US" sz="1000" b="1">
              <a:latin typeface="Montserrat" panose="00000500000000000000" pitchFamily="2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>
                <a:latin typeface="Montserrat" panose="00000500000000000000" pitchFamily="2" charset="0"/>
              </a:rPr>
              <a:t>Develop custom widgets to extend </a:t>
            </a:r>
            <a:r>
              <a:rPr lang="en-US" sz="1000" err="1">
                <a:latin typeface="Montserrat" panose="00000500000000000000" pitchFamily="2" charset="0"/>
              </a:rPr>
              <a:t>Polarion’s</a:t>
            </a:r>
            <a:r>
              <a:rPr lang="en-US" sz="1000">
                <a:latin typeface="Montserrat" panose="00000500000000000000" pitchFamily="2" charset="0"/>
              </a:rPr>
              <a:t> dashboards, enabling advanced data visualization or unique project views that are not available out of the box. These can be written using Velocity templates, JavaScript, and </a:t>
            </a:r>
            <a:r>
              <a:rPr lang="en-US" sz="1000" err="1">
                <a:latin typeface="Montserrat" panose="00000500000000000000" pitchFamily="2" charset="0"/>
              </a:rPr>
              <a:t>Polarion’s</a:t>
            </a:r>
            <a:r>
              <a:rPr lang="en-US" sz="1000">
                <a:latin typeface="Montserrat" panose="00000500000000000000" pitchFamily="2" charset="0"/>
              </a:rPr>
              <a:t> APIs.</a:t>
            </a:r>
          </a:p>
          <a:p>
            <a:endParaRPr lang="en-US" sz="1000">
              <a:latin typeface="Montserrat" panose="00000500000000000000" pitchFamily="2" charset="0"/>
            </a:endParaRPr>
          </a:p>
        </p:txBody>
      </p:sp>
      <p:sp>
        <p:nvSpPr>
          <p:cNvPr id="26" name="Rectangle 31">
            <a:extLst>
              <a:ext uri="{FF2B5EF4-FFF2-40B4-BE49-F238E27FC236}">
                <a16:creationId xmlns:a16="http://schemas.microsoft.com/office/drawing/2014/main" id="{2973A936-0212-8741-9FD3-0E52EA79394B}"/>
              </a:ext>
            </a:extLst>
          </p:cNvPr>
          <p:cNvSpPr/>
          <p:nvPr/>
        </p:nvSpPr>
        <p:spPr>
          <a:xfrm>
            <a:off x="1707217" y="2644088"/>
            <a:ext cx="4140000" cy="86177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00" b="1">
                <a:latin typeface="Montserrat" panose="00000500000000000000" pitchFamily="2" charset="0"/>
              </a:rPr>
              <a:t>Custom Reports</a:t>
            </a:r>
            <a:r>
              <a:rPr lang="en-US" sz="1000">
                <a:latin typeface="Montserrat" panose="00000500000000000000" pitchFamily="2" charset="0"/>
              </a:rPr>
              <a:t>: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>
                <a:latin typeface="Montserrat" panose="00000500000000000000" pitchFamily="2" charset="0"/>
              </a:rPr>
              <a:t>Build custom reports using Velocity scripting and data queries to generate advanced or tailored reports based on specific project or business needs.</a:t>
            </a:r>
          </a:p>
          <a:p>
            <a:endParaRPr lang="en-US" sz="1000">
              <a:latin typeface="Montserrat" panose="00000500000000000000" pitchFamily="2" charset="0"/>
            </a:endParaRPr>
          </a:p>
        </p:txBody>
      </p:sp>
      <p:sp>
        <p:nvSpPr>
          <p:cNvPr id="27" name="Rectangle 32">
            <a:extLst>
              <a:ext uri="{FF2B5EF4-FFF2-40B4-BE49-F238E27FC236}">
                <a16:creationId xmlns:a16="http://schemas.microsoft.com/office/drawing/2014/main" id="{BFCEEEA8-6562-46D3-4328-01F91655BB77}"/>
              </a:ext>
            </a:extLst>
          </p:cNvPr>
          <p:cNvSpPr/>
          <p:nvPr/>
        </p:nvSpPr>
        <p:spPr>
          <a:xfrm>
            <a:off x="7435314" y="1368442"/>
            <a:ext cx="4140000" cy="101566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00" b="1">
                <a:latin typeface="Montserrat" panose="00000500000000000000" pitchFamily="2" charset="0"/>
              </a:rPr>
              <a:t>API Integrations</a:t>
            </a:r>
            <a:r>
              <a:rPr lang="en-US" sz="1000">
                <a:latin typeface="Montserrat" panose="00000500000000000000" pitchFamily="2" charset="0"/>
              </a:rPr>
              <a:t>: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>
                <a:latin typeface="Montserrat" panose="00000500000000000000" pitchFamily="2" charset="0"/>
              </a:rPr>
              <a:t>Leverage </a:t>
            </a:r>
            <a:r>
              <a:rPr lang="en-US" sz="1000" err="1">
                <a:latin typeface="Montserrat" panose="00000500000000000000" pitchFamily="2" charset="0"/>
              </a:rPr>
              <a:t>Polarion’s</a:t>
            </a:r>
            <a:r>
              <a:rPr lang="en-US" sz="1000">
                <a:latin typeface="Montserrat" panose="00000500000000000000" pitchFamily="2" charset="0"/>
              </a:rPr>
              <a:t> REST APIs to build custom integrations with other tools in your development and lifecycle environment. For example, you can automate data flow between </a:t>
            </a:r>
            <a:r>
              <a:rPr lang="en-US" sz="1000" err="1">
                <a:latin typeface="Montserrat" panose="00000500000000000000" pitchFamily="2" charset="0"/>
              </a:rPr>
              <a:t>Polarion</a:t>
            </a:r>
            <a:r>
              <a:rPr lang="en-US" sz="1000">
                <a:latin typeface="Montserrat" panose="00000500000000000000" pitchFamily="2" charset="0"/>
              </a:rPr>
              <a:t> and tools like Jira, Git, or Jenkins.</a:t>
            </a:r>
          </a:p>
          <a:p>
            <a:endParaRPr lang="en-US" sz="1000">
              <a:latin typeface="Montserrat" panose="00000500000000000000" pitchFamily="2" charset="0"/>
            </a:endParaRPr>
          </a:p>
        </p:txBody>
      </p:sp>
      <p:sp>
        <p:nvSpPr>
          <p:cNvPr id="28" name="Oval 3">
            <a:extLst>
              <a:ext uri="{FF2B5EF4-FFF2-40B4-BE49-F238E27FC236}">
                <a16:creationId xmlns:a16="http://schemas.microsoft.com/office/drawing/2014/main" id="{0B97DE1B-EA2B-6636-1B66-2308FA8EB395}"/>
              </a:ext>
            </a:extLst>
          </p:cNvPr>
          <p:cNvSpPr/>
          <p:nvPr/>
        </p:nvSpPr>
        <p:spPr>
          <a:xfrm>
            <a:off x="6344030" y="1368441"/>
            <a:ext cx="914400" cy="914400"/>
          </a:xfrm>
          <a:prstGeom prst="ellipse">
            <a:avLst/>
          </a:prstGeom>
          <a:solidFill>
            <a:srgbClr val="0E7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5">
            <a:extLst>
              <a:ext uri="{FF2B5EF4-FFF2-40B4-BE49-F238E27FC236}">
                <a16:creationId xmlns:a16="http://schemas.microsoft.com/office/drawing/2014/main" id="{8E67CFE8-C11E-A852-6FC3-1955B24756B3}"/>
              </a:ext>
            </a:extLst>
          </p:cNvPr>
          <p:cNvSpPr/>
          <p:nvPr/>
        </p:nvSpPr>
        <p:spPr>
          <a:xfrm>
            <a:off x="6344030" y="2695385"/>
            <a:ext cx="914400" cy="914400"/>
          </a:xfrm>
          <a:prstGeom prst="ellipse">
            <a:avLst/>
          </a:prstGeom>
          <a:solidFill>
            <a:srgbClr val="345E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6">
            <a:extLst>
              <a:ext uri="{FF2B5EF4-FFF2-40B4-BE49-F238E27FC236}">
                <a16:creationId xmlns:a16="http://schemas.microsoft.com/office/drawing/2014/main" id="{731AB8BD-C740-2641-CBEF-9CEFF1A8D4ED}"/>
              </a:ext>
            </a:extLst>
          </p:cNvPr>
          <p:cNvSpPr/>
          <p:nvPr/>
        </p:nvSpPr>
        <p:spPr>
          <a:xfrm>
            <a:off x="6344030" y="5195382"/>
            <a:ext cx="914400" cy="914400"/>
          </a:xfrm>
          <a:prstGeom prst="ellipse">
            <a:avLst/>
          </a:prstGeom>
          <a:solidFill>
            <a:srgbClr val="0D73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7">
            <a:extLst>
              <a:ext uri="{FF2B5EF4-FFF2-40B4-BE49-F238E27FC236}">
                <a16:creationId xmlns:a16="http://schemas.microsoft.com/office/drawing/2014/main" id="{8987A51B-2AE9-86D9-B137-A9982DDFF1AA}"/>
              </a:ext>
            </a:extLst>
          </p:cNvPr>
          <p:cNvSpPr/>
          <p:nvPr/>
        </p:nvSpPr>
        <p:spPr>
          <a:xfrm>
            <a:off x="6344030" y="3868438"/>
            <a:ext cx="914400" cy="914400"/>
          </a:xfrm>
          <a:prstGeom prst="ellipse">
            <a:avLst/>
          </a:prstGeom>
          <a:solidFill>
            <a:srgbClr val="0638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50">
            <a:extLst>
              <a:ext uri="{FF2B5EF4-FFF2-40B4-BE49-F238E27FC236}">
                <a16:creationId xmlns:a16="http://schemas.microsoft.com/office/drawing/2014/main" id="{32CA9185-4923-A6BF-BE8C-E6D8929F7B64}"/>
              </a:ext>
            </a:extLst>
          </p:cNvPr>
          <p:cNvSpPr/>
          <p:nvPr/>
        </p:nvSpPr>
        <p:spPr>
          <a:xfrm>
            <a:off x="7435314" y="2695385"/>
            <a:ext cx="4140000" cy="86177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000" b="1">
                <a:latin typeface="Montserrat" panose="00000500000000000000" pitchFamily="2" charset="0"/>
              </a:rPr>
              <a:t>Branding</a:t>
            </a:r>
            <a:r>
              <a:rPr lang="en-US" sz="1000">
                <a:latin typeface="Montserrat" panose="00000500000000000000" pitchFamily="2" charset="0"/>
              </a:rPr>
              <a:t>: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>
                <a:latin typeface="Montserrat" panose="00000500000000000000" pitchFamily="2" charset="0"/>
              </a:rPr>
              <a:t>Customize </a:t>
            </a:r>
            <a:r>
              <a:rPr lang="en-US" sz="1000" err="1">
                <a:latin typeface="Montserrat" panose="00000500000000000000" pitchFamily="2" charset="0"/>
              </a:rPr>
              <a:t>Polarion’s</a:t>
            </a:r>
            <a:r>
              <a:rPr lang="en-US" sz="1000">
                <a:latin typeface="Montserrat" panose="00000500000000000000" pitchFamily="2" charset="0"/>
              </a:rPr>
              <a:t> UI to reflect your company’s branding, such as adding logos, changing color schemes, and modifying visual elements of the interface.</a:t>
            </a:r>
          </a:p>
          <a:p>
            <a:endParaRPr lang="en-US" sz="1000">
              <a:latin typeface="Montserrat" panose="00000500000000000000" pitchFamily="2" charset="0"/>
            </a:endParaRPr>
          </a:p>
        </p:txBody>
      </p:sp>
      <p:sp>
        <p:nvSpPr>
          <p:cNvPr id="49" name="Rectangle 51">
            <a:extLst>
              <a:ext uri="{FF2B5EF4-FFF2-40B4-BE49-F238E27FC236}">
                <a16:creationId xmlns:a16="http://schemas.microsoft.com/office/drawing/2014/main" id="{65F09252-68F9-DFE3-9D84-7A3D360C3278}"/>
              </a:ext>
            </a:extLst>
          </p:cNvPr>
          <p:cNvSpPr/>
          <p:nvPr/>
        </p:nvSpPr>
        <p:spPr>
          <a:xfrm>
            <a:off x="7435314" y="3868439"/>
            <a:ext cx="4140000" cy="101566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00" b="1">
                <a:latin typeface="Montserrat" panose="00000500000000000000" pitchFamily="2" charset="0"/>
              </a:rPr>
              <a:t>Advanced Permission Models</a:t>
            </a:r>
            <a:r>
              <a:rPr lang="en-US" sz="1000">
                <a:latin typeface="Montserrat" panose="00000500000000000000" pitchFamily="2" charset="0"/>
              </a:rPr>
              <a:t>: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>
                <a:latin typeface="Montserrat" panose="00000500000000000000" pitchFamily="2" charset="0"/>
              </a:rPr>
              <a:t>Implement custom permission models that go beyond basic role-based access control, scripting specific rules for data visibility and editing based on project conditions, user types, or work item states.</a:t>
            </a:r>
          </a:p>
          <a:p>
            <a:endParaRPr lang="en-US" sz="1000">
              <a:latin typeface="Montserrat" panose="00000500000000000000" pitchFamily="2" charset="0"/>
            </a:endParaRPr>
          </a:p>
        </p:txBody>
      </p:sp>
      <p:sp>
        <p:nvSpPr>
          <p:cNvPr id="50" name="Rectangle 52">
            <a:extLst>
              <a:ext uri="{FF2B5EF4-FFF2-40B4-BE49-F238E27FC236}">
                <a16:creationId xmlns:a16="http://schemas.microsoft.com/office/drawing/2014/main" id="{CB14BB01-C425-3E08-E46B-7867F07099D3}"/>
              </a:ext>
            </a:extLst>
          </p:cNvPr>
          <p:cNvSpPr/>
          <p:nvPr/>
        </p:nvSpPr>
        <p:spPr>
          <a:xfrm>
            <a:off x="7435314" y="5195382"/>
            <a:ext cx="4140000" cy="116955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000" b="1">
                <a:latin typeface="Montserrat" panose="00000500000000000000" pitchFamily="2" charset="0"/>
              </a:rPr>
              <a:t>Custom Data Validation</a:t>
            </a:r>
            <a:r>
              <a:rPr lang="en-US" sz="1000">
                <a:latin typeface="Montserrat" panose="00000500000000000000" pitchFamily="2" charset="0"/>
              </a:rPr>
              <a:t>: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>
                <a:latin typeface="Montserrat" panose="00000500000000000000" pitchFamily="2" charset="0"/>
              </a:rPr>
              <a:t>Write scripts to enforce advanced validation rules on work item fields or documents. For example, you can create custom validators that prevent a work item from being moved to the next workflow state until certain criteria are met.</a:t>
            </a:r>
          </a:p>
          <a:p>
            <a:endParaRPr lang="en-US" sz="1000">
              <a:latin typeface="Montserrat" panose="00000500000000000000" pitchFamily="2" charset="0"/>
            </a:endParaRPr>
          </a:p>
        </p:txBody>
      </p:sp>
      <p:sp>
        <p:nvSpPr>
          <p:cNvPr id="51" name="Rectangle 53">
            <a:extLst>
              <a:ext uri="{FF2B5EF4-FFF2-40B4-BE49-F238E27FC236}">
                <a16:creationId xmlns:a16="http://schemas.microsoft.com/office/drawing/2014/main" id="{71875907-FB3C-9A7A-95E7-529707FA8D0D}"/>
              </a:ext>
            </a:extLst>
          </p:cNvPr>
          <p:cNvSpPr/>
          <p:nvPr/>
        </p:nvSpPr>
        <p:spPr>
          <a:xfrm>
            <a:off x="1707217" y="3611958"/>
            <a:ext cx="4140000" cy="1631216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00" b="1">
                <a:latin typeface="Montserrat" panose="00000500000000000000" pitchFamily="2" charset="0"/>
              </a:rPr>
              <a:t>Scripting and Automation</a:t>
            </a:r>
            <a:r>
              <a:rPr lang="en-US" sz="1000">
                <a:latin typeface="Montserrat" panose="00000500000000000000" pitchFamily="2" charset="0"/>
              </a:rPr>
              <a:t>: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b="1">
                <a:latin typeface="Montserrat" panose="00000500000000000000" pitchFamily="2" charset="0"/>
              </a:rPr>
              <a:t>Workflow Automation</a:t>
            </a:r>
            <a:r>
              <a:rPr lang="en-US" sz="1000">
                <a:latin typeface="Montserrat" panose="00000500000000000000" pitchFamily="2" charset="0"/>
              </a:rPr>
              <a:t>: Use scripting to automate complex workflow logic, such as auto-assigning tasks, enforcing specific rules, or triggering actions based on work item events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b="1">
                <a:latin typeface="Montserrat" panose="00000500000000000000" pitchFamily="2" charset="0"/>
              </a:rPr>
              <a:t>Document Generation</a:t>
            </a:r>
            <a:r>
              <a:rPr lang="en-US" sz="1000">
                <a:latin typeface="Montserrat" panose="00000500000000000000" pitchFamily="2" charset="0"/>
              </a:rPr>
              <a:t>: Create automated document templates or custom report generators, such as exporting requirements, test results, or project summaries into PDF or Word formats.</a:t>
            </a:r>
          </a:p>
          <a:p>
            <a:endParaRPr lang="en-US" sz="1000">
              <a:latin typeface="Montserrat" panose="00000500000000000000" pitchFamily="2" charset="0"/>
            </a:endParaRPr>
          </a:p>
        </p:txBody>
      </p:sp>
      <p:sp>
        <p:nvSpPr>
          <p:cNvPr id="6" name="Rectangle 31">
            <a:extLst>
              <a:ext uri="{FF2B5EF4-FFF2-40B4-BE49-F238E27FC236}">
                <a16:creationId xmlns:a16="http://schemas.microsoft.com/office/drawing/2014/main" id="{96CC1BF8-D071-C4B6-BA19-B62D8B2BC9AC}"/>
              </a:ext>
            </a:extLst>
          </p:cNvPr>
          <p:cNvSpPr/>
          <p:nvPr/>
        </p:nvSpPr>
        <p:spPr>
          <a:xfrm>
            <a:off x="1707217" y="5349270"/>
            <a:ext cx="4140000" cy="101566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00" b="1">
                <a:latin typeface="Montserrat" panose="00000500000000000000" pitchFamily="2" charset="0"/>
              </a:rPr>
              <a:t>Custom Extensions</a:t>
            </a:r>
            <a:r>
              <a:rPr lang="en-US" sz="1000">
                <a:latin typeface="Montserrat" panose="00000500000000000000" pitchFamily="2" charset="0"/>
              </a:rPr>
              <a:t>: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>
                <a:latin typeface="Montserrat" panose="00000500000000000000" pitchFamily="2" charset="0"/>
              </a:rPr>
              <a:t>Develop </a:t>
            </a:r>
            <a:r>
              <a:rPr lang="en-US" sz="1000" err="1">
                <a:latin typeface="Montserrat" panose="00000500000000000000" pitchFamily="2" charset="0"/>
              </a:rPr>
              <a:t>Polarion</a:t>
            </a:r>
            <a:r>
              <a:rPr lang="en-US" sz="1000">
                <a:latin typeface="Montserrat" panose="00000500000000000000" pitchFamily="2" charset="0"/>
              </a:rPr>
              <a:t> extensions using the SDK to add entirely new features or integrate with external systems. This could include new UI components, data connectors, or custom integrations.</a:t>
            </a:r>
          </a:p>
          <a:p>
            <a:endParaRPr lang="en-US" sz="1000">
              <a:latin typeface="Montserrat" panose="00000500000000000000" pitchFamily="2" charset="0"/>
            </a:endParaRPr>
          </a:p>
        </p:txBody>
      </p:sp>
      <p:sp>
        <p:nvSpPr>
          <p:cNvPr id="7" name="Oval 13">
            <a:extLst>
              <a:ext uri="{FF2B5EF4-FFF2-40B4-BE49-F238E27FC236}">
                <a16:creationId xmlns:a16="http://schemas.microsoft.com/office/drawing/2014/main" id="{37F633BE-64BB-FBFF-46DC-E1A10A46FDAE}"/>
              </a:ext>
            </a:extLst>
          </p:cNvPr>
          <p:cNvSpPr/>
          <p:nvPr/>
        </p:nvSpPr>
        <p:spPr>
          <a:xfrm>
            <a:off x="615931" y="5349270"/>
            <a:ext cx="914400" cy="914400"/>
          </a:xfrm>
          <a:prstGeom prst="ellipse">
            <a:avLst/>
          </a:prstGeom>
          <a:solidFill>
            <a:srgbClr val="084A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0" name="Picture 2" descr="Widgets Vector Icon 31899676 Vector Art at Vecteezy">
            <a:extLst>
              <a:ext uri="{FF2B5EF4-FFF2-40B4-BE49-F238E27FC236}">
                <a16:creationId xmlns:a16="http://schemas.microsoft.com/office/drawing/2014/main" id="{F452738F-3B6C-7914-6972-9642913682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056" y="1539078"/>
            <a:ext cx="340149" cy="560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1417D4E2-5385-1132-B359-313379AC4F9D}"/>
              </a:ext>
            </a:extLst>
          </p:cNvPr>
          <p:cNvGrpSpPr/>
          <p:nvPr/>
        </p:nvGrpSpPr>
        <p:grpSpPr>
          <a:xfrm>
            <a:off x="710607" y="2673718"/>
            <a:ext cx="725046" cy="749888"/>
            <a:chOff x="6300982" y="-1465664"/>
            <a:chExt cx="725046" cy="749888"/>
          </a:xfrm>
        </p:grpSpPr>
        <p:pic>
          <p:nvPicPr>
            <p:cNvPr id="12" name="Grafik 11" descr="Laptop Silhouette">
              <a:extLst>
                <a:ext uri="{FF2B5EF4-FFF2-40B4-BE49-F238E27FC236}">
                  <a16:creationId xmlns:a16="http://schemas.microsoft.com/office/drawing/2014/main" id="{128552D7-A10B-60A4-895E-704CAE6CFEC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300982" y="-1465664"/>
              <a:ext cx="725046" cy="749888"/>
            </a:xfrm>
            <a:prstGeom prst="rect">
              <a:avLst/>
            </a:prstGeom>
          </p:spPr>
        </p:pic>
        <p:pic>
          <p:nvPicPr>
            <p:cNvPr id="13" name="Grafik 12" descr="Kreisdiagramm mit einfarbiger Füllung">
              <a:extLst>
                <a:ext uri="{FF2B5EF4-FFF2-40B4-BE49-F238E27FC236}">
                  <a16:creationId xmlns:a16="http://schemas.microsoft.com/office/drawing/2014/main" id="{FEB7E59D-A2D7-AF69-D37B-5E122083531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480918" y="-1210886"/>
              <a:ext cx="130843" cy="130843"/>
            </a:xfrm>
            <a:prstGeom prst="rect">
              <a:avLst/>
            </a:prstGeom>
          </p:spPr>
        </p:pic>
        <p:pic>
          <p:nvPicPr>
            <p:cNvPr id="14" name="Grafik 13" descr="Balkendiagramm mit einfarbiger Füllung">
              <a:extLst>
                <a:ext uri="{FF2B5EF4-FFF2-40B4-BE49-F238E27FC236}">
                  <a16:creationId xmlns:a16="http://schemas.microsoft.com/office/drawing/2014/main" id="{9CE0C492-4335-128C-8AE6-CE6AFF68808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641678" y="-1200453"/>
              <a:ext cx="198886" cy="198886"/>
            </a:xfrm>
            <a:prstGeom prst="rect">
              <a:avLst/>
            </a:prstGeom>
          </p:spPr>
        </p:pic>
      </p:grpSp>
      <p:pic>
        <p:nvPicPr>
          <p:cNvPr id="2054" name="Picture 6" descr="Automation code, coding, configuration file, development, test script, testing icon - Download on Iconfinder">
            <a:extLst>
              <a:ext uri="{FF2B5EF4-FFF2-40B4-BE49-F238E27FC236}">
                <a16:creationId xmlns:a16="http://schemas.microsoft.com/office/drawing/2014/main" id="{B0F35592-7404-0309-85A5-9C85BBE695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859" y="3760640"/>
            <a:ext cx="594576" cy="594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web API software integration line icon on white 2565500 Vector Art at ...">
            <a:extLst>
              <a:ext uri="{FF2B5EF4-FFF2-40B4-BE49-F238E27FC236}">
                <a16:creationId xmlns:a16="http://schemas.microsoft.com/office/drawing/2014/main" id="{61982F62-A002-7DC7-9A29-68D572C2DD5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60" t="27289" r="21078" b="19233"/>
          <a:stretch/>
        </p:blipFill>
        <p:spPr bwMode="auto">
          <a:xfrm>
            <a:off x="6524783" y="1578653"/>
            <a:ext cx="552893" cy="520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054ED630-CB33-2E07-5F89-EA758CB216DA}"/>
              </a:ext>
            </a:extLst>
          </p:cNvPr>
          <p:cNvGrpSpPr/>
          <p:nvPr/>
        </p:nvGrpSpPr>
        <p:grpSpPr>
          <a:xfrm>
            <a:off x="6503517" y="2916253"/>
            <a:ext cx="651124" cy="564101"/>
            <a:chOff x="1810191" y="7051663"/>
            <a:chExt cx="3934048" cy="3408261"/>
          </a:xfrm>
        </p:grpSpPr>
        <p:pic>
          <p:nvPicPr>
            <p:cNvPr id="2058" name="Picture 10" descr="Branding Icon Graphic by aimagenarium · Creative Fabrica">
              <a:extLst>
                <a:ext uri="{FF2B5EF4-FFF2-40B4-BE49-F238E27FC236}">
                  <a16:creationId xmlns:a16="http://schemas.microsoft.com/office/drawing/2014/main" id="{8D11BC0A-9DFF-0EBE-5D2C-B0AA7C391C4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010" t="21700" r="30747" b="36317"/>
            <a:stretch/>
          </p:blipFill>
          <p:spPr bwMode="auto">
            <a:xfrm>
              <a:off x="1810192" y="7051663"/>
              <a:ext cx="3934047" cy="28791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10" descr="Branding Icon Graphic by aimagenarium · Creative Fabrica">
              <a:extLst>
                <a:ext uri="{FF2B5EF4-FFF2-40B4-BE49-F238E27FC236}">
                  <a16:creationId xmlns:a16="http://schemas.microsoft.com/office/drawing/2014/main" id="{67393C23-9A71-290B-586B-B3BAD5FB1EF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010" t="81422" r="30747" b="10850"/>
            <a:stretch/>
          </p:blipFill>
          <p:spPr bwMode="auto">
            <a:xfrm>
              <a:off x="1810191" y="9929971"/>
              <a:ext cx="3934047" cy="5299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673F4F8-5C31-3EBD-AB34-FDB7EB87EB04}"/>
              </a:ext>
            </a:extLst>
          </p:cNvPr>
          <p:cNvGrpSpPr/>
          <p:nvPr/>
        </p:nvGrpSpPr>
        <p:grpSpPr>
          <a:xfrm>
            <a:off x="784680" y="5526528"/>
            <a:ext cx="556062" cy="559883"/>
            <a:chOff x="3830638" y="4606925"/>
            <a:chExt cx="923926" cy="930275"/>
          </a:xfrm>
          <a:solidFill>
            <a:schemeClr val="bg1"/>
          </a:solidFill>
        </p:grpSpPr>
        <p:sp>
          <p:nvSpPr>
            <p:cNvPr id="18" name="Freeform 445">
              <a:extLst>
                <a:ext uri="{FF2B5EF4-FFF2-40B4-BE49-F238E27FC236}">
                  <a16:creationId xmlns:a16="http://schemas.microsoft.com/office/drawing/2014/main" id="{D5E8A28E-731D-A204-08D2-0B2A1E7747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2401" y="4606925"/>
              <a:ext cx="792163" cy="930275"/>
            </a:xfrm>
            <a:custGeom>
              <a:avLst/>
              <a:gdLst>
                <a:gd name="T0" fmla="*/ 89 w 2993"/>
                <a:gd name="T1" fmla="*/ 2686 h 3513"/>
                <a:gd name="T2" fmla="*/ 44 w 2993"/>
                <a:gd name="T3" fmla="*/ 2852 h 3513"/>
                <a:gd name="T4" fmla="*/ 156 w 2993"/>
                <a:gd name="T5" fmla="*/ 2973 h 3513"/>
                <a:gd name="T6" fmla="*/ 311 w 2993"/>
                <a:gd name="T7" fmla="*/ 2948 h 3513"/>
                <a:gd name="T8" fmla="*/ 383 w 2993"/>
                <a:gd name="T9" fmla="*/ 2808 h 3513"/>
                <a:gd name="T10" fmla="*/ 311 w 2993"/>
                <a:gd name="T11" fmla="*/ 2668 h 3513"/>
                <a:gd name="T12" fmla="*/ 1427 w 2993"/>
                <a:gd name="T13" fmla="*/ 2037 h 3513"/>
                <a:gd name="T14" fmla="*/ 1275 w 2993"/>
                <a:gd name="T15" fmla="*/ 2089 h 3513"/>
                <a:gd name="T16" fmla="*/ 1705 w 2993"/>
                <a:gd name="T17" fmla="*/ 1906 h 3513"/>
                <a:gd name="T18" fmla="*/ 1714 w 2993"/>
                <a:gd name="T19" fmla="*/ 1877 h 3513"/>
                <a:gd name="T20" fmla="*/ 1719 w 2993"/>
                <a:gd name="T21" fmla="*/ 1673 h 3513"/>
                <a:gd name="T22" fmla="*/ 1680 w 2993"/>
                <a:gd name="T23" fmla="*/ 1551 h 3513"/>
                <a:gd name="T24" fmla="*/ 1677 w 2993"/>
                <a:gd name="T25" fmla="*/ 1546 h 3513"/>
                <a:gd name="T26" fmla="*/ 1106 w 2993"/>
                <a:gd name="T27" fmla="*/ 1511 h 3513"/>
                <a:gd name="T28" fmla="*/ 973 w 2993"/>
                <a:gd name="T29" fmla="*/ 1687 h 3513"/>
                <a:gd name="T30" fmla="*/ 1001 w 2993"/>
                <a:gd name="T31" fmla="*/ 1906 h 3513"/>
                <a:gd name="T32" fmla="*/ 1174 w 2993"/>
                <a:gd name="T33" fmla="*/ 2041 h 3513"/>
                <a:gd name="T34" fmla="*/ 1393 w 2993"/>
                <a:gd name="T35" fmla="*/ 2012 h 3513"/>
                <a:gd name="T36" fmla="*/ 1527 w 2993"/>
                <a:gd name="T37" fmla="*/ 1835 h 3513"/>
                <a:gd name="T38" fmla="*/ 1500 w 2993"/>
                <a:gd name="T39" fmla="*/ 1619 h 3513"/>
                <a:gd name="T40" fmla="*/ 1325 w 2993"/>
                <a:gd name="T41" fmla="*/ 1483 h 3513"/>
                <a:gd name="T42" fmla="*/ 1368 w 2993"/>
                <a:gd name="T43" fmla="*/ 25 h 3513"/>
                <a:gd name="T44" fmla="*/ 1511 w 2993"/>
                <a:gd name="T45" fmla="*/ 191 h 3513"/>
                <a:gd name="T46" fmla="*/ 1479 w 2993"/>
                <a:gd name="T47" fmla="*/ 417 h 3513"/>
                <a:gd name="T48" fmla="*/ 1292 w 2993"/>
                <a:gd name="T49" fmla="*/ 537 h 3513"/>
                <a:gd name="T50" fmla="*/ 1481 w 2993"/>
                <a:gd name="T51" fmla="*/ 1297 h 3513"/>
                <a:gd name="T52" fmla="*/ 1631 w 2993"/>
                <a:gd name="T53" fmla="*/ 1412 h 3513"/>
                <a:gd name="T54" fmla="*/ 1746 w 2993"/>
                <a:gd name="T55" fmla="*/ 1621 h 3513"/>
                <a:gd name="T56" fmla="*/ 2499 w 2993"/>
                <a:gd name="T57" fmla="*/ 1610 h 3513"/>
                <a:gd name="T58" fmla="*/ 2685 w 2993"/>
                <a:gd name="T59" fmla="*/ 1490 h 3513"/>
                <a:gd name="T60" fmla="*/ 2901 w 2993"/>
                <a:gd name="T61" fmla="*/ 1553 h 3513"/>
                <a:gd name="T62" fmla="*/ 2993 w 2993"/>
                <a:gd name="T63" fmla="*/ 1757 h 3513"/>
                <a:gd name="T64" fmla="*/ 2901 w 2993"/>
                <a:gd name="T65" fmla="*/ 1960 h 3513"/>
                <a:gd name="T66" fmla="*/ 2685 w 2993"/>
                <a:gd name="T67" fmla="*/ 2024 h 3513"/>
                <a:gd name="T68" fmla="*/ 2499 w 2993"/>
                <a:gd name="T69" fmla="*/ 1903 h 3513"/>
                <a:gd name="T70" fmla="*/ 1748 w 2993"/>
                <a:gd name="T71" fmla="*/ 1898 h 3513"/>
                <a:gd name="T72" fmla="*/ 2152 w 2993"/>
                <a:gd name="T73" fmla="*/ 2649 h 3513"/>
                <a:gd name="T74" fmla="*/ 1403 w 2993"/>
                <a:gd name="T75" fmla="*/ 2258 h 3513"/>
                <a:gd name="T76" fmla="*/ 1366 w 2993"/>
                <a:gd name="T77" fmla="*/ 2999 h 3513"/>
                <a:gd name="T78" fmla="*/ 1511 w 2993"/>
                <a:gd name="T79" fmla="*/ 3166 h 3513"/>
                <a:gd name="T80" fmla="*/ 1479 w 2993"/>
                <a:gd name="T81" fmla="*/ 3391 h 3513"/>
                <a:gd name="T82" fmla="*/ 1295 w 2993"/>
                <a:gd name="T83" fmla="*/ 3511 h 3513"/>
                <a:gd name="T84" fmla="*/ 1079 w 2993"/>
                <a:gd name="T85" fmla="*/ 3447 h 3513"/>
                <a:gd name="T86" fmla="*/ 987 w 2993"/>
                <a:gd name="T87" fmla="*/ 3244 h 3513"/>
                <a:gd name="T88" fmla="*/ 1080 w 2993"/>
                <a:gd name="T89" fmla="*/ 3040 h 3513"/>
                <a:gd name="T90" fmla="*/ 1216 w 2993"/>
                <a:gd name="T91" fmla="*/ 2280 h 3513"/>
                <a:gd name="T92" fmla="*/ 941 w 2993"/>
                <a:gd name="T93" fmla="*/ 2178 h 3513"/>
                <a:gd name="T94" fmla="*/ 420 w 2993"/>
                <a:gd name="T95" fmla="*/ 2808 h 3513"/>
                <a:gd name="T96" fmla="*/ 333 w 2993"/>
                <a:gd name="T97" fmla="*/ 2980 h 3513"/>
                <a:gd name="T98" fmla="*/ 145 w 2993"/>
                <a:gd name="T99" fmla="*/ 3010 h 3513"/>
                <a:gd name="T100" fmla="*/ 9 w 2993"/>
                <a:gd name="T101" fmla="*/ 2873 h 3513"/>
                <a:gd name="T102" fmla="*/ 39 w 2993"/>
                <a:gd name="T103" fmla="*/ 2685 h 3513"/>
                <a:gd name="T104" fmla="*/ 210 w 2993"/>
                <a:gd name="T105" fmla="*/ 2596 h 3513"/>
                <a:gd name="T106" fmla="*/ 873 w 2993"/>
                <a:gd name="T107" fmla="*/ 2117 h 3513"/>
                <a:gd name="T108" fmla="*/ 740 w 2993"/>
                <a:gd name="T109" fmla="*/ 1847 h 3513"/>
                <a:gd name="T110" fmla="*/ 754 w 2993"/>
                <a:gd name="T111" fmla="*/ 1616 h 3513"/>
                <a:gd name="T112" fmla="*/ 924 w 2993"/>
                <a:gd name="T113" fmla="*/ 1358 h 3513"/>
                <a:gd name="T114" fmla="*/ 1216 w 2993"/>
                <a:gd name="T115" fmla="*/ 1243 h 3513"/>
                <a:gd name="T116" fmla="*/ 1080 w 2993"/>
                <a:gd name="T117" fmla="*/ 474 h 3513"/>
                <a:gd name="T118" fmla="*/ 987 w 2993"/>
                <a:gd name="T119" fmla="*/ 270 h 3513"/>
                <a:gd name="T120" fmla="*/ 1079 w 2993"/>
                <a:gd name="T121" fmla="*/ 66 h 3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93" h="3513">
                  <a:moveTo>
                    <a:pt x="210" y="2635"/>
                  </a:moveTo>
                  <a:lnTo>
                    <a:pt x="183" y="2637"/>
                  </a:lnTo>
                  <a:lnTo>
                    <a:pt x="156" y="2644"/>
                  </a:lnTo>
                  <a:lnTo>
                    <a:pt x="132" y="2654"/>
                  </a:lnTo>
                  <a:lnTo>
                    <a:pt x="109" y="2668"/>
                  </a:lnTo>
                  <a:lnTo>
                    <a:pt x="89" y="2686"/>
                  </a:lnTo>
                  <a:lnTo>
                    <a:pt x="68" y="2710"/>
                  </a:lnTo>
                  <a:lnTo>
                    <a:pt x="53" y="2736"/>
                  </a:lnTo>
                  <a:lnTo>
                    <a:pt x="44" y="2765"/>
                  </a:lnTo>
                  <a:lnTo>
                    <a:pt x="38" y="2794"/>
                  </a:lnTo>
                  <a:lnTo>
                    <a:pt x="38" y="2823"/>
                  </a:lnTo>
                  <a:lnTo>
                    <a:pt x="44" y="2852"/>
                  </a:lnTo>
                  <a:lnTo>
                    <a:pt x="53" y="2880"/>
                  </a:lnTo>
                  <a:lnTo>
                    <a:pt x="68" y="2907"/>
                  </a:lnTo>
                  <a:lnTo>
                    <a:pt x="89" y="2931"/>
                  </a:lnTo>
                  <a:lnTo>
                    <a:pt x="109" y="2948"/>
                  </a:lnTo>
                  <a:lnTo>
                    <a:pt x="132" y="2963"/>
                  </a:lnTo>
                  <a:lnTo>
                    <a:pt x="156" y="2973"/>
                  </a:lnTo>
                  <a:lnTo>
                    <a:pt x="183" y="2980"/>
                  </a:lnTo>
                  <a:lnTo>
                    <a:pt x="210" y="2982"/>
                  </a:lnTo>
                  <a:lnTo>
                    <a:pt x="238" y="2980"/>
                  </a:lnTo>
                  <a:lnTo>
                    <a:pt x="264" y="2973"/>
                  </a:lnTo>
                  <a:lnTo>
                    <a:pt x="288" y="2963"/>
                  </a:lnTo>
                  <a:lnTo>
                    <a:pt x="311" y="2948"/>
                  </a:lnTo>
                  <a:lnTo>
                    <a:pt x="332" y="2931"/>
                  </a:lnTo>
                  <a:lnTo>
                    <a:pt x="349" y="2910"/>
                  </a:lnTo>
                  <a:lnTo>
                    <a:pt x="363" y="2887"/>
                  </a:lnTo>
                  <a:lnTo>
                    <a:pt x="374" y="2862"/>
                  </a:lnTo>
                  <a:lnTo>
                    <a:pt x="381" y="2836"/>
                  </a:lnTo>
                  <a:lnTo>
                    <a:pt x="383" y="2808"/>
                  </a:lnTo>
                  <a:lnTo>
                    <a:pt x="381" y="2781"/>
                  </a:lnTo>
                  <a:lnTo>
                    <a:pt x="374" y="2755"/>
                  </a:lnTo>
                  <a:lnTo>
                    <a:pt x="363" y="2730"/>
                  </a:lnTo>
                  <a:lnTo>
                    <a:pt x="349" y="2707"/>
                  </a:lnTo>
                  <a:lnTo>
                    <a:pt x="332" y="2686"/>
                  </a:lnTo>
                  <a:lnTo>
                    <a:pt x="311" y="2668"/>
                  </a:lnTo>
                  <a:lnTo>
                    <a:pt x="288" y="2654"/>
                  </a:lnTo>
                  <a:lnTo>
                    <a:pt x="264" y="2644"/>
                  </a:lnTo>
                  <a:lnTo>
                    <a:pt x="238" y="2637"/>
                  </a:lnTo>
                  <a:lnTo>
                    <a:pt x="210" y="2635"/>
                  </a:lnTo>
                  <a:close/>
                  <a:moveTo>
                    <a:pt x="1459" y="2012"/>
                  </a:moveTo>
                  <a:lnTo>
                    <a:pt x="1427" y="2037"/>
                  </a:lnTo>
                  <a:lnTo>
                    <a:pt x="1391" y="2056"/>
                  </a:lnTo>
                  <a:lnTo>
                    <a:pt x="1354" y="2073"/>
                  </a:lnTo>
                  <a:lnTo>
                    <a:pt x="1315" y="2082"/>
                  </a:lnTo>
                  <a:lnTo>
                    <a:pt x="1275" y="2089"/>
                  </a:lnTo>
                  <a:lnTo>
                    <a:pt x="1235" y="2089"/>
                  </a:lnTo>
                  <a:lnTo>
                    <a:pt x="1275" y="2089"/>
                  </a:lnTo>
                  <a:lnTo>
                    <a:pt x="1315" y="2082"/>
                  </a:lnTo>
                  <a:lnTo>
                    <a:pt x="1355" y="2073"/>
                  </a:lnTo>
                  <a:lnTo>
                    <a:pt x="1391" y="2056"/>
                  </a:lnTo>
                  <a:lnTo>
                    <a:pt x="1427" y="2037"/>
                  </a:lnTo>
                  <a:lnTo>
                    <a:pt x="1459" y="2012"/>
                  </a:lnTo>
                  <a:close/>
                  <a:moveTo>
                    <a:pt x="1705" y="1906"/>
                  </a:moveTo>
                  <a:lnTo>
                    <a:pt x="1696" y="1934"/>
                  </a:lnTo>
                  <a:lnTo>
                    <a:pt x="1685" y="1961"/>
                  </a:lnTo>
                  <a:lnTo>
                    <a:pt x="1696" y="1934"/>
                  </a:lnTo>
                  <a:lnTo>
                    <a:pt x="1705" y="1906"/>
                  </a:lnTo>
                  <a:close/>
                  <a:moveTo>
                    <a:pt x="1719" y="1849"/>
                  </a:moveTo>
                  <a:lnTo>
                    <a:pt x="1714" y="1877"/>
                  </a:lnTo>
                  <a:lnTo>
                    <a:pt x="1707" y="1904"/>
                  </a:lnTo>
                  <a:lnTo>
                    <a:pt x="1714" y="1877"/>
                  </a:lnTo>
                  <a:lnTo>
                    <a:pt x="1719" y="1849"/>
                  </a:lnTo>
                  <a:close/>
                  <a:moveTo>
                    <a:pt x="1713" y="1647"/>
                  </a:moveTo>
                  <a:lnTo>
                    <a:pt x="1719" y="1674"/>
                  </a:lnTo>
                  <a:lnTo>
                    <a:pt x="1719" y="1673"/>
                  </a:lnTo>
                  <a:lnTo>
                    <a:pt x="1713" y="1647"/>
                  </a:lnTo>
                  <a:close/>
                  <a:moveTo>
                    <a:pt x="1698" y="1596"/>
                  </a:moveTo>
                  <a:lnTo>
                    <a:pt x="1709" y="1630"/>
                  </a:lnTo>
                  <a:lnTo>
                    <a:pt x="1709" y="1629"/>
                  </a:lnTo>
                  <a:lnTo>
                    <a:pt x="1698" y="1596"/>
                  </a:lnTo>
                  <a:close/>
                  <a:moveTo>
                    <a:pt x="1680" y="1551"/>
                  </a:moveTo>
                  <a:lnTo>
                    <a:pt x="1695" y="1588"/>
                  </a:lnTo>
                  <a:lnTo>
                    <a:pt x="1695" y="1587"/>
                  </a:lnTo>
                  <a:lnTo>
                    <a:pt x="1680" y="1551"/>
                  </a:lnTo>
                  <a:close/>
                  <a:moveTo>
                    <a:pt x="1655" y="1506"/>
                  </a:moveTo>
                  <a:lnTo>
                    <a:pt x="1678" y="1546"/>
                  </a:lnTo>
                  <a:lnTo>
                    <a:pt x="1677" y="1546"/>
                  </a:lnTo>
                  <a:lnTo>
                    <a:pt x="1655" y="1506"/>
                  </a:lnTo>
                  <a:close/>
                  <a:moveTo>
                    <a:pt x="1250" y="1473"/>
                  </a:moveTo>
                  <a:lnTo>
                    <a:pt x="1212" y="1475"/>
                  </a:lnTo>
                  <a:lnTo>
                    <a:pt x="1174" y="1483"/>
                  </a:lnTo>
                  <a:lnTo>
                    <a:pt x="1139" y="1495"/>
                  </a:lnTo>
                  <a:lnTo>
                    <a:pt x="1106" y="1511"/>
                  </a:lnTo>
                  <a:lnTo>
                    <a:pt x="1075" y="1533"/>
                  </a:lnTo>
                  <a:lnTo>
                    <a:pt x="1047" y="1557"/>
                  </a:lnTo>
                  <a:lnTo>
                    <a:pt x="1022" y="1587"/>
                  </a:lnTo>
                  <a:lnTo>
                    <a:pt x="1001" y="1618"/>
                  </a:lnTo>
                  <a:lnTo>
                    <a:pt x="985" y="1651"/>
                  </a:lnTo>
                  <a:lnTo>
                    <a:pt x="973" y="1687"/>
                  </a:lnTo>
                  <a:lnTo>
                    <a:pt x="965" y="1724"/>
                  </a:lnTo>
                  <a:lnTo>
                    <a:pt x="963" y="1762"/>
                  </a:lnTo>
                  <a:lnTo>
                    <a:pt x="965" y="1800"/>
                  </a:lnTo>
                  <a:lnTo>
                    <a:pt x="973" y="1837"/>
                  </a:lnTo>
                  <a:lnTo>
                    <a:pt x="985" y="1873"/>
                  </a:lnTo>
                  <a:lnTo>
                    <a:pt x="1001" y="1906"/>
                  </a:lnTo>
                  <a:lnTo>
                    <a:pt x="1022" y="1938"/>
                  </a:lnTo>
                  <a:lnTo>
                    <a:pt x="1047" y="1966"/>
                  </a:lnTo>
                  <a:lnTo>
                    <a:pt x="1075" y="1992"/>
                  </a:lnTo>
                  <a:lnTo>
                    <a:pt x="1106" y="2012"/>
                  </a:lnTo>
                  <a:lnTo>
                    <a:pt x="1139" y="2029"/>
                  </a:lnTo>
                  <a:lnTo>
                    <a:pt x="1174" y="2041"/>
                  </a:lnTo>
                  <a:lnTo>
                    <a:pt x="1212" y="2049"/>
                  </a:lnTo>
                  <a:lnTo>
                    <a:pt x="1250" y="2051"/>
                  </a:lnTo>
                  <a:lnTo>
                    <a:pt x="1287" y="2049"/>
                  </a:lnTo>
                  <a:lnTo>
                    <a:pt x="1325" y="2041"/>
                  </a:lnTo>
                  <a:lnTo>
                    <a:pt x="1360" y="2029"/>
                  </a:lnTo>
                  <a:lnTo>
                    <a:pt x="1393" y="2012"/>
                  </a:lnTo>
                  <a:lnTo>
                    <a:pt x="1424" y="1992"/>
                  </a:lnTo>
                  <a:lnTo>
                    <a:pt x="1452" y="1966"/>
                  </a:lnTo>
                  <a:lnTo>
                    <a:pt x="1478" y="1937"/>
                  </a:lnTo>
                  <a:lnTo>
                    <a:pt x="1500" y="1904"/>
                  </a:lnTo>
                  <a:lnTo>
                    <a:pt x="1516" y="1871"/>
                  </a:lnTo>
                  <a:lnTo>
                    <a:pt x="1527" y="1835"/>
                  </a:lnTo>
                  <a:lnTo>
                    <a:pt x="1534" y="1798"/>
                  </a:lnTo>
                  <a:lnTo>
                    <a:pt x="1536" y="1762"/>
                  </a:lnTo>
                  <a:lnTo>
                    <a:pt x="1534" y="1725"/>
                  </a:lnTo>
                  <a:lnTo>
                    <a:pt x="1527" y="1688"/>
                  </a:lnTo>
                  <a:lnTo>
                    <a:pt x="1516" y="1654"/>
                  </a:lnTo>
                  <a:lnTo>
                    <a:pt x="1500" y="1619"/>
                  </a:lnTo>
                  <a:lnTo>
                    <a:pt x="1478" y="1588"/>
                  </a:lnTo>
                  <a:lnTo>
                    <a:pt x="1452" y="1557"/>
                  </a:lnTo>
                  <a:lnTo>
                    <a:pt x="1424" y="1533"/>
                  </a:lnTo>
                  <a:lnTo>
                    <a:pt x="1393" y="1511"/>
                  </a:lnTo>
                  <a:lnTo>
                    <a:pt x="1360" y="1495"/>
                  </a:lnTo>
                  <a:lnTo>
                    <a:pt x="1325" y="1483"/>
                  </a:lnTo>
                  <a:lnTo>
                    <a:pt x="1287" y="1475"/>
                  </a:lnTo>
                  <a:lnTo>
                    <a:pt x="1250" y="1473"/>
                  </a:lnTo>
                  <a:close/>
                  <a:moveTo>
                    <a:pt x="1255" y="0"/>
                  </a:moveTo>
                  <a:lnTo>
                    <a:pt x="1295" y="2"/>
                  </a:lnTo>
                  <a:lnTo>
                    <a:pt x="1332" y="11"/>
                  </a:lnTo>
                  <a:lnTo>
                    <a:pt x="1368" y="25"/>
                  </a:lnTo>
                  <a:lnTo>
                    <a:pt x="1401" y="43"/>
                  </a:lnTo>
                  <a:lnTo>
                    <a:pt x="1431" y="66"/>
                  </a:lnTo>
                  <a:lnTo>
                    <a:pt x="1457" y="93"/>
                  </a:lnTo>
                  <a:lnTo>
                    <a:pt x="1479" y="123"/>
                  </a:lnTo>
                  <a:lnTo>
                    <a:pt x="1497" y="156"/>
                  </a:lnTo>
                  <a:lnTo>
                    <a:pt x="1511" y="191"/>
                  </a:lnTo>
                  <a:lnTo>
                    <a:pt x="1520" y="230"/>
                  </a:lnTo>
                  <a:lnTo>
                    <a:pt x="1523" y="270"/>
                  </a:lnTo>
                  <a:lnTo>
                    <a:pt x="1520" y="310"/>
                  </a:lnTo>
                  <a:lnTo>
                    <a:pt x="1511" y="348"/>
                  </a:lnTo>
                  <a:lnTo>
                    <a:pt x="1497" y="383"/>
                  </a:lnTo>
                  <a:lnTo>
                    <a:pt x="1479" y="417"/>
                  </a:lnTo>
                  <a:lnTo>
                    <a:pt x="1457" y="447"/>
                  </a:lnTo>
                  <a:lnTo>
                    <a:pt x="1430" y="474"/>
                  </a:lnTo>
                  <a:lnTo>
                    <a:pt x="1400" y="497"/>
                  </a:lnTo>
                  <a:lnTo>
                    <a:pt x="1366" y="514"/>
                  </a:lnTo>
                  <a:lnTo>
                    <a:pt x="1330" y="528"/>
                  </a:lnTo>
                  <a:lnTo>
                    <a:pt x="1292" y="537"/>
                  </a:lnTo>
                  <a:lnTo>
                    <a:pt x="1292" y="537"/>
                  </a:lnTo>
                  <a:lnTo>
                    <a:pt x="1292" y="1244"/>
                  </a:lnTo>
                  <a:lnTo>
                    <a:pt x="1342" y="1251"/>
                  </a:lnTo>
                  <a:lnTo>
                    <a:pt x="1390" y="1262"/>
                  </a:lnTo>
                  <a:lnTo>
                    <a:pt x="1436" y="1278"/>
                  </a:lnTo>
                  <a:lnTo>
                    <a:pt x="1481" y="1297"/>
                  </a:lnTo>
                  <a:lnTo>
                    <a:pt x="1524" y="1322"/>
                  </a:lnTo>
                  <a:lnTo>
                    <a:pt x="1565" y="1350"/>
                  </a:lnTo>
                  <a:lnTo>
                    <a:pt x="1602" y="1382"/>
                  </a:lnTo>
                  <a:lnTo>
                    <a:pt x="2137" y="846"/>
                  </a:lnTo>
                  <a:lnTo>
                    <a:pt x="2166" y="874"/>
                  </a:lnTo>
                  <a:lnTo>
                    <a:pt x="1631" y="1412"/>
                  </a:lnTo>
                  <a:lnTo>
                    <a:pt x="1628" y="1409"/>
                  </a:lnTo>
                  <a:lnTo>
                    <a:pt x="1660" y="1447"/>
                  </a:lnTo>
                  <a:lnTo>
                    <a:pt x="1688" y="1487"/>
                  </a:lnTo>
                  <a:lnTo>
                    <a:pt x="1712" y="1530"/>
                  </a:lnTo>
                  <a:lnTo>
                    <a:pt x="1731" y="1575"/>
                  </a:lnTo>
                  <a:lnTo>
                    <a:pt x="1746" y="1621"/>
                  </a:lnTo>
                  <a:lnTo>
                    <a:pt x="1758" y="1669"/>
                  </a:lnTo>
                  <a:lnTo>
                    <a:pt x="1763" y="1718"/>
                  </a:lnTo>
                  <a:lnTo>
                    <a:pt x="2460" y="1718"/>
                  </a:lnTo>
                  <a:lnTo>
                    <a:pt x="2468" y="1681"/>
                  </a:lnTo>
                  <a:lnTo>
                    <a:pt x="2482" y="1644"/>
                  </a:lnTo>
                  <a:lnTo>
                    <a:pt x="2499" y="1610"/>
                  </a:lnTo>
                  <a:lnTo>
                    <a:pt x="2522" y="1580"/>
                  </a:lnTo>
                  <a:lnTo>
                    <a:pt x="2549" y="1554"/>
                  </a:lnTo>
                  <a:lnTo>
                    <a:pt x="2579" y="1530"/>
                  </a:lnTo>
                  <a:lnTo>
                    <a:pt x="2612" y="1512"/>
                  </a:lnTo>
                  <a:lnTo>
                    <a:pt x="2647" y="1498"/>
                  </a:lnTo>
                  <a:lnTo>
                    <a:pt x="2685" y="1490"/>
                  </a:lnTo>
                  <a:lnTo>
                    <a:pt x="2725" y="1487"/>
                  </a:lnTo>
                  <a:lnTo>
                    <a:pt x="2764" y="1490"/>
                  </a:lnTo>
                  <a:lnTo>
                    <a:pt x="2802" y="1498"/>
                  </a:lnTo>
                  <a:lnTo>
                    <a:pt x="2837" y="1512"/>
                  </a:lnTo>
                  <a:lnTo>
                    <a:pt x="2871" y="1530"/>
                  </a:lnTo>
                  <a:lnTo>
                    <a:pt x="2901" y="1553"/>
                  </a:lnTo>
                  <a:lnTo>
                    <a:pt x="2927" y="1580"/>
                  </a:lnTo>
                  <a:lnTo>
                    <a:pt x="2950" y="1610"/>
                  </a:lnTo>
                  <a:lnTo>
                    <a:pt x="2968" y="1643"/>
                  </a:lnTo>
                  <a:lnTo>
                    <a:pt x="2981" y="1678"/>
                  </a:lnTo>
                  <a:lnTo>
                    <a:pt x="2990" y="1717"/>
                  </a:lnTo>
                  <a:lnTo>
                    <a:pt x="2993" y="1757"/>
                  </a:lnTo>
                  <a:lnTo>
                    <a:pt x="2990" y="1797"/>
                  </a:lnTo>
                  <a:lnTo>
                    <a:pt x="2981" y="1835"/>
                  </a:lnTo>
                  <a:lnTo>
                    <a:pt x="2968" y="1871"/>
                  </a:lnTo>
                  <a:lnTo>
                    <a:pt x="2950" y="1904"/>
                  </a:lnTo>
                  <a:lnTo>
                    <a:pt x="2927" y="1933"/>
                  </a:lnTo>
                  <a:lnTo>
                    <a:pt x="2901" y="1960"/>
                  </a:lnTo>
                  <a:lnTo>
                    <a:pt x="2871" y="1983"/>
                  </a:lnTo>
                  <a:lnTo>
                    <a:pt x="2837" y="2001"/>
                  </a:lnTo>
                  <a:lnTo>
                    <a:pt x="2802" y="2015"/>
                  </a:lnTo>
                  <a:lnTo>
                    <a:pt x="2764" y="2024"/>
                  </a:lnTo>
                  <a:lnTo>
                    <a:pt x="2725" y="2026"/>
                  </a:lnTo>
                  <a:lnTo>
                    <a:pt x="2685" y="2024"/>
                  </a:lnTo>
                  <a:lnTo>
                    <a:pt x="2647" y="2015"/>
                  </a:lnTo>
                  <a:lnTo>
                    <a:pt x="2612" y="2001"/>
                  </a:lnTo>
                  <a:lnTo>
                    <a:pt x="2579" y="1983"/>
                  </a:lnTo>
                  <a:lnTo>
                    <a:pt x="2549" y="1960"/>
                  </a:lnTo>
                  <a:lnTo>
                    <a:pt x="2522" y="1933"/>
                  </a:lnTo>
                  <a:lnTo>
                    <a:pt x="2499" y="1903"/>
                  </a:lnTo>
                  <a:lnTo>
                    <a:pt x="2482" y="1870"/>
                  </a:lnTo>
                  <a:lnTo>
                    <a:pt x="2468" y="1834"/>
                  </a:lnTo>
                  <a:lnTo>
                    <a:pt x="2460" y="1795"/>
                  </a:lnTo>
                  <a:lnTo>
                    <a:pt x="1764" y="1795"/>
                  </a:lnTo>
                  <a:lnTo>
                    <a:pt x="1759" y="1847"/>
                  </a:lnTo>
                  <a:lnTo>
                    <a:pt x="1748" y="1898"/>
                  </a:lnTo>
                  <a:lnTo>
                    <a:pt x="1732" y="1946"/>
                  </a:lnTo>
                  <a:lnTo>
                    <a:pt x="1712" y="1993"/>
                  </a:lnTo>
                  <a:lnTo>
                    <a:pt x="1687" y="2037"/>
                  </a:lnTo>
                  <a:lnTo>
                    <a:pt x="1658" y="2079"/>
                  </a:lnTo>
                  <a:lnTo>
                    <a:pt x="1625" y="2119"/>
                  </a:lnTo>
                  <a:lnTo>
                    <a:pt x="2152" y="2649"/>
                  </a:lnTo>
                  <a:lnTo>
                    <a:pt x="2123" y="2678"/>
                  </a:lnTo>
                  <a:lnTo>
                    <a:pt x="1595" y="2147"/>
                  </a:lnTo>
                  <a:lnTo>
                    <a:pt x="1552" y="2184"/>
                  </a:lnTo>
                  <a:lnTo>
                    <a:pt x="1505" y="2214"/>
                  </a:lnTo>
                  <a:lnTo>
                    <a:pt x="1456" y="2239"/>
                  </a:lnTo>
                  <a:lnTo>
                    <a:pt x="1403" y="2258"/>
                  </a:lnTo>
                  <a:lnTo>
                    <a:pt x="1348" y="2272"/>
                  </a:lnTo>
                  <a:lnTo>
                    <a:pt x="1292" y="2280"/>
                  </a:lnTo>
                  <a:lnTo>
                    <a:pt x="1292" y="2978"/>
                  </a:lnTo>
                  <a:lnTo>
                    <a:pt x="1292" y="2978"/>
                  </a:lnTo>
                  <a:lnTo>
                    <a:pt x="1330" y="2985"/>
                  </a:lnTo>
                  <a:lnTo>
                    <a:pt x="1366" y="2999"/>
                  </a:lnTo>
                  <a:lnTo>
                    <a:pt x="1400" y="3018"/>
                  </a:lnTo>
                  <a:lnTo>
                    <a:pt x="1430" y="3040"/>
                  </a:lnTo>
                  <a:lnTo>
                    <a:pt x="1457" y="3066"/>
                  </a:lnTo>
                  <a:lnTo>
                    <a:pt x="1479" y="3096"/>
                  </a:lnTo>
                  <a:lnTo>
                    <a:pt x="1497" y="3130"/>
                  </a:lnTo>
                  <a:lnTo>
                    <a:pt x="1511" y="3166"/>
                  </a:lnTo>
                  <a:lnTo>
                    <a:pt x="1520" y="3204"/>
                  </a:lnTo>
                  <a:lnTo>
                    <a:pt x="1523" y="3244"/>
                  </a:lnTo>
                  <a:lnTo>
                    <a:pt x="1520" y="3284"/>
                  </a:lnTo>
                  <a:lnTo>
                    <a:pt x="1511" y="3322"/>
                  </a:lnTo>
                  <a:lnTo>
                    <a:pt x="1497" y="3358"/>
                  </a:lnTo>
                  <a:lnTo>
                    <a:pt x="1479" y="3391"/>
                  </a:lnTo>
                  <a:lnTo>
                    <a:pt x="1457" y="3422"/>
                  </a:lnTo>
                  <a:lnTo>
                    <a:pt x="1431" y="3447"/>
                  </a:lnTo>
                  <a:lnTo>
                    <a:pt x="1401" y="3470"/>
                  </a:lnTo>
                  <a:lnTo>
                    <a:pt x="1368" y="3488"/>
                  </a:lnTo>
                  <a:lnTo>
                    <a:pt x="1332" y="3503"/>
                  </a:lnTo>
                  <a:lnTo>
                    <a:pt x="1295" y="3511"/>
                  </a:lnTo>
                  <a:lnTo>
                    <a:pt x="1255" y="3513"/>
                  </a:lnTo>
                  <a:lnTo>
                    <a:pt x="1215" y="3511"/>
                  </a:lnTo>
                  <a:lnTo>
                    <a:pt x="1178" y="3503"/>
                  </a:lnTo>
                  <a:lnTo>
                    <a:pt x="1142" y="3488"/>
                  </a:lnTo>
                  <a:lnTo>
                    <a:pt x="1109" y="3470"/>
                  </a:lnTo>
                  <a:lnTo>
                    <a:pt x="1079" y="3447"/>
                  </a:lnTo>
                  <a:lnTo>
                    <a:pt x="1052" y="3422"/>
                  </a:lnTo>
                  <a:lnTo>
                    <a:pt x="1030" y="3391"/>
                  </a:lnTo>
                  <a:lnTo>
                    <a:pt x="1011" y="3358"/>
                  </a:lnTo>
                  <a:lnTo>
                    <a:pt x="998" y="3322"/>
                  </a:lnTo>
                  <a:lnTo>
                    <a:pt x="990" y="3284"/>
                  </a:lnTo>
                  <a:lnTo>
                    <a:pt x="987" y="3244"/>
                  </a:lnTo>
                  <a:lnTo>
                    <a:pt x="990" y="3204"/>
                  </a:lnTo>
                  <a:lnTo>
                    <a:pt x="998" y="3166"/>
                  </a:lnTo>
                  <a:lnTo>
                    <a:pt x="1012" y="3130"/>
                  </a:lnTo>
                  <a:lnTo>
                    <a:pt x="1031" y="3096"/>
                  </a:lnTo>
                  <a:lnTo>
                    <a:pt x="1053" y="3066"/>
                  </a:lnTo>
                  <a:lnTo>
                    <a:pt x="1080" y="3040"/>
                  </a:lnTo>
                  <a:lnTo>
                    <a:pt x="1110" y="3018"/>
                  </a:lnTo>
                  <a:lnTo>
                    <a:pt x="1143" y="2999"/>
                  </a:lnTo>
                  <a:lnTo>
                    <a:pt x="1179" y="2985"/>
                  </a:lnTo>
                  <a:lnTo>
                    <a:pt x="1217" y="2978"/>
                  </a:lnTo>
                  <a:lnTo>
                    <a:pt x="1216" y="2978"/>
                  </a:lnTo>
                  <a:lnTo>
                    <a:pt x="1216" y="2280"/>
                  </a:lnTo>
                  <a:lnTo>
                    <a:pt x="1167" y="2275"/>
                  </a:lnTo>
                  <a:lnTo>
                    <a:pt x="1118" y="2265"/>
                  </a:lnTo>
                  <a:lnTo>
                    <a:pt x="1070" y="2250"/>
                  </a:lnTo>
                  <a:lnTo>
                    <a:pt x="1025" y="2230"/>
                  </a:lnTo>
                  <a:lnTo>
                    <a:pt x="981" y="2207"/>
                  </a:lnTo>
                  <a:lnTo>
                    <a:pt x="941" y="2178"/>
                  </a:lnTo>
                  <a:lnTo>
                    <a:pt x="902" y="2146"/>
                  </a:lnTo>
                  <a:lnTo>
                    <a:pt x="374" y="2677"/>
                  </a:lnTo>
                  <a:lnTo>
                    <a:pt x="393" y="2707"/>
                  </a:lnTo>
                  <a:lnTo>
                    <a:pt x="408" y="2739"/>
                  </a:lnTo>
                  <a:lnTo>
                    <a:pt x="417" y="2772"/>
                  </a:lnTo>
                  <a:lnTo>
                    <a:pt x="420" y="2808"/>
                  </a:lnTo>
                  <a:lnTo>
                    <a:pt x="418" y="2842"/>
                  </a:lnTo>
                  <a:lnTo>
                    <a:pt x="411" y="2874"/>
                  </a:lnTo>
                  <a:lnTo>
                    <a:pt x="398" y="2904"/>
                  </a:lnTo>
                  <a:lnTo>
                    <a:pt x="381" y="2932"/>
                  </a:lnTo>
                  <a:lnTo>
                    <a:pt x="359" y="2958"/>
                  </a:lnTo>
                  <a:lnTo>
                    <a:pt x="333" y="2980"/>
                  </a:lnTo>
                  <a:lnTo>
                    <a:pt x="305" y="2997"/>
                  </a:lnTo>
                  <a:lnTo>
                    <a:pt x="275" y="3010"/>
                  </a:lnTo>
                  <a:lnTo>
                    <a:pt x="243" y="3018"/>
                  </a:lnTo>
                  <a:lnTo>
                    <a:pt x="210" y="3021"/>
                  </a:lnTo>
                  <a:lnTo>
                    <a:pt x="177" y="3018"/>
                  </a:lnTo>
                  <a:lnTo>
                    <a:pt x="145" y="3010"/>
                  </a:lnTo>
                  <a:lnTo>
                    <a:pt x="115" y="2997"/>
                  </a:lnTo>
                  <a:lnTo>
                    <a:pt x="87" y="2980"/>
                  </a:lnTo>
                  <a:lnTo>
                    <a:pt x="61" y="2958"/>
                  </a:lnTo>
                  <a:lnTo>
                    <a:pt x="39" y="2932"/>
                  </a:lnTo>
                  <a:lnTo>
                    <a:pt x="22" y="2903"/>
                  </a:lnTo>
                  <a:lnTo>
                    <a:pt x="9" y="2873"/>
                  </a:lnTo>
                  <a:lnTo>
                    <a:pt x="2" y="2840"/>
                  </a:lnTo>
                  <a:lnTo>
                    <a:pt x="0" y="2808"/>
                  </a:lnTo>
                  <a:lnTo>
                    <a:pt x="2" y="2776"/>
                  </a:lnTo>
                  <a:lnTo>
                    <a:pt x="9" y="2744"/>
                  </a:lnTo>
                  <a:lnTo>
                    <a:pt x="22" y="2713"/>
                  </a:lnTo>
                  <a:lnTo>
                    <a:pt x="39" y="2685"/>
                  </a:lnTo>
                  <a:lnTo>
                    <a:pt x="61" y="2659"/>
                  </a:lnTo>
                  <a:lnTo>
                    <a:pt x="87" y="2636"/>
                  </a:lnTo>
                  <a:lnTo>
                    <a:pt x="115" y="2619"/>
                  </a:lnTo>
                  <a:lnTo>
                    <a:pt x="145" y="2607"/>
                  </a:lnTo>
                  <a:lnTo>
                    <a:pt x="177" y="2599"/>
                  </a:lnTo>
                  <a:lnTo>
                    <a:pt x="210" y="2596"/>
                  </a:lnTo>
                  <a:lnTo>
                    <a:pt x="240" y="2599"/>
                  </a:lnTo>
                  <a:lnTo>
                    <a:pt x="269" y="2605"/>
                  </a:lnTo>
                  <a:lnTo>
                    <a:pt x="296" y="2616"/>
                  </a:lnTo>
                  <a:lnTo>
                    <a:pt x="323" y="2630"/>
                  </a:lnTo>
                  <a:lnTo>
                    <a:pt x="346" y="2648"/>
                  </a:lnTo>
                  <a:lnTo>
                    <a:pt x="873" y="2117"/>
                  </a:lnTo>
                  <a:lnTo>
                    <a:pt x="840" y="2078"/>
                  </a:lnTo>
                  <a:lnTo>
                    <a:pt x="811" y="2036"/>
                  </a:lnTo>
                  <a:lnTo>
                    <a:pt x="786" y="1992"/>
                  </a:lnTo>
                  <a:lnTo>
                    <a:pt x="767" y="1945"/>
                  </a:lnTo>
                  <a:lnTo>
                    <a:pt x="751" y="1897"/>
                  </a:lnTo>
                  <a:lnTo>
                    <a:pt x="740" y="1847"/>
                  </a:lnTo>
                  <a:lnTo>
                    <a:pt x="735" y="1795"/>
                  </a:lnTo>
                  <a:lnTo>
                    <a:pt x="38" y="1795"/>
                  </a:lnTo>
                  <a:lnTo>
                    <a:pt x="38" y="1718"/>
                  </a:lnTo>
                  <a:lnTo>
                    <a:pt x="736" y="1718"/>
                  </a:lnTo>
                  <a:lnTo>
                    <a:pt x="742" y="1667"/>
                  </a:lnTo>
                  <a:lnTo>
                    <a:pt x="754" y="1616"/>
                  </a:lnTo>
                  <a:lnTo>
                    <a:pt x="771" y="1567"/>
                  </a:lnTo>
                  <a:lnTo>
                    <a:pt x="793" y="1520"/>
                  </a:lnTo>
                  <a:lnTo>
                    <a:pt x="818" y="1475"/>
                  </a:lnTo>
                  <a:lnTo>
                    <a:pt x="849" y="1433"/>
                  </a:lnTo>
                  <a:lnTo>
                    <a:pt x="885" y="1394"/>
                  </a:lnTo>
                  <a:lnTo>
                    <a:pt x="924" y="1358"/>
                  </a:lnTo>
                  <a:lnTo>
                    <a:pt x="967" y="1326"/>
                  </a:lnTo>
                  <a:lnTo>
                    <a:pt x="1014" y="1299"/>
                  </a:lnTo>
                  <a:lnTo>
                    <a:pt x="1061" y="1278"/>
                  </a:lnTo>
                  <a:lnTo>
                    <a:pt x="1111" y="1262"/>
                  </a:lnTo>
                  <a:lnTo>
                    <a:pt x="1164" y="1250"/>
                  </a:lnTo>
                  <a:lnTo>
                    <a:pt x="1216" y="1243"/>
                  </a:lnTo>
                  <a:lnTo>
                    <a:pt x="1216" y="537"/>
                  </a:lnTo>
                  <a:lnTo>
                    <a:pt x="1217" y="537"/>
                  </a:lnTo>
                  <a:lnTo>
                    <a:pt x="1179" y="528"/>
                  </a:lnTo>
                  <a:lnTo>
                    <a:pt x="1143" y="514"/>
                  </a:lnTo>
                  <a:lnTo>
                    <a:pt x="1110" y="497"/>
                  </a:lnTo>
                  <a:lnTo>
                    <a:pt x="1080" y="474"/>
                  </a:lnTo>
                  <a:lnTo>
                    <a:pt x="1053" y="447"/>
                  </a:lnTo>
                  <a:lnTo>
                    <a:pt x="1031" y="417"/>
                  </a:lnTo>
                  <a:lnTo>
                    <a:pt x="1012" y="383"/>
                  </a:lnTo>
                  <a:lnTo>
                    <a:pt x="998" y="348"/>
                  </a:lnTo>
                  <a:lnTo>
                    <a:pt x="990" y="310"/>
                  </a:lnTo>
                  <a:lnTo>
                    <a:pt x="987" y="270"/>
                  </a:lnTo>
                  <a:lnTo>
                    <a:pt x="990" y="230"/>
                  </a:lnTo>
                  <a:lnTo>
                    <a:pt x="998" y="191"/>
                  </a:lnTo>
                  <a:lnTo>
                    <a:pt x="1011" y="156"/>
                  </a:lnTo>
                  <a:lnTo>
                    <a:pt x="1030" y="123"/>
                  </a:lnTo>
                  <a:lnTo>
                    <a:pt x="1052" y="93"/>
                  </a:lnTo>
                  <a:lnTo>
                    <a:pt x="1079" y="66"/>
                  </a:lnTo>
                  <a:lnTo>
                    <a:pt x="1109" y="43"/>
                  </a:lnTo>
                  <a:lnTo>
                    <a:pt x="1142" y="25"/>
                  </a:lnTo>
                  <a:lnTo>
                    <a:pt x="1178" y="11"/>
                  </a:lnTo>
                  <a:lnTo>
                    <a:pt x="1215" y="2"/>
                  </a:lnTo>
                  <a:lnTo>
                    <a:pt x="12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9" name="Freeform 446">
              <a:extLst>
                <a:ext uri="{FF2B5EF4-FFF2-40B4-BE49-F238E27FC236}">
                  <a16:creationId xmlns:a16="http://schemas.microsoft.com/office/drawing/2014/main" id="{F9D174A8-D14E-D233-7B0B-DDF802ADCB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0638" y="5000625"/>
              <a:ext cx="141288" cy="142875"/>
            </a:xfrm>
            <a:custGeom>
              <a:avLst/>
              <a:gdLst>
                <a:gd name="T0" fmla="*/ 268 w 536"/>
                <a:gd name="T1" fmla="*/ 0 h 539"/>
                <a:gd name="T2" fmla="*/ 308 w 536"/>
                <a:gd name="T3" fmla="*/ 3 h 539"/>
                <a:gd name="T4" fmla="*/ 345 w 536"/>
                <a:gd name="T5" fmla="*/ 11 h 539"/>
                <a:gd name="T6" fmla="*/ 381 w 536"/>
                <a:gd name="T7" fmla="*/ 25 h 539"/>
                <a:gd name="T8" fmla="*/ 414 w 536"/>
                <a:gd name="T9" fmla="*/ 43 h 539"/>
                <a:gd name="T10" fmla="*/ 444 w 536"/>
                <a:gd name="T11" fmla="*/ 66 h 539"/>
                <a:gd name="T12" fmla="*/ 470 w 536"/>
                <a:gd name="T13" fmla="*/ 93 h 539"/>
                <a:gd name="T14" fmla="*/ 492 w 536"/>
                <a:gd name="T15" fmla="*/ 123 h 539"/>
                <a:gd name="T16" fmla="*/ 511 w 536"/>
                <a:gd name="T17" fmla="*/ 156 h 539"/>
                <a:gd name="T18" fmla="*/ 525 w 536"/>
                <a:gd name="T19" fmla="*/ 191 h 539"/>
                <a:gd name="T20" fmla="*/ 533 w 536"/>
                <a:gd name="T21" fmla="*/ 230 h 539"/>
                <a:gd name="T22" fmla="*/ 536 w 536"/>
                <a:gd name="T23" fmla="*/ 270 h 539"/>
                <a:gd name="T24" fmla="*/ 533 w 536"/>
                <a:gd name="T25" fmla="*/ 310 h 539"/>
                <a:gd name="T26" fmla="*/ 525 w 536"/>
                <a:gd name="T27" fmla="*/ 348 h 539"/>
                <a:gd name="T28" fmla="*/ 511 w 536"/>
                <a:gd name="T29" fmla="*/ 384 h 539"/>
                <a:gd name="T30" fmla="*/ 492 w 536"/>
                <a:gd name="T31" fmla="*/ 417 h 539"/>
                <a:gd name="T32" fmla="*/ 470 w 536"/>
                <a:gd name="T33" fmla="*/ 446 h 539"/>
                <a:gd name="T34" fmla="*/ 444 w 536"/>
                <a:gd name="T35" fmla="*/ 473 h 539"/>
                <a:gd name="T36" fmla="*/ 414 w 536"/>
                <a:gd name="T37" fmla="*/ 496 h 539"/>
                <a:gd name="T38" fmla="*/ 381 w 536"/>
                <a:gd name="T39" fmla="*/ 514 h 539"/>
                <a:gd name="T40" fmla="*/ 345 w 536"/>
                <a:gd name="T41" fmla="*/ 528 h 539"/>
                <a:gd name="T42" fmla="*/ 308 w 536"/>
                <a:gd name="T43" fmla="*/ 537 h 539"/>
                <a:gd name="T44" fmla="*/ 268 w 536"/>
                <a:gd name="T45" fmla="*/ 539 h 539"/>
                <a:gd name="T46" fmla="*/ 228 w 536"/>
                <a:gd name="T47" fmla="*/ 537 h 539"/>
                <a:gd name="T48" fmla="*/ 191 w 536"/>
                <a:gd name="T49" fmla="*/ 528 h 539"/>
                <a:gd name="T50" fmla="*/ 155 w 536"/>
                <a:gd name="T51" fmla="*/ 514 h 539"/>
                <a:gd name="T52" fmla="*/ 122 w 536"/>
                <a:gd name="T53" fmla="*/ 496 h 539"/>
                <a:gd name="T54" fmla="*/ 92 w 536"/>
                <a:gd name="T55" fmla="*/ 473 h 539"/>
                <a:gd name="T56" fmla="*/ 66 w 536"/>
                <a:gd name="T57" fmla="*/ 446 h 539"/>
                <a:gd name="T58" fmla="*/ 44 w 536"/>
                <a:gd name="T59" fmla="*/ 417 h 539"/>
                <a:gd name="T60" fmla="*/ 26 w 536"/>
                <a:gd name="T61" fmla="*/ 384 h 539"/>
                <a:gd name="T62" fmla="*/ 12 w 536"/>
                <a:gd name="T63" fmla="*/ 348 h 539"/>
                <a:gd name="T64" fmla="*/ 3 w 536"/>
                <a:gd name="T65" fmla="*/ 310 h 539"/>
                <a:gd name="T66" fmla="*/ 0 w 536"/>
                <a:gd name="T67" fmla="*/ 270 h 539"/>
                <a:gd name="T68" fmla="*/ 3 w 536"/>
                <a:gd name="T69" fmla="*/ 230 h 539"/>
                <a:gd name="T70" fmla="*/ 12 w 536"/>
                <a:gd name="T71" fmla="*/ 191 h 539"/>
                <a:gd name="T72" fmla="*/ 26 w 536"/>
                <a:gd name="T73" fmla="*/ 156 h 539"/>
                <a:gd name="T74" fmla="*/ 44 w 536"/>
                <a:gd name="T75" fmla="*/ 123 h 539"/>
                <a:gd name="T76" fmla="*/ 66 w 536"/>
                <a:gd name="T77" fmla="*/ 93 h 539"/>
                <a:gd name="T78" fmla="*/ 92 w 536"/>
                <a:gd name="T79" fmla="*/ 66 h 539"/>
                <a:gd name="T80" fmla="*/ 122 w 536"/>
                <a:gd name="T81" fmla="*/ 43 h 539"/>
                <a:gd name="T82" fmla="*/ 155 w 536"/>
                <a:gd name="T83" fmla="*/ 25 h 539"/>
                <a:gd name="T84" fmla="*/ 191 w 536"/>
                <a:gd name="T85" fmla="*/ 11 h 539"/>
                <a:gd name="T86" fmla="*/ 228 w 536"/>
                <a:gd name="T87" fmla="*/ 3 h 539"/>
                <a:gd name="T88" fmla="*/ 268 w 536"/>
                <a:gd name="T89" fmla="*/ 0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36" h="539">
                  <a:moveTo>
                    <a:pt x="268" y="0"/>
                  </a:moveTo>
                  <a:lnTo>
                    <a:pt x="308" y="3"/>
                  </a:lnTo>
                  <a:lnTo>
                    <a:pt x="345" y="11"/>
                  </a:lnTo>
                  <a:lnTo>
                    <a:pt x="381" y="25"/>
                  </a:lnTo>
                  <a:lnTo>
                    <a:pt x="414" y="43"/>
                  </a:lnTo>
                  <a:lnTo>
                    <a:pt x="444" y="66"/>
                  </a:lnTo>
                  <a:lnTo>
                    <a:pt x="470" y="93"/>
                  </a:lnTo>
                  <a:lnTo>
                    <a:pt x="492" y="123"/>
                  </a:lnTo>
                  <a:lnTo>
                    <a:pt x="511" y="156"/>
                  </a:lnTo>
                  <a:lnTo>
                    <a:pt x="525" y="191"/>
                  </a:lnTo>
                  <a:lnTo>
                    <a:pt x="533" y="230"/>
                  </a:lnTo>
                  <a:lnTo>
                    <a:pt x="536" y="270"/>
                  </a:lnTo>
                  <a:lnTo>
                    <a:pt x="533" y="310"/>
                  </a:lnTo>
                  <a:lnTo>
                    <a:pt x="525" y="348"/>
                  </a:lnTo>
                  <a:lnTo>
                    <a:pt x="511" y="384"/>
                  </a:lnTo>
                  <a:lnTo>
                    <a:pt x="492" y="417"/>
                  </a:lnTo>
                  <a:lnTo>
                    <a:pt x="470" y="446"/>
                  </a:lnTo>
                  <a:lnTo>
                    <a:pt x="444" y="473"/>
                  </a:lnTo>
                  <a:lnTo>
                    <a:pt x="414" y="496"/>
                  </a:lnTo>
                  <a:lnTo>
                    <a:pt x="381" y="514"/>
                  </a:lnTo>
                  <a:lnTo>
                    <a:pt x="345" y="528"/>
                  </a:lnTo>
                  <a:lnTo>
                    <a:pt x="308" y="537"/>
                  </a:lnTo>
                  <a:lnTo>
                    <a:pt x="268" y="539"/>
                  </a:lnTo>
                  <a:lnTo>
                    <a:pt x="228" y="537"/>
                  </a:lnTo>
                  <a:lnTo>
                    <a:pt x="191" y="528"/>
                  </a:lnTo>
                  <a:lnTo>
                    <a:pt x="155" y="514"/>
                  </a:lnTo>
                  <a:lnTo>
                    <a:pt x="122" y="496"/>
                  </a:lnTo>
                  <a:lnTo>
                    <a:pt x="92" y="473"/>
                  </a:lnTo>
                  <a:lnTo>
                    <a:pt x="66" y="446"/>
                  </a:lnTo>
                  <a:lnTo>
                    <a:pt x="44" y="417"/>
                  </a:lnTo>
                  <a:lnTo>
                    <a:pt x="26" y="384"/>
                  </a:lnTo>
                  <a:lnTo>
                    <a:pt x="12" y="348"/>
                  </a:lnTo>
                  <a:lnTo>
                    <a:pt x="3" y="310"/>
                  </a:lnTo>
                  <a:lnTo>
                    <a:pt x="0" y="270"/>
                  </a:lnTo>
                  <a:lnTo>
                    <a:pt x="3" y="230"/>
                  </a:lnTo>
                  <a:lnTo>
                    <a:pt x="12" y="191"/>
                  </a:lnTo>
                  <a:lnTo>
                    <a:pt x="26" y="156"/>
                  </a:lnTo>
                  <a:lnTo>
                    <a:pt x="44" y="123"/>
                  </a:lnTo>
                  <a:lnTo>
                    <a:pt x="66" y="93"/>
                  </a:lnTo>
                  <a:lnTo>
                    <a:pt x="92" y="66"/>
                  </a:lnTo>
                  <a:lnTo>
                    <a:pt x="122" y="43"/>
                  </a:lnTo>
                  <a:lnTo>
                    <a:pt x="155" y="25"/>
                  </a:lnTo>
                  <a:lnTo>
                    <a:pt x="191" y="11"/>
                  </a:lnTo>
                  <a:lnTo>
                    <a:pt x="228" y="3"/>
                  </a:lnTo>
                  <a:lnTo>
                    <a:pt x="2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0" name="Freeform 447">
              <a:extLst>
                <a:ext uri="{FF2B5EF4-FFF2-40B4-BE49-F238E27FC236}">
                  <a16:creationId xmlns:a16="http://schemas.microsoft.com/office/drawing/2014/main" id="{26CFDE45-BBB7-6002-0F00-5F850040CB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14851" y="4737100"/>
              <a:ext cx="111125" cy="112713"/>
            </a:xfrm>
            <a:custGeom>
              <a:avLst/>
              <a:gdLst>
                <a:gd name="T0" fmla="*/ 184 w 422"/>
                <a:gd name="T1" fmla="*/ 40 h 423"/>
                <a:gd name="T2" fmla="*/ 134 w 422"/>
                <a:gd name="T3" fmla="*/ 57 h 423"/>
                <a:gd name="T4" fmla="*/ 90 w 422"/>
                <a:gd name="T5" fmla="*/ 88 h 423"/>
                <a:gd name="T6" fmla="*/ 57 w 422"/>
                <a:gd name="T7" fmla="*/ 132 h 423"/>
                <a:gd name="T8" fmla="*/ 41 w 422"/>
                <a:gd name="T9" fmla="*/ 184 h 423"/>
                <a:gd name="T10" fmla="*/ 41 w 422"/>
                <a:gd name="T11" fmla="*/ 238 h 423"/>
                <a:gd name="T12" fmla="*/ 57 w 422"/>
                <a:gd name="T13" fmla="*/ 290 h 423"/>
                <a:gd name="T14" fmla="*/ 90 w 422"/>
                <a:gd name="T15" fmla="*/ 333 h 423"/>
                <a:gd name="T16" fmla="*/ 134 w 422"/>
                <a:gd name="T17" fmla="*/ 366 h 423"/>
                <a:gd name="T18" fmla="*/ 184 w 422"/>
                <a:gd name="T19" fmla="*/ 382 h 423"/>
                <a:gd name="T20" fmla="*/ 239 w 422"/>
                <a:gd name="T21" fmla="*/ 382 h 423"/>
                <a:gd name="T22" fmla="*/ 289 w 422"/>
                <a:gd name="T23" fmla="*/ 366 h 423"/>
                <a:gd name="T24" fmla="*/ 333 w 422"/>
                <a:gd name="T25" fmla="*/ 333 h 423"/>
                <a:gd name="T26" fmla="*/ 368 w 422"/>
                <a:gd name="T27" fmla="*/ 284 h 423"/>
                <a:gd name="T28" fmla="*/ 382 w 422"/>
                <a:gd name="T29" fmla="*/ 225 h 423"/>
                <a:gd name="T30" fmla="*/ 378 w 422"/>
                <a:gd name="T31" fmla="*/ 167 h 423"/>
                <a:gd name="T32" fmla="*/ 353 w 422"/>
                <a:gd name="T33" fmla="*/ 112 h 423"/>
                <a:gd name="T34" fmla="*/ 313 w 422"/>
                <a:gd name="T35" fmla="*/ 71 h 423"/>
                <a:gd name="T36" fmla="*/ 264 w 422"/>
                <a:gd name="T37" fmla="*/ 46 h 423"/>
                <a:gd name="T38" fmla="*/ 212 w 422"/>
                <a:gd name="T39" fmla="*/ 37 h 423"/>
                <a:gd name="T40" fmla="*/ 245 w 422"/>
                <a:gd name="T41" fmla="*/ 2 h 423"/>
                <a:gd name="T42" fmla="*/ 307 w 422"/>
                <a:gd name="T43" fmla="*/ 22 h 423"/>
                <a:gd name="T44" fmla="*/ 360 w 422"/>
                <a:gd name="T45" fmla="*/ 61 h 423"/>
                <a:gd name="T46" fmla="*/ 400 w 422"/>
                <a:gd name="T47" fmla="*/ 116 h 423"/>
                <a:gd name="T48" fmla="*/ 419 w 422"/>
                <a:gd name="T49" fmla="*/ 179 h 423"/>
                <a:gd name="T50" fmla="*/ 419 w 422"/>
                <a:gd name="T51" fmla="*/ 244 h 423"/>
                <a:gd name="T52" fmla="*/ 400 w 422"/>
                <a:gd name="T53" fmla="*/ 306 h 423"/>
                <a:gd name="T54" fmla="*/ 360 w 422"/>
                <a:gd name="T55" fmla="*/ 361 h 423"/>
                <a:gd name="T56" fmla="*/ 307 w 422"/>
                <a:gd name="T57" fmla="*/ 400 h 423"/>
                <a:gd name="T58" fmla="*/ 245 w 422"/>
                <a:gd name="T59" fmla="*/ 421 h 423"/>
                <a:gd name="T60" fmla="*/ 179 w 422"/>
                <a:gd name="T61" fmla="*/ 421 h 423"/>
                <a:gd name="T62" fmla="*/ 116 w 422"/>
                <a:gd name="T63" fmla="*/ 400 h 423"/>
                <a:gd name="T64" fmla="*/ 63 w 422"/>
                <a:gd name="T65" fmla="*/ 361 h 423"/>
                <a:gd name="T66" fmla="*/ 24 w 422"/>
                <a:gd name="T67" fmla="*/ 307 h 423"/>
                <a:gd name="T68" fmla="*/ 4 w 422"/>
                <a:gd name="T69" fmla="*/ 245 h 423"/>
                <a:gd name="T70" fmla="*/ 4 w 422"/>
                <a:gd name="T71" fmla="*/ 178 h 423"/>
                <a:gd name="T72" fmla="*/ 24 w 422"/>
                <a:gd name="T73" fmla="*/ 115 h 423"/>
                <a:gd name="T74" fmla="*/ 63 w 422"/>
                <a:gd name="T75" fmla="*/ 61 h 423"/>
                <a:gd name="T76" fmla="*/ 116 w 422"/>
                <a:gd name="T77" fmla="*/ 22 h 423"/>
                <a:gd name="T78" fmla="*/ 179 w 422"/>
                <a:gd name="T79" fmla="*/ 2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2" h="423">
                  <a:moveTo>
                    <a:pt x="212" y="37"/>
                  </a:moveTo>
                  <a:lnTo>
                    <a:pt x="184" y="40"/>
                  </a:lnTo>
                  <a:lnTo>
                    <a:pt x="158" y="46"/>
                  </a:lnTo>
                  <a:lnTo>
                    <a:pt x="134" y="57"/>
                  </a:lnTo>
                  <a:lnTo>
                    <a:pt x="110" y="71"/>
                  </a:lnTo>
                  <a:lnTo>
                    <a:pt x="90" y="88"/>
                  </a:lnTo>
                  <a:lnTo>
                    <a:pt x="72" y="110"/>
                  </a:lnTo>
                  <a:lnTo>
                    <a:pt x="57" y="132"/>
                  </a:lnTo>
                  <a:lnTo>
                    <a:pt x="48" y="157"/>
                  </a:lnTo>
                  <a:lnTo>
                    <a:pt x="41" y="184"/>
                  </a:lnTo>
                  <a:lnTo>
                    <a:pt x="39" y="211"/>
                  </a:lnTo>
                  <a:lnTo>
                    <a:pt x="41" y="238"/>
                  </a:lnTo>
                  <a:lnTo>
                    <a:pt x="48" y="265"/>
                  </a:lnTo>
                  <a:lnTo>
                    <a:pt x="57" y="290"/>
                  </a:lnTo>
                  <a:lnTo>
                    <a:pt x="72" y="313"/>
                  </a:lnTo>
                  <a:lnTo>
                    <a:pt x="90" y="333"/>
                  </a:lnTo>
                  <a:lnTo>
                    <a:pt x="110" y="352"/>
                  </a:lnTo>
                  <a:lnTo>
                    <a:pt x="134" y="366"/>
                  </a:lnTo>
                  <a:lnTo>
                    <a:pt x="158" y="375"/>
                  </a:lnTo>
                  <a:lnTo>
                    <a:pt x="184" y="382"/>
                  </a:lnTo>
                  <a:lnTo>
                    <a:pt x="212" y="384"/>
                  </a:lnTo>
                  <a:lnTo>
                    <a:pt x="239" y="382"/>
                  </a:lnTo>
                  <a:lnTo>
                    <a:pt x="264" y="377"/>
                  </a:lnTo>
                  <a:lnTo>
                    <a:pt x="289" y="366"/>
                  </a:lnTo>
                  <a:lnTo>
                    <a:pt x="313" y="352"/>
                  </a:lnTo>
                  <a:lnTo>
                    <a:pt x="333" y="333"/>
                  </a:lnTo>
                  <a:lnTo>
                    <a:pt x="353" y="310"/>
                  </a:lnTo>
                  <a:lnTo>
                    <a:pt x="368" y="284"/>
                  </a:lnTo>
                  <a:lnTo>
                    <a:pt x="378" y="256"/>
                  </a:lnTo>
                  <a:lnTo>
                    <a:pt x="382" y="225"/>
                  </a:lnTo>
                  <a:lnTo>
                    <a:pt x="382" y="196"/>
                  </a:lnTo>
                  <a:lnTo>
                    <a:pt x="378" y="167"/>
                  </a:lnTo>
                  <a:lnTo>
                    <a:pt x="368" y="139"/>
                  </a:lnTo>
                  <a:lnTo>
                    <a:pt x="353" y="112"/>
                  </a:lnTo>
                  <a:lnTo>
                    <a:pt x="333" y="88"/>
                  </a:lnTo>
                  <a:lnTo>
                    <a:pt x="313" y="71"/>
                  </a:lnTo>
                  <a:lnTo>
                    <a:pt x="289" y="57"/>
                  </a:lnTo>
                  <a:lnTo>
                    <a:pt x="264" y="46"/>
                  </a:lnTo>
                  <a:lnTo>
                    <a:pt x="239" y="40"/>
                  </a:lnTo>
                  <a:lnTo>
                    <a:pt x="212" y="37"/>
                  </a:lnTo>
                  <a:close/>
                  <a:moveTo>
                    <a:pt x="212" y="0"/>
                  </a:moveTo>
                  <a:lnTo>
                    <a:pt x="245" y="2"/>
                  </a:lnTo>
                  <a:lnTo>
                    <a:pt x="276" y="9"/>
                  </a:lnTo>
                  <a:lnTo>
                    <a:pt x="307" y="22"/>
                  </a:lnTo>
                  <a:lnTo>
                    <a:pt x="335" y="40"/>
                  </a:lnTo>
                  <a:lnTo>
                    <a:pt x="360" y="61"/>
                  </a:lnTo>
                  <a:lnTo>
                    <a:pt x="382" y="87"/>
                  </a:lnTo>
                  <a:lnTo>
                    <a:pt x="400" y="116"/>
                  </a:lnTo>
                  <a:lnTo>
                    <a:pt x="412" y="147"/>
                  </a:lnTo>
                  <a:lnTo>
                    <a:pt x="419" y="179"/>
                  </a:lnTo>
                  <a:lnTo>
                    <a:pt x="422" y="211"/>
                  </a:lnTo>
                  <a:lnTo>
                    <a:pt x="419" y="244"/>
                  </a:lnTo>
                  <a:lnTo>
                    <a:pt x="412" y="275"/>
                  </a:lnTo>
                  <a:lnTo>
                    <a:pt x="400" y="306"/>
                  </a:lnTo>
                  <a:lnTo>
                    <a:pt x="382" y="334"/>
                  </a:lnTo>
                  <a:lnTo>
                    <a:pt x="360" y="361"/>
                  </a:lnTo>
                  <a:lnTo>
                    <a:pt x="335" y="383"/>
                  </a:lnTo>
                  <a:lnTo>
                    <a:pt x="307" y="400"/>
                  </a:lnTo>
                  <a:lnTo>
                    <a:pt x="276" y="412"/>
                  </a:lnTo>
                  <a:lnTo>
                    <a:pt x="245" y="421"/>
                  </a:lnTo>
                  <a:lnTo>
                    <a:pt x="212" y="423"/>
                  </a:lnTo>
                  <a:lnTo>
                    <a:pt x="179" y="421"/>
                  </a:lnTo>
                  <a:lnTo>
                    <a:pt x="146" y="412"/>
                  </a:lnTo>
                  <a:lnTo>
                    <a:pt x="116" y="400"/>
                  </a:lnTo>
                  <a:lnTo>
                    <a:pt x="88" y="383"/>
                  </a:lnTo>
                  <a:lnTo>
                    <a:pt x="63" y="361"/>
                  </a:lnTo>
                  <a:lnTo>
                    <a:pt x="41" y="336"/>
                  </a:lnTo>
                  <a:lnTo>
                    <a:pt x="24" y="307"/>
                  </a:lnTo>
                  <a:lnTo>
                    <a:pt x="11" y="277"/>
                  </a:lnTo>
                  <a:lnTo>
                    <a:pt x="4" y="245"/>
                  </a:lnTo>
                  <a:lnTo>
                    <a:pt x="0" y="211"/>
                  </a:lnTo>
                  <a:lnTo>
                    <a:pt x="4" y="178"/>
                  </a:lnTo>
                  <a:lnTo>
                    <a:pt x="11" y="145"/>
                  </a:lnTo>
                  <a:lnTo>
                    <a:pt x="24" y="115"/>
                  </a:lnTo>
                  <a:lnTo>
                    <a:pt x="41" y="87"/>
                  </a:lnTo>
                  <a:lnTo>
                    <a:pt x="63" y="61"/>
                  </a:lnTo>
                  <a:lnTo>
                    <a:pt x="88" y="40"/>
                  </a:lnTo>
                  <a:lnTo>
                    <a:pt x="116" y="22"/>
                  </a:lnTo>
                  <a:lnTo>
                    <a:pt x="146" y="9"/>
                  </a:lnTo>
                  <a:lnTo>
                    <a:pt x="179" y="2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1" name="Freeform 448">
              <a:extLst>
                <a:ext uri="{FF2B5EF4-FFF2-40B4-BE49-F238E27FC236}">
                  <a16:creationId xmlns:a16="http://schemas.microsoft.com/office/drawing/2014/main" id="{B0348043-02CF-4CB5-FF4A-C4DD47F361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14851" y="5294313"/>
              <a:ext cx="111125" cy="112713"/>
            </a:xfrm>
            <a:custGeom>
              <a:avLst/>
              <a:gdLst>
                <a:gd name="T0" fmla="*/ 184 w 422"/>
                <a:gd name="T1" fmla="*/ 41 h 425"/>
                <a:gd name="T2" fmla="*/ 134 w 422"/>
                <a:gd name="T3" fmla="*/ 58 h 425"/>
                <a:gd name="T4" fmla="*/ 90 w 422"/>
                <a:gd name="T5" fmla="*/ 90 h 425"/>
                <a:gd name="T6" fmla="*/ 57 w 422"/>
                <a:gd name="T7" fmla="*/ 134 h 425"/>
                <a:gd name="T8" fmla="*/ 41 w 422"/>
                <a:gd name="T9" fmla="*/ 185 h 425"/>
                <a:gd name="T10" fmla="*/ 41 w 422"/>
                <a:gd name="T11" fmla="*/ 240 h 425"/>
                <a:gd name="T12" fmla="*/ 57 w 422"/>
                <a:gd name="T13" fmla="*/ 291 h 425"/>
                <a:gd name="T14" fmla="*/ 90 w 422"/>
                <a:gd name="T15" fmla="*/ 335 h 425"/>
                <a:gd name="T16" fmla="*/ 134 w 422"/>
                <a:gd name="T17" fmla="*/ 367 h 425"/>
                <a:gd name="T18" fmla="*/ 184 w 422"/>
                <a:gd name="T19" fmla="*/ 384 h 425"/>
                <a:gd name="T20" fmla="*/ 239 w 422"/>
                <a:gd name="T21" fmla="*/ 384 h 425"/>
                <a:gd name="T22" fmla="*/ 289 w 422"/>
                <a:gd name="T23" fmla="*/ 368 h 425"/>
                <a:gd name="T24" fmla="*/ 333 w 422"/>
                <a:gd name="T25" fmla="*/ 335 h 425"/>
                <a:gd name="T26" fmla="*/ 368 w 422"/>
                <a:gd name="T27" fmla="*/ 284 h 425"/>
                <a:gd name="T28" fmla="*/ 382 w 422"/>
                <a:gd name="T29" fmla="*/ 227 h 425"/>
                <a:gd name="T30" fmla="*/ 378 w 422"/>
                <a:gd name="T31" fmla="*/ 169 h 425"/>
                <a:gd name="T32" fmla="*/ 353 w 422"/>
                <a:gd name="T33" fmla="*/ 114 h 425"/>
                <a:gd name="T34" fmla="*/ 313 w 422"/>
                <a:gd name="T35" fmla="*/ 72 h 425"/>
                <a:gd name="T36" fmla="*/ 264 w 422"/>
                <a:gd name="T37" fmla="*/ 48 h 425"/>
                <a:gd name="T38" fmla="*/ 212 w 422"/>
                <a:gd name="T39" fmla="*/ 39 h 425"/>
                <a:gd name="T40" fmla="*/ 245 w 422"/>
                <a:gd name="T41" fmla="*/ 3 h 425"/>
                <a:gd name="T42" fmla="*/ 307 w 422"/>
                <a:gd name="T43" fmla="*/ 23 h 425"/>
                <a:gd name="T44" fmla="*/ 360 w 422"/>
                <a:gd name="T45" fmla="*/ 63 h 425"/>
                <a:gd name="T46" fmla="*/ 400 w 422"/>
                <a:gd name="T47" fmla="*/ 117 h 425"/>
                <a:gd name="T48" fmla="*/ 419 w 422"/>
                <a:gd name="T49" fmla="*/ 180 h 425"/>
                <a:gd name="T50" fmla="*/ 419 w 422"/>
                <a:gd name="T51" fmla="*/ 244 h 425"/>
                <a:gd name="T52" fmla="*/ 400 w 422"/>
                <a:gd name="T53" fmla="*/ 307 h 425"/>
                <a:gd name="T54" fmla="*/ 360 w 422"/>
                <a:gd name="T55" fmla="*/ 362 h 425"/>
                <a:gd name="T56" fmla="*/ 307 w 422"/>
                <a:gd name="T57" fmla="*/ 401 h 425"/>
                <a:gd name="T58" fmla="*/ 245 w 422"/>
                <a:gd name="T59" fmla="*/ 422 h 425"/>
                <a:gd name="T60" fmla="*/ 179 w 422"/>
                <a:gd name="T61" fmla="*/ 422 h 425"/>
                <a:gd name="T62" fmla="*/ 116 w 422"/>
                <a:gd name="T63" fmla="*/ 401 h 425"/>
                <a:gd name="T64" fmla="*/ 63 w 422"/>
                <a:gd name="T65" fmla="*/ 362 h 425"/>
                <a:gd name="T66" fmla="*/ 24 w 422"/>
                <a:gd name="T67" fmla="*/ 308 h 425"/>
                <a:gd name="T68" fmla="*/ 4 w 422"/>
                <a:gd name="T69" fmla="*/ 246 h 425"/>
                <a:gd name="T70" fmla="*/ 4 w 422"/>
                <a:gd name="T71" fmla="*/ 179 h 425"/>
                <a:gd name="T72" fmla="*/ 24 w 422"/>
                <a:gd name="T73" fmla="*/ 116 h 425"/>
                <a:gd name="T74" fmla="*/ 63 w 422"/>
                <a:gd name="T75" fmla="*/ 63 h 425"/>
                <a:gd name="T76" fmla="*/ 116 w 422"/>
                <a:gd name="T77" fmla="*/ 23 h 425"/>
                <a:gd name="T78" fmla="*/ 179 w 422"/>
                <a:gd name="T79" fmla="*/ 3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2" h="425">
                  <a:moveTo>
                    <a:pt x="212" y="39"/>
                  </a:moveTo>
                  <a:lnTo>
                    <a:pt x="184" y="41"/>
                  </a:lnTo>
                  <a:lnTo>
                    <a:pt x="158" y="48"/>
                  </a:lnTo>
                  <a:lnTo>
                    <a:pt x="134" y="58"/>
                  </a:lnTo>
                  <a:lnTo>
                    <a:pt x="110" y="72"/>
                  </a:lnTo>
                  <a:lnTo>
                    <a:pt x="90" y="90"/>
                  </a:lnTo>
                  <a:lnTo>
                    <a:pt x="72" y="111"/>
                  </a:lnTo>
                  <a:lnTo>
                    <a:pt x="57" y="134"/>
                  </a:lnTo>
                  <a:lnTo>
                    <a:pt x="48" y="159"/>
                  </a:lnTo>
                  <a:lnTo>
                    <a:pt x="41" y="185"/>
                  </a:lnTo>
                  <a:lnTo>
                    <a:pt x="39" y="212"/>
                  </a:lnTo>
                  <a:lnTo>
                    <a:pt x="41" y="240"/>
                  </a:lnTo>
                  <a:lnTo>
                    <a:pt x="48" y="266"/>
                  </a:lnTo>
                  <a:lnTo>
                    <a:pt x="57" y="291"/>
                  </a:lnTo>
                  <a:lnTo>
                    <a:pt x="72" y="315"/>
                  </a:lnTo>
                  <a:lnTo>
                    <a:pt x="90" y="335"/>
                  </a:lnTo>
                  <a:lnTo>
                    <a:pt x="110" y="352"/>
                  </a:lnTo>
                  <a:lnTo>
                    <a:pt x="134" y="367"/>
                  </a:lnTo>
                  <a:lnTo>
                    <a:pt x="158" y="377"/>
                  </a:lnTo>
                  <a:lnTo>
                    <a:pt x="184" y="384"/>
                  </a:lnTo>
                  <a:lnTo>
                    <a:pt x="212" y="386"/>
                  </a:lnTo>
                  <a:lnTo>
                    <a:pt x="239" y="384"/>
                  </a:lnTo>
                  <a:lnTo>
                    <a:pt x="264" y="377"/>
                  </a:lnTo>
                  <a:lnTo>
                    <a:pt x="289" y="368"/>
                  </a:lnTo>
                  <a:lnTo>
                    <a:pt x="313" y="352"/>
                  </a:lnTo>
                  <a:lnTo>
                    <a:pt x="333" y="335"/>
                  </a:lnTo>
                  <a:lnTo>
                    <a:pt x="353" y="311"/>
                  </a:lnTo>
                  <a:lnTo>
                    <a:pt x="368" y="284"/>
                  </a:lnTo>
                  <a:lnTo>
                    <a:pt x="378" y="256"/>
                  </a:lnTo>
                  <a:lnTo>
                    <a:pt x="382" y="227"/>
                  </a:lnTo>
                  <a:lnTo>
                    <a:pt x="382" y="198"/>
                  </a:lnTo>
                  <a:lnTo>
                    <a:pt x="378" y="169"/>
                  </a:lnTo>
                  <a:lnTo>
                    <a:pt x="368" y="140"/>
                  </a:lnTo>
                  <a:lnTo>
                    <a:pt x="353" y="114"/>
                  </a:lnTo>
                  <a:lnTo>
                    <a:pt x="333" y="90"/>
                  </a:lnTo>
                  <a:lnTo>
                    <a:pt x="313" y="72"/>
                  </a:lnTo>
                  <a:lnTo>
                    <a:pt x="289" y="58"/>
                  </a:lnTo>
                  <a:lnTo>
                    <a:pt x="264" y="48"/>
                  </a:lnTo>
                  <a:lnTo>
                    <a:pt x="239" y="41"/>
                  </a:lnTo>
                  <a:lnTo>
                    <a:pt x="212" y="39"/>
                  </a:lnTo>
                  <a:close/>
                  <a:moveTo>
                    <a:pt x="212" y="0"/>
                  </a:moveTo>
                  <a:lnTo>
                    <a:pt x="245" y="3"/>
                  </a:lnTo>
                  <a:lnTo>
                    <a:pt x="276" y="11"/>
                  </a:lnTo>
                  <a:lnTo>
                    <a:pt x="307" y="23"/>
                  </a:lnTo>
                  <a:lnTo>
                    <a:pt x="335" y="40"/>
                  </a:lnTo>
                  <a:lnTo>
                    <a:pt x="360" y="63"/>
                  </a:lnTo>
                  <a:lnTo>
                    <a:pt x="382" y="89"/>
                  </a:lnTo>
                  <a:lnTo>
                    <a:pt x="400" y="117"/>
                  </a:lnTo>
                  <a:lnTo>
                    <a:pt x="412" y="148"/>
                  </a:lnTo>
                  <a:lnTo>
                    <a:pt x="419" y="180"/>
                  </a:lnTo>
                  <a:lnTo>
                    <a:pt x="422" y="212"/>
                  </a:lnTo>
                  <a:lnTo>
                    <a:pt x="419" y="244"/>
                  </a:lnTo>
                  <a:lnTo>
                    <a:pt x="412" y="277"/>
                  </a:lnTo>
                  <a:lnTo>
                    <a:pt x="400" y="307"/>
                  </a:lnTo>
                  <a:lnTo>
                    <a:pt x="382" y="336"/>
                  </a:lnTo>
                  <a:lnTo>
                    <a:pt x="360" y="362"/>
                  </a:lnTo>
                  <a:lnTo>
                    <a:pt x="335" y="384"/>
                  </a:lnTo>
                  <a:lnTo>
                    <a:pt x="307" y="401"/>
                  </a:lnTo>
                  <a:lnTo>
                    <a:pt x="276" y="414"/>
                  </a:lnTo>
                  <a:lnTo>
                    <a:pt x="245" y="422"/>
                  </a:lnTo>
                  <a:lnTo>
                    <a:pt x="212" y="425"/>
                  </a:lnTo>
                  <a:lnTo>
                    <a:pt x="179" y="422"/>
                  </a:lnTo>
                  <a:lnTo>
                    <a:pt x="146" y="414"/>
                  </a:lnTo>
                  <a:lnTo>
                    <a:pt x="116" y="401"/>
                  </a:lnTo>
                  <a:lnTo>
                    <a:pt x="88" y="384"/>
                  </a:lnTo>
                  <a:lnTo>
                    <a:pt x="63" y="362"/>
                  </a:lnTo>
                  <a:lnTo>
                    <a:pt x="41" y="336"/>
                  </a:lnTo>
                  <a:lnTo>
                    <a:pt x="24" y="308"/>
                  </a:lnTo>
                  <a:lnTo>
                    <a:pt x="11" y="278"/>
                  </a:lnTo>
                  <a:lnTo>
                    <a:pt x="4" y="246"/>
                  </a:lnTo>
                  <a:lnTo>
                    <a:pt x="0" y="212"/>
                  </a:lnTo>
                  <a:lnTo>
                    <a:pt x="4" y="179"/>
                  </a:lnTo>
                  <a:lnTo>
                    <a:pt x="11" y="147"/>
                  </a:lnTo>
                  <a:lnTo>
                    <a:pt x="24" y="116"/>
                  </a:lnTo>
                  <a:lnTo>
                    <a:pt x="41" y="88"/>
                  </a:lnTo>
                  <a:lnTo>
                    <a:pt x="63" y="63"/>
                  </a:lnTo>
                  <a:lnTo>
                    <a:pt x="88" y="40"/>
                  </a:lnTo>
                  <a:lnTo>
                    <a:pt x="116" y="23"/>
                  </a:lnTo>
                  <a:lnTo>
                    <a:pt x="146" y="11"/>
                  </a:lnTo>
                  <a:lnTo>
                    <a:pt x="179" y="3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2" name="Freeform 449">
              <a:extLst>
                <a:ext uri="{FF2B5EF4-FFF2-40B4-BE49-F238E27FC236}">
                  <a16:creationId xmlns:a16="http://schemas.microsoft.com/office/drawing/2014/main" id="{5253510F-AE19-6152-F9B2-6B52CEEB91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2401" y="4737100"/>
              <a:ext cx="236538" cy="242888"/>
            </a:xfrm>
            <a:custGeom>
              <a:avLst/>
              <a:gdLst>
                <a:gd name="T0" fmla="*/ 183 w 893"/>
                <a:gd name="T1" fmla="*/ 40 h 918"/>
                <a:gd name="T2" fmla="*/ 132 w 893"/>
                <a:gd name="T3" fmla="*/ 57 h 918"/>
                <a:gd name="T4" fmla="*/ 89 w 893"/>
                <a:gd name="T5" fmla="*/ 88 h 918"/>
                <a:gd name="T6" fmla="*/ 57 w 893"/>
                <a:gd name="T7" fmla="*/ 132 h 918"/>
                <a:gd name="T8" fmla="*/ 40 w 893"/>
                <a:gd name="T9" fmla="*/ 184 h 918"/>
                <a:gd name="T10" fmla="*/ 40 w 893"/>
                <a:gd name="T11" fmla="*/ 238 h 918"/>
                <a:gd name="T12" fmla="*/ 57 w 893"/>
                <a:gd name="T13" fmla="*/ 290 h 918"/>
                <a:gd name="T14" fmla="*/ 89 w 893"/>
                <a:gd name="T15" fmla="*/ 333 h 918"/>
                <a:gd name="T16" fmla="*/ 132 w 893"/>
                <a:gd name="T17" fmla="*/ 366 h 918"/>
                <a:gd name="T18" fmla="*/ 183 w 893"/>
                <a:gd name="T19" fmla="*/ 382 h 918"/>
                <a:gd name="T20" fmla="*/ 238 w 893"/>
                <a:gd name="T21" fmla="*/ 382 h 918"/>
                <a:gd name="T22" fmla="*/ 288 w 893"/>
                <a:gd name="T23" fmla="*/ 366 h 918"/>
                <a:gd name="T24" fmla="*/ 332 w 893"/>
                <a:gd name="T25" fmla="*/ 333 h 918"/>
                <a:gd name="T26" fmla="*/ 363 w 893"/>
                <a:gd name="T27" fmla="*/ 290 h 918"/>
                <a:gd name="T28" fmla="*/ 381 w 893"/>
                <a:gd name="T29" fmla="*/ 238 h 918"/>
                <a:gd name="T30" fmla="*/ 381 w 893"/>
                <a:gd name="T31" fmla="*/ 184 h 918"/>
                <a:gd name="T32" fmla="*/ 363 w 893"/>
                <a:gd name="T33" fmla="*/ 132 h 918"/>
                <a:gd name="T34" fmla="*/ 332 w 893"/>
                <a:gd name="T35" fmla="*/ 88 h 918"/>
                <a:gd name="T36" fmla="*/ 288 w 893"/>
                <a:gd name="T37" fmla="*/ 57 h 918"/>
                <a:gd name="T38" fmla="*/ 238 w 893"/>
                <a:gd name="T39" fmla="*/ 40 h 918"/>
                <a:gd name="T40" fmla="*/ 210 w 893"/>
                <a:gd name="T41" fmla="*/ 0 h 918"/>
                <a:gd name="T42" fmla="*/ 275 w 893"/>
                <a:gd name="T43" fmla="*/ 9 h 918"/>
                <a:gd name="T44" fmla="*/ 333 w 893"/>
                <a:gd name="T45" fmla="*/ 40 h 918"/>
                <a:gd name="T46" fmla="*/ 381 w 893"/>
                <a:gd name="T47" fmla="*/ 87 h 918"/>
                <a:gd name="T48" fmla="*/ 411 w 893"/>
                <a:gd name="T49" fmla="*/ 145 h 918"/>
                <a:gd name="T50" fmla="*/ 420 w 893"/>
                <a:gd name="T51" fmla="*/ 211 h 918"/>
                <a:gd name="T52" fmla="*/ 411 w 893"/>
                <a:gd name="T53" fmla="*/ 274 h 918"/>
                <a:gd name="T54" fmla="*/ 384 w 893"/>
                <a:gd name="T55" fmla="*/ 330 h 918"/>
                <a:gd name="T56" fmla="*/ 893 w 893"/>
                <a:gd name="T57" fmla="*/ 888 h 918"/>
                <a:gd name="T58" fmla="*/ 333 w 893"/>
                <a:gd name="T59" fmla="*/ 383 h 918"/>
                <a:gd name="T60" fmla="*/ 275 w 893"/>
                <a:gd name="T61" fmla="*/ 412 h 918"/>
                <a:gd name="T62" fmla="*/ 210 w 893"/>
                <a:gd name="T63" fmla="*/ 423 h 918"/>
                <a:gd name="T64" fmla="*/ 145 w 893"/>
                <a:gd name="T65" fmla="*/ 412 h 918"/>
                <a:gd name="T66" fmla="*/ 87 w 893"/>
                <a:gd name="T67" fmla="*/ 383 h 918"/>
                <a:gd name="T68" fmla="*/ 39 w 893"/>
                <a:gd name="T69" fmla="*/ 336 h 918"/>
                <a:gd name="T70" fmla="*/ 10 w 893"/>
                <a:gd name="T71" fmla="*/ 277 h 918"/>
                <a:gd name="T72" fmla="*/ 0 w 893"/>
                <a:gd name="T73" fmla="*/ 211 h 918"/>
                <a:gd name="T74" fmla="*/ 10 w 893"/>
                <a:gd name="T75" fmla="*/ 145 h 918"/>
                <a:gd name="T76" fmla="*/ 39 w 893"/>
                <a:gd name="T77" fmla="*/ 87 h 918"/>
                <a:gd name="T78" fmla="*/ 87 w 893"/>
                <a:gd name="T79" fmla="*/ 40 h 918"/>
                <a:gd name="T80" fmla="*/ 145 w 893"/>
                <a:gd name="T81" fmla="*/ 9 h 918"/>
                <a:gd name="T82" fmla="*/ 210 w 893"/>
                <a:gd name="T83" fmla="*/ 0 h 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93" h="918">
                  <a:moveTo>
                    <a:pt x="210" y="37"/>
                  </a:moveTo>
                  <a:lnTo>
                    <a:pt x="183" y="40"/>
                  </a:lnTo>
                  <a:lnTo>
                    <a:pt x="156" y="46"/>
                  </a:lnTo>
                  <a:lnTo>
                    <a:pt x="132" y="57"/>
                  </a:lnTo>
                  <a:lnTo>
                    <a:pt x="109" y="71"/>
                  </a:lnTo>
                  <a:lnTo>
                    <a:pt x="89" y="88"/>
                  </a:lnTo>
                  <a:lnTo>
                    <a:pt x="71" y="110"/>
                  </a:lnTo>
                  <a:lnTo>
                    <a:pt x="57" y="132"/>
                  </a:lnTo>
                  <a:lnTo>
                    <a:pt x="46" y="157"/>
                  </a:lnTo>
                  <a:lnTo>
                    <a:pt x="40" y="184"/>
                  </a:lnTo>
                  <a:lnTo>
                    <a:pt x="38" y="211"/>
                  </a:lnTo>
                  <a:lnTo>
                    <a:pt x="40" y="238"/>
                  </a:lnTo>
                  <a:lnTo>
                    <a:pt x="46" y="265"/>
                  </a:lnTo>
                  <a:lnTo>
                    <a:pt x="57" y="290"/>
                  </a:lnTo>
                  <a:lnTo>
                    <a:pt x="71" y="313"/>
                  </a:lnTo>
                  <a:lnTo>
                    <a:pt x="89" y="333"/>
                  </a:lnTo>
                  <a:lnTo>
                    <a:pt x="109" y="352"/>
                  </a:lnTo>
                  <a:lnTo>
                    <a:pt x="132" y="366"/>
                  </a:lnTo>
                  <a:lnTo>
                    <a:pt x="156" y="377"/>
                  </a:lnTo>
                  <a:lnTo>
                    <a:pt x="183" y="382"/>
                  </a:lnTo>
                  <a:lnTo>
                    <a:pt x="210" y="384"/>
                  </a:lnTo>
                  <a:lnTo>
                    <a:pt x="238" y="382"/>
                  </a:lnTo>
                  <a:lnTo>
                    <a:pt x="264" y="377"/>
                  </a:lnTo>
                  <a:lnTo>
                    <a:pt x="288" y="366"/>
                  </a:lnTo>
                  <a:lnTo>
                    <a:pt x="311" y="352"/>
                  </a:lnTo>
                  <a:lnTo>
                    <a:pt x="332" y="333"/>
                  </a:lnTo>
                  <a:lnTo>
                    <a:pt x="349" y="313"/>
                  </a:lnTo>
                  <a:lnTo>
                    <a:pt x="363" y="290"/>
                  </a:lnTo>
                  <a:lnTo>
                    <a:pt x="374" y="265"/>
                  </a:lnTo>
                  <a:lnTo>
                    <a:pt x="381" y="238"/>
                  </a:lnTo>
                  <a:lnTo>
                    <a:pt x="383" y="211"/>
                  </a:lnTo>
                  <a:lnTo>
                    <a:pt x="381" y="184"/>
                  </a:lnTo>
                  <a:lnTo>
                    <a:pt x="374" y="157"/>
                  </a:lnTo>
                  <a:lnTo>
                    <a:pt x="363" y="132"/>
                  </a:lnTo>
                  <a:lnTo>
                    <a:pt x="349" y="110"/>
                  </a:lnTo>
                  <a:lnTo>
                    <a:pt x="332" y="88"/>
                  </a:lnTo>
                  <a:lnTo>
                    <a:pt x="311" y="71"/>
                  </a:lnTo>
                  <a:lnTo>
                    <a:pt x="288" y="57"/>
                  </a:lnTo>
                  <a:lnTo>
                    <a:pt x="264" y="46"/>
                  </a:lnTo>
                  <a:lnTo>
                    <a:pt x="238" y="40"/>
                  </a:lnTo>
                  <a:lnTo>
                    <a:pt x="210" y="37"/>
                  </a:lnTo>
                  <a:close/>
                  <a:moveTo>
                    <a:pt x="210" y="0"/>
                  </a:moveTo>
                  <a:lnTo>
                    <a:pt x="243" y="2"/>
                  </a:lnTo>
                  <a:lnTo>
                    <a:pt x="275" y="9"/>
                  </a:lnTo>
                  <a:lnTo>
                    <a:pt x="305" y="22"/>
                  </a:lnTo>
                  <a:lnTo>
                    <a:pt x="333" y="40"/>
                  </a:lnTo>
                  <a:lnTo>
                    <a:pt x="359" y="61"/>
                  </a:lnTo>
                  <a:lnTo>
                    <a:pt x="381" y="87"/>
                  </a:lnTo>
                  <a:lnTo>
                    <a:pt x="398" y="115"/>
                  </a:lnTo>
                  <a:lnTo>
                    <a:pt x="411" y="145"/>
                  </a:lnTo>
                  <a:lnTo>
                    <a:pt x="418" y="178"/>
                  </a:lnTo>
                  <a:lnTo>
                    <a:pt x="420" y="211"/>
                  </a:lnTo>
                  <a:lnTo>
                    <a:pt x="418" y="244"/>
                  </a:lnTo>
                  <a:lnTo>
                    <a:pt x="411" y="274"/>
                  </a:lnTo>
                  <a:lnTo>
                    <a:pt x="400" y="303"/>
                  </a:lnTo>
                  <a:lnTo>
                    <a:pt x="384" y="330"/>
                  </a:lnTo>
                  <a:lnTo>
                    <a:pt x="363" y="355"/>
                  </a:lnTo>
                  <a:lnTo>
                    <a:pt x="893" y="888"/>
                  </a:lnTo>
                  <a:lnTo>
                    <a:pt x="864" y="918"/>
                  </a:lnTo>
                  <a:lnTo>
                    <a:pt x="333" y="383"/>
                  </a:lnTo>
                  <a:lnTo>
                    <a:pt x="305" y="400"/>
                  </a:lnTo>
                  <a:lnTo>
                    <a:pt x="275" y="412"/>
                  </a:lnTo>
                  <a:lnTo>
                    <a:pt x="243" y="421"/>
                  </a:lnTo>
                  <a:lnTo>
                    <a:pt x="210" y="423"/>
                  </a:lnTo>
                  <a:lnTo>
                    <a:pt x="177" y="421"/>
                  </a:lnTo>
                  <a:lnTo>
                    <a:pt x="145" y="412"/>
                  </a:lnTo>
                  <a:lnTo>
                    <a:pt x="115" y="400"/>
                  </a:lnTo>
                  <a:lnTo>
                    <a:pt x="87" y="383"/>
                  </a:lnTo>
                  <a:lnTo>
                    <a:pt x="61" y="361"/>
                  </a:lnTo>
                  <a:lnTo>
                    <a:pt x="39" y="336"/>
                  </a:lnTo>
                  <a:lnTo>
                    <a:pt x="22" y="307"/>
                  </a:lnTo>
                  <a:lnTo>
                    <a:pt x="10" y="277"/>
                  </a:lnTo>
                  <a:lnTo>
                    <a:pt x="2" y="245"/>
                  </a:lnTo>
                  <a:lnTo>
                    <a:pt x="0" y="211"/>
                  </a:lnTo>
                  <a:lnTo>
                    <a:pt x="2" y="178"/>
                  </a:lnTo>
                  <a:lnTo>
                    <a:pt x="10" y="145"/>
                  </a:lnTo>
                  <a:lnTo>
                    <a:pt x="22" y="115"/>
                  </a:lnTo>
                  <a:lnTo>
                    <a:pt x="39" y="87"/>
                  </a:lnTo>
                  <a:lnTo>
                    <a:pt x="61" y="61"/>
                  </a:lnTo>
                  <a:lnTo>
                    <a:pt x="87" y="40"/>
                  </a:lnTo>
                  <a:lnTo>
                    <a:pt x="115" y="22"/>
                  </a:lnTo>
                  <a:lnTo>
                    <a:pt x="145" y="9"/>
                  </a:lnTo>
                  <a:lnTo>
                    <a:pt x="177" y="2"/>
                  </a:lnTo>
                  <a:lnTo>
                    <a:pt x="21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1806B07A-7CB2-A49B-F66F-345E50DC1B3F}"/>
              </a:ext>
            </a:extLst>
          </p:cNvPr>
          <p:cNvGrpSpPr/>
          <p:nvPr/>
        </p:nvGrpSpPr>
        <p:grpSpPr>
          <a:xfrm>
            <a:off x="6385417" y="3987567"/>
            <a:ext cx="769219" cy="676142"/>
            <a:chOff x="4996320" y="7301915"/>
            <a:chExt cx="1040276" cy="914400"/>
          </a:xfrm>
        </p:grpSpPr>
        <p:pic>
          <p:nvPicPr>
            <p:cNvPr id="31" name="Grafik 30" descr="Benutzer Silhouette">
              <a:extLst>
                <a:ext uri="{FF2B5EF4-FFF2-40B4-BE49-F238E27FC236}">
                  <a16:creationId xmlns:a16="http://schemas.microsoft.com/office/drawing/2014/main" id="{3C31E174-B051-6AB1-D165-285D216335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4996320" y="7301915"/>
              <a:ext cx="914400" cy="914400"/>
            </a:xfrm>
            <a:prstGeom prst="rect">
              <a:avLst/>
            </a:prstGeom>
          </p:spPr>
        </p:pic>
        <p:pic>
          <p:nvPicPr>
            <p:cNvPr id="36" name="Grafik 35" descr="Kontrollkästchen aktiviert Silhouette">
              <a:extLst>
                <a:ext uri="{FF2B5EF4-FFF2-40B4-BE49-F238E27FC236}">
                  <a16:creationId xmlns:a16="http://schemas.microsoft.com/office/drawing/2014/main" id="{84E40CDE-6C9F-61C5-B5C1-C8B6ECC6B5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5672680" y="7344388"/>
              <a:ext cx="363916" cy="363916"/>
            </a:xfrm>
            <a:prstGeom prst="rect">
              <a:avLst/>
            </a:prstGeom>
          </p:spPr>
        </p:pic>
        <p:pic>
          <p:nvPicPr>
            <p:cNvPr id="38" name="Grafik 37" descr="Schlüssel Silhouette">
              <a:extLst>
                <a:ext uri="{FF2B5EF4-FFF2-40B4-BE49-F238E27FC236}">
                  <a16:creationId xmlns:a16="http://schemas.microsoft.com/office/drawing/2014/main" id="{EAA23A1A-7F39-7B84-B06A-2B1F1A4C28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 rot="18900000">
              <a:off x="5540773" y="7663886"/>
              <a:ext cx="421288" cy="421288"/>
            </a:xfrm>
            <a:prstGeom prst="rect">
              <a:avLst/>
            </a:prstGeom>
          </p:spPr>
        </p:pic>
      </p:grpSp>
      <p:pic>
        <p:nvPicPr>
          <p:cNvPr id="41" name="Grafik 40" descr="Benutzer Silhouette">
            <a:extLst>
              <a:ext uri="{FF2B5EF4-FFF2-40B4-BE49-F238E27FC236}">
                <a16:creationId xmlns:a16="http://schemas.microsoft.com/office/drawing/2014/main" id="{4400C87A-9345-DE36-896E-06A7A20B6EF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346106" y="5282207"/>
            <a:ext cx="676142" cy="676142"/>
          </a:xfrm>
          <a:prstGeom prst="rect">
            <a:avLst/>
          </a:prstGeom>
        </p:spPr>
      </p:pic>
      <p:pic>
        <p:nvPicPr>
          <p:cNvPr id="42" name="Grafik 41" descr="Klemmbrett gemischt Silhouette">
            <a:extLst>
              <a:ext uri="{FF2B5EF4-FFF2-40B4-BE49-F238E27FC236}">
                <a16:creationId xmlns:a16="http://schemas.microsoft.com/office/drawing/2014/main" id="{33A2FC6D-C9FC-CF71-FF60-C10AF6740B52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 rot="1089874">
            <a:off x="6769582" y="5428701"/>
            <a:ext cx="406593" cy="406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7853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telizign">
  <a:themeElements>
    <a:clrScheme name="Intelizign">
      <a:dk1>
        <a:srgbClr val="063853"/>
      </a:dk1>
      <a:lt1>
        <a:sysClr val="window" lastClr="FFFFFF"/>
      </a:lt1>
      <a:dk2>
        <a:srgbClr val="063853"/>
      </a:dk2>
      <a:lt2>
        <a:srgbClr val="E0E1E7"/>
      </a:lt2>
      <a:accent1>
        <a:srgbClr val="5B8FC2"/>
      </a:accent1>
      <a:accent2>
        <a:srgbClr val="EFDA54"/>
      </a:accent2>
      <a:accent3>
        <a:srgbClr val="3CC1C1"/>
      </a:accent3>
      <a:accent4>
        <a:srgbClr val="26C0E1"/>
      </a:accent4>
      <a:accent5>
        <a:srgbClr val="696E87"/>
      </a:accent5>
      <a:accent6>
        <a:srgbClr val="EFDA54"/>
      </a:accent6>
      <a:hlink>
        <a:srgbClr val="3CC1C1"/>
      </a:hlink>
      <a:folHlink>
        <a:srgbClr val="5B8FC2"/>
      </a:folHlink>
    </a:clrScheme>
    <a:fontScheme name="Intelizign">
      <a:majorFont>
        <a:latin typeface="Montserrat Bold"/>
        <a:ea typeface=""/>
        <a:cs typeface=""/>
      </a:majorFont>
      <a:minorFont>
        <a:latin typeface="Montserrat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3C600AEFB669E49B4FE46F6C0AA80B5" ma:contentTypeVersion="12" ma:contentTypeDescription="Create a new document." ma:contentTypeScope="" ma:versionID="e94123dfff5fca2aa1abfaafcd5b4f88">
  <xsd:schema xmlns:xsd="http://www.w3.org/2001/XMLSchema" xmlns:xs="http://www.w3.org/2001/XMLSchema" xmlns:p="http://schemas.microsoft.com/office/2006/metadata/properties" xmlns:ns2="6d8c6715-33d2-4cc9-b3a7-407c594f9451" xmlns:ns3="fe1df1b2-501f-4c6b-adb7-2baf40986382" targetNamespace="http://schemas.microsoft.com/office/2006/metadata/properties" ma:root="true" ma:fieldsID="73a35f54a2b0ea46d37162fde35cc6ab" ns2:_="" ns3:_="">
    <xsd:import namespace="6d8c6715-33d2-4cc9-b3a7-407c594f9451"/>
    <xsd:import namespace="fe1df1b2-501f-4c6b-adb7-2baf4098638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8c6715-33d2-4cc9-b3a7-407c594f94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98769239-a54c-4d12-b562-0e9ee3c1f2d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1df1b2-501f-4c6b-adb7-2baf4098638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e1df1b2-501f-4c6b-adb7-2baf40986382">
      <UserInfo>
        <DisplayName>Breuer, Jennifer</DisplayName>
        <AccountId>58</AccountId>
        <AccountType/>
      </UserInfo>
      <UserInfo>
        <DisplayName>Engemann, Willi</DisplayName>
        <AccountId>31</AccountId>
        <AccountType/>
      </UserInfo>
    </SharedWithUsers>
    <lcf76f155ced4ddcb4097134ff3c332f xmlns="6d8c6715-33d2-4cc9-b3a7-407c594f9451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6FD5E0B7-FE30-46F4-B44D-A21CF5AC3540}">
  <ds:schemaRefs>
    <ds:schemaRef ds:uri="6d8c6715-33d2-4cc9-b3a7-407c594f9451"/>
    <ds:schemaRef ds:uri="fe1df1b2-501f-4c6b-adb7-2baf4098638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0B38257-2015-4510-AFD1-6847AF42968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F897678-757B-41A3-8730-6A40167EA445}">
  <ds:schemaRefs>
    <ds:schemaRef ds:uri="6d8c6715-33d2-4cc9-b3a7-407c594f9451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dcmitype/"/>
    <ds:schemaRef ds:uri="fe1df1b2-501f-4c6b-adb7-2baf40986382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000</Words>
  <Application>Microsoft Office PowerPoint</Application>
  <PresentationFormat>Widescreen</PresentationFormat>
  <Paragraphs>729</Paragraphs>
  <Slides>47</Slides>
  <Notes>1</Notes>
  <HiddenSlides>33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48" baseType="lpstr">
      <vt:lpstr>Intelizign</vt:lpstr>
      <vt:lpstr>Polarion Implementation</vt:lpstr>
      <vt:lpstr>Overview Polarion Implementation</vt:lpstr>
      <vt:lpstr>Tasks for Internal IT Team</vt:lpstr>
      <vt:lpstr>Tasks for External Consultants</vt:lpstr>
      <vt:lpstr>Polarion Infrastructure Considerations</vt:lpstr>
      <vt:lpstr>Comparison Cloud and On-Premise Set-up</vt:lpstr>
      <vt:lpstr>Common Pitfalls for a Polarion Project</vt:lpstr>
      <vt:lpstr>Configuration in Polarion (No coding)</vt:lpstr>
      <vt:lpstr>Customization in Polarion (Script / Develop)</vt:lpstr>
      <vt:lpstr>Polarion Integration With Other Applications</vt:lpstr>
      <vt:lpstr>Comparison Codebeamer and Polarion</vt:lpstr>
      <vt:lpstr>What To Consider For Drafting A Project</vt:lpstr>
      <vt:lpstr>What To Consider For Drafting A Project</vt:lpstr>
      <vt:lpstr>PowerPoint Presentation</vt:lpstr>
      <vt:lpstr>Content expectations</vt:lpstr>
      <vt:lpstr>Polarion Implementation Process</vt:lpstr>
      <vt:lpstr>Step 1:  Polarion Implementation </vt:lpstr>
      <vt:lpstr>Project Timeline – X Months</vt:lpstr>
      <vt:lpstr>Key effort drivers</vt:lpstr>
      <vt:lpstr>Project Timeline – 1 Week</vt:lpstr>
      <vt:lpstr>Project Timeline – 1 Month (30 Days)</vt:lpstr>
      <vt:lpstr>Application Matix – which tools polarion works well/bad with in combination</vt:lpstr>
      <vt:lpstr>PowerPoint Presentation</vt:lpstr>
      <vt:lpstr>Polarion Implementation – Short</vt:lpstr>
      <vt:lpstr>Polarion Implementation – Short</vt:lpstr>
      <vt:lpstr>Polarion Implementation – Short</vt:lpstr>
      <vt:lpstr>Polarion Implementation – Detailed</vt:lpstr>
      <vt:lpstr>Polarion Implementation – Detailed</vt:lpstr>
      <vt:lpstr>Polarion Implementation – Detailed</vt:lpstr>
      <vt:lpstr>PowerPoint Presentation</vt:lpstr>
      <vt:lpstr>Polarion Infrastructure</vt:lpstr>
      <vt:lpstr>Polarion Infrastructure</vt:lpstr>
      <vt:lpstr>Polarion Customization and Configuration</vt:lpstr>
      <vt:lpstr>Polarion Customization and Configuration</vt:lpstr>
      <vt:lpstr>Polarion Customization and Configuration</vt:lpstr>
      <vt:lpstr>Polarion Customization and Configuration</vt:lpstr>
      <vt:lpstr>Polarion Integration With Other Application</vt:lpstr>
      <vt:lpstr>Polarion Integration With Other Application</vt:lpstr>
      <vt:lpstr>Polarion Integration With Other Application</vt:lpstr>
      <vt:lpstr>Polarion Configuration &amp; Custamization Management</vt:lpstr>
      <vt:lpstr>Polarion Configuration &amp; Custamization Management</vt:lpstr>
      <vt:lpstr>Polarion Configuration &amp; Custamization Management</vt:lpstr>
      <vt:lpstr>PowerPoint Presentation</vt:lpstr>
      <vt:lpstr>Aspect to consider while Drafting timeline</vt:lpstr>
      <vt:lpstr>Timeline To Polarion</vt:lpstr>
      <vt:lpstr>Project Timeline – 6 Months</vt:lpstr>
      <vt:lpstr>Cloud vs. On-Premis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ltermeier, Tom</dc:creator>
  <cp:lastModifiedBy>Hold, Fabian</cp:lastModifiedBy>
  <cp:revision>209</cp:revision>
  <dcterms:created xsi:type="dcterms:W3CDTF">2023-01-09T13:08:53Z</dcterms:created>
  <dcterms:modified xsi:type="dcterms:W3CDTF">2024-12-13T13:42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5C0243A317DF348904FB24448A48E6F</vt:lpwstr>
  </property>
  <property fmtid="{D5CDD505-2E9C-101B-9397-08002B2CF9AE}" pid="3" name="MediaServiceImageTags">
    <vt:lpwstr/>
  </property>
  <property fmtid="{D5CDD505-2E9C-101B-9397-08002B2CF9AE}" pid="4" name="Order">
    <vt:r8>31600</vt:r8>
  </property>
  <property fmtid="{D5CDD505-2E9C-101B-9397-08002B2CF9AE}" pid="5" name="xd_Signature">
    <vt:bool>false</vt:bool>
  </property>
  <property fmtid="{D5CDD505-2E9C-101B-9397-08002B2CF9AE}" pid="6" name="SharedWithUsers">
    <vt:lpwstr>23;#Yenuginti, Maheswar Rao;#26;#Thutupalli, Prasad</vt:lpwstr>
  </property>
  <property fmtid="{D5CDD505-2E9C-101B-9397-08002B2CF9AE}" pid="7" name="xd_ProgID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_ExtendedDescription">
    <vt:lpwstr/>
  </property>
  <property fmtid="{D5CDD505-2E9C-101B-9397-08002B2CF9AE}" pid="11" name="TriggerFlowInfo">
    <vt:lpwstr/>
  </property>
</Properties>
</file>